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ink/ink1.xml" ContentType="application/inkml+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5"/>
  </p:notesMasterIdLst>
  <p:sldIdLst>
    <p:sldId id="256" r:id="rId2"/>
    <p:sldId id="257" r:id="rId3"/>
    <p:sldId id="258" r:id="rId4"/>
    <p:sldId id="655" r:id="rId5"/>
    <p:sldId id="656" r:id="rId6"/>
    <p:sldId id="2147472931" r:id="rId7"/>
    <p:sldId id="2147472923" r:id="rId8"/>
    <p:sldId id="2147472933" r:id="rId9"/>
    <p:sldId id="2147472917" r:id="rId10"/>
    <p:sldId id="2147472932" r:id="rId11"/>
    <p:sldId id="651" r:id="rId12"/>
    <p:sldId id="652" r:id="rId13"/>
    <p:sldId id="653" r:id="rId14"/>
    <p:sldId id="337" r:id="rId15"/>
    <p:sldId id="654" r:id="rId16"/>
    <p:sldId id="264" r:id="rId17"/>
    <p:sldId id="260" r:id="rId18"/>
    <p:sldId id="339" r:id="rId19"/>
    <p:sldId id="267" r:id="rId20"/>
    <p:sldId id="269" r:id="rId21"/>
    <p:sldId id="268" r:id="rId22"/>
    <p:sldId id="336" r:id="rId23"/>
    <p:sldId id="259" r:id="rId24"/>
    <p:sldId id="627" r:id="rId25"/>
    <p:sldId id="530" r:id="rId26"/>
    <p:sldId id="650" r:id="rId27"/>
    <p:sldId id="648" r:id="rId28"/>
    <p:sldId id="415" r:id="rId29"/>
    <p:sldId id="647" r:id="rId30"/>
    <p:sldId id="643" r:id="rId31"/>
    <p:sldId id="632" r:id="rId32"/>
    <p:sldId id="649" r:id="rId33"/>
    <p:sldId id="583" r:id="rId3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994"/>
    <p:restoredTop sz="96327"/>
  </p:normalViewPr>
  <p:slideViewPr>
    <p:cSldViewPr snapToGrid="0">
      <p:cViewPr>
        <p:scale>
          <a:sx n="91" d="100"/>
          <a:sy n="91" d="100"/>
        </p:scale>
        <p:origin x="2448" y="5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8" Type="http://schemas.openxmlformats.org/officeDocument/2006/relationships/slide" Target="slides/slide7.xml"/><Relationship Id="rId3" Type="http://schemas.openxmlformats.org/officeDocument/2006/relationships/slide" Target="slides/slide2.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9-19T16:37:30.667"/>
    </inkml:context>
    <inkml:brush xml:id="br0">
      <inkml:brushProperty name="width" value="0.05" units="cm"/>
      <inkml:brushProperty name="height" value="0.05" units="cm"/>
      <inkml:brushProperty name="color" value="#E71224"/>
    </inkml:brush>
  </inkml:definitions>
  <inkml:trace contextRef="#ctx0" brushRef="#br0">0 68 24575,'21'-4'0,"1"-5"0,5 3 0,-5-6 0,4 7 0,-9 1 0,4-4 0,-6 4 0,0-4 0,-4 4 0,-1 1 0,-3 3 0,23 0 0,-9 0 0,15 0 0,-15 0 0,-10 0 0,0 0 0,-1 0 0,-3 0 0,4 0 0,-5 0 0,5 0 0,-4 0 0,3 0 0,1 0 0,-4 0 0,4 0 0,-5 0 0,0 0 0,1 0 0,3 0 0,-3 0 0,4 0 0,-1 0 0,2 0 0,-1 2 0,3-1 0,-2 2 0,-2-3 0,5 0 0,-8 0 0,3 0 0,-3 0 0,-1 0 0,1 0 0,-1 0 0,0 0 0,1 0 0,-1 0 0,4 0 0,-2 0 0,2 0 0,-3 0 0,-1 0 0,0 0 0,1 0 0,-1 0 0,0 0 0,1 0 0,-1 0 0,0 0 0,1 0 0,-1 0 0,1 0 0,-1 0 0,16 0 0,-12 0 0,16 0 0,-18 0 0,2 0 0,-3 0 0,-1 0 0,0 0 0,1 0 0,-1 0 0,0 0 0,5 0 0,-4 0 0,8 0 0,-8 0 0,3 0 0,-3 0 0,-2 0 0,1 0 0,5 0 0,-4 0 0,8 0 0,-8 0 0,3 0 0,1 0 0,-4 0 0,4 0 0,-5 0 0,0 0 0,5 0 0,5 0 0,1 0 0,9 0 0,-9 0 0,4 0 0,-10 0 0,-1 0 0,-3 0 0,-1 0 0,0 0 0,1 0 0,-1 0 0,1 0 0,3 0 0,-3 0 0,4 0 0,11 0 0,20 0 0,-3 0 0,11 0 0,-23 0 0,-5 0 0,-5 0 0,3 0 0,-12 0 0,8 0 0,-10 0 0,1 0 0,15 0 0,-3 0 0,15 0 0,-12 0 0,-1 0 0,-6 0 0,-3 0 0,-2 0 0,-4 0 0,0 0 0,0 0 0,1 0 0,-1 0 0,0 0 0,1 0 0,-1 0 0,0 0 0,1 0 0,-1 0 0,1 0 0,-1 0 0,0 0 0,1 0 0,-1 0 0,0 0 0,1 0 0,-1 0 0,0 0 0,1 0 0,-1 0 0,1 0 0,-1 0 0,4 3 0,7-2 0,-4 3 0,2-4 0,-8 0 0,-1 0 0,0 0 0,1 0 0,-1 0 0,0 0 0,1 0 0,-1 0 0,1 0 0,-1 0 0,0 0 0,1 3 0,3-3 0,-3 3 0,1-3 0,-5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376CE55-7167-2340-B9E3-472D2C013788}" type="datetimeFigureOut">
              <a:rPr lang="en-US" smtClean="0"/>
              <a:t>9/26/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B945AFB-D03C-8648-9919-DC52B0678F2A}" type="slidenum">
              <a:rPr lang="en-US" smtClean="0"/>
              <a:t>‹#›</a:t>
            </a:fld>
            <a:endParaRPr lang="en-US"/>
          </a:p>
        </p:txBody>
      </p:sp>
    </p:spTree>
    <p:extLst>
      <p:ext uri="{BB962C8B-B14F-4D97-AF65-F5344CB8AC3E}">
        <p14:creationId xmlns:p14="http://schemas.microsoft.com/office/powerpoint/2010/main" val="18470302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C7405B0-2C04-2949-A4EB-5C1B2E8F9868}" type="slidenum">
              <a:rPr lang="en-US" smtClean="0"/>
              <a:t>5</a:t>
            </a:fld>
            <a:endParaRPr lang="en-US"/>
          </a:p>
        </p:txBody>
      </p:sp>
    </p:spTree>
    <p:extLst>
      <p:ext uri="{BB962C8B-B14F-4D97-AF65-F5344CB8AC3E}">
        <p14:creationId xmlns:p14="http://schemas.microsoft.com/office/powerpoint/2010/main" val="5703053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anks for the invitation and for the opportunity to present the work of UNEP on the International Methane Emissions Observator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1B9B0D-89F4-4992-939B-839CDAC06A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28339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796E99-9BDE-427C-9DD6-4037C8C150E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29594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GB"/>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1B9B0D-89F4-4992-939B-839CDAC06A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90801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C7405B0-2C04-2949-A4EB-5C1B2E8F9868}" type="slidenum">
              <a:rPr lang="en-US" smtClean="0"/>
              <a:t>8</a:t>
            </a:fld>
            <a:endParaRPr lang="en-US"/>
          </a:p>
        </p:txBody>
      </p:sp>
    </p:spTree>
    <p:extLst>
      <p:ext uri="{BB962C8B-B14F-4D97-AF65-F5344CB8AC3E}">
        <p14:creationId xmlns:p14="http://schemas.microsoft.com/office/powerpoint/2010/main" val="7417496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effectLst/>
                <a:latin typeface="Calibri" panose="020F0502020204030204" pitchFamily="34" charset="0"/>
                <a:ea typeface="Yu Mincho" panose="02020400000000000000" pitchFamily="18" charset="-128"/>
                <a:cs typeface="Times New Roman" panose="02020603050405020304" pitchFamily="18" charset="0"/>
              </a:rPr>
              <a:t>In my team, emissions transparency – or visibility – is our core focus.</a:t>
            </a:r>
          </a:p>
          <a:p>
            <a:pPr marL="171450" indent="-171450">
              <a:buFont typeface="Arial" panose="020B0604020202020204" pitchFamily="34" charset="0"/>
              <a:buChar char="•"/>
            </a:pPr>
            <a:r>
              <a:rPr lang="en-US"/>
              <a:t>Our Oil &amp; Gas Solutions Initiative (OGSI)’s theory of change seeks to:</a:t>
            </a:r>
          </a:p>
          <a:p>
            <a:pPr marL="628650" lvl="1" indent="-171450">
              <a:buFont typeface="Arial" panose="020B0604020202020204" pitchFamily="34" charset="0"/>
              <a:buChar char="•"/>
            </a:pPr>
            <a:r>
              <a:rPr lang="en-US"/>
              <a:t>1) Better measure, model, track and verify emissions across the value chain.</a:t>
            </a:r>
          </a:p>
          <a:p>
            <a:pPr marL="628650" lvl="1" indent="-171450">
              <a:buFont typeface="Arial" panose="020B0604020202020204" pitchFamily="34" charset="0"/>
              <a:buChar char="•"/>
            </a:pPr>
            <a:r>
              <a:rPr lang="en-US"/>
              <a:t>And 2) with more robust, actionable data, we aim to accelerate decarbonization with a range of stakehold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a:effectLst/>
              <a:latin typeface="Calibri" panose="020F0502020204030204" pitchFamily="34" charset="0"/>
              <a:ea typeface="Yu Mincho" panose="02020400000000000000" pitchFamily="18" charset="-128"/>
              <a:cs typeface="Times New Roman" panose="02020603050405020304" pitchFamily="18"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a:effectLst/>
              <a:latin typeface="Calibri" panose="020F0502020204030204" pitchFamily="34" charset="0"/>
              <a:ea typeface="Yu Mincho" panose="02020400000000000000" pitchFamily="18" charset="-128"/>
              <a:cs typeface="Times New Roman" panose="02020603050405020304" pitchFamily="18"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effectLst/>
                <a:latin typeface="Calibri" panose="020F0502020204030204" pitchFamily="34" charset="0"/>
                <a:ea typeface="Yu Mincho" panose="02020400000000000000" pitchFamily="18" charset="-128"/>
                <a:cs typeface="Times New Roman" panose="02020603050405020304" pitchFamily="18" charset="0"/>
              </a:rPr>
              <a:t>The solution: We need to dramatically </a:t>
            </a:r>
            <a:r>
              <a:rPr lang="en-US" sz="1200" b="1">
                <a:effectLst/>
                <a:latin typeface="Calibri" panose="020F0502020204030204" pitchFamily="34" charset="0"/>
                <a:ea typeface="Yu Mincho" panose="02020400000000000000" pitchFamily="18" charset="-128"/>
                <a:cs typeface="Times New Roman" panose="02020603050405020304" pitchFamily="18" charset="0"/>
              </a:rPr>
              <a:t>improve emissions visibility</a:t>
            </a:r>
            <a:r>
              <a:rPr lang="en-US" sz="1200">
                <a:effectLst/>
                <a:latin typeface="Calibri" panose="020F0502020204030204" pitchFamily="34" charset="0"/>
                <a:ea typeface="Yu Mincho" panose="02020400000000000000" pitchFamily="18" charset="-128"/>
                <a:cs typeface="Times New Roman" panose="02020603050405020304" pitchFamily="18" charset="0"/>
              </a:rPr>
              <a:t> and </a:t>
            </a:r>
            <a:r>
              <a:rPr lang="en-US" sz="1200" b="1">
                <a:effectLst/>
                <a:latin typeface="Calibri" panose="020F0502020204030204" pitchFamily="34" charset="0"/>
                <a:ea typeface="Yu Mincho" panose="02020400000000000000" pitchFamily="18" charset="-128"/>
                <a:cs typeface="Times New Roman" panose="02020603050405020304" pitchFamily="18" charset="0"/>
              </a:rPr>
              <a:t>create market-based mechanisms </a:t>
            </a:r>
            <a:r>
              <a:rPr lang="en-US" sz="1200">
                <a:effectLst/>
                <a:latin typeface="Calibri" panose="020F0502020204030204" pitchFamily="34" charset="0"/>
                <a:ea typeface="Yu Mincho" panose="02020400000000000000" pitchFamily="18" charset="-128"/>
                <a:cs typeface="Times New Roman" panose="02020603050405020304" pitchFamily="18" charset="0"/>
              </a:rPr>
              <a:t>that reflect the costs associated with oil and gas use.</a:t>
            </a:r>
          </a:p>
          <a:p>
            <a:pPr marL="171450" indent="-171450">
              <a:buFont typeface="Arial" panose="020B0604020202020204" pitchFamily="34" charset="0"/>
              <a:buChar char="•"/>
            </a:pPr>
            <a:r>
              <a:rPr lang="en-US"/>
              <a:t>This includes in:</a:t>
            </a:r>
          </a:p>
          <a:p>
            <a:pPr marL="628650" lvl="1" indent="-171450">
              <a:buFont typeface="Arial" panose="020B0604020202020204" pitchFamily="34" charset="0"/>
              <a:buChar char="•"/>
            </a:pPr>
            <a:r>
              <a:rPr lang="en-US" b="1"/>
              <a:t>Market design and activation </a:t>
            </a:r>
            <a:r>
              <a:rPr lang="en-US"/>
              <a:t>– better internalizing the negative externality of oil and gas emissions across the value chain.</a:t>
            </a:r>
          </a:p>
          <a:p>
            <a:pPr marL="628650" lvl="1" indent="-171450">
              <a:buFont typeface="Arial" panose="020B0604020202020204" pitchFamily="34" charset="0"/>
              <a:buChar char="•"/>
            </a:pPr>
            <a:r>
              <a:rPr lang="en-US" b="1"/>
              <a:t>Corporate business models </a:t>
            </a:r>
            <a:r>
              <a:rPr lang="en-US"/>
              <a:t>– increasing transparency and accountability around companies’ emissions targets and their strategies for meeting them.</a:t>
            </a:r>
          </a:p>
          <a:p>
            <a:pPr marL="628650" lvl="1" indent="-171450">
              <a:buFont typeface="Arial" panose="020B0604020202020204" pitchFamily="34" charset="0"/>
              <a:buChar char="•"/>
            </a:pPr>
            <a:r>
              <a:rPr lang="en-US" b="1"/>
              <a:t>Investor portfolio allocations </a:t>
            </a:r>
            <a:r>
              <a:rPr lang="en-US"/>
              <a:t>– as investors themselves pursue climate-aligned portfolios.</a:t>
            </a:r>
          </a:p>
          <a:p>
            <a:pPr marL="628650" lvl="1" indent="-171450">
              <a:buFont typeface="Arial" panose="020B0604020202020204" pitchFamily="34" charset="0"/>
              <a:buChar char="•"/>
            </a:pPr>
            <a:r>
              <a:rPr lang="en-US" b="1"/>
              <a:t>Government policy and regulation </a:t>
            </a:r>
            <a:r>
              <a:rPr lang="en-US"/>
              <a:t>– informing policies and regulations, such as SEC and EPA rulemaking currently underway.</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C7405B0-2C04-2949-A4EB-5C1B2E8F9868}"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44835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C7405B0-2C04-2949-A4EB-5C1B2E8F9868}" type="slidenum">
              <a:rPr lang="en-US" smtClean="0"/>
              <a:t>10</a:t>
            </a:fld>
            <a:endParaRPr lang="en-US"/>
          </a:p>
        </p:txBody>
      </p:sp>
    </p:spTree>
    <p:extLst>
      <p:ext uri="{BB962C8B-B14F-4D97-AF65-F5344CB8AC3E}">
        <p14:creationId xmlns:p14="http://schemas.microsoft.com/office/powerpoint/2010/main" val="28922701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693738"/>
            <a:ext cx="6176963" cy="34655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8DF57D7-2670-4E78-96DD-D9B22805124F}" type="slidenum">
              <a:rPr lang="en-US" smtClean="0"/>
              <a:pPr>
                <a:defRPr/>
              </a:pPr>
              <a:t>12</a:t>
            </a:fld>
            <a:endParaRPr lang="en-US" dirty="0"/>
          </a:p>
        </p:txBody>
      </p:sp>
    </p:spTree>
    <p:extLst>
      <p:ext uri="{BB962C8B-B14F-4D97-AF65-F5344CB8AC3E}">
        <p14:creationId xmlns:p14="http://schemas.microsoft.com/office/powerpoint/2010/main" val="18225127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
        <p:cNvGrpSpPr/>
        <p:nvPr/>
      </p:nvGrpSpPr>
      <p:grpSpPr>
        <a:xfrm>
          <a:off x="0" y="0"/>
          <a:ext cx="0" cy="0"/>
          <a:chOff x="0" y="0"/>
          <a:chExt cx="0" cy="0"/>
        </a:xfrm>
      </p:grpSpPr>
      <p:sp>
        <p:nvSpPr>
          <p:cNvPr id="97" name="Google Shape;97;g2259cd4507e_0_65:notes"/>
          <p:cNvSpPr>
            <a:spLocks noGrp="1" noRot="1" noChangeAspect="1"/>
          </p:cNvSpPr>
          <p:nvPr>
            <p:ph type="sldImg" idx="2"/>
          </p:nvPr>
        </p:nvSpPr>
        <p:spPr>
          <a:xfrm>
            <a:off x="373063" y="685800"/>
            <a:ext cx="6111875"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8" name="Google Shape;98;g2259cd4507e_0_6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
        <p:cNvGrpSpPr/>
        <p:nvPr/>
      </p:nvGrpSpPr>
      <p:grpSpPr>
        <a:xfrm>
          <a:off x="0" y="0"/>
          <a:ext cx="0" cy="0"/>
          <a:chOff x="0" y="0"/>
          <a:chExt cx="0" cy="0"/>
        </a:xfrm>
      </p:grpSpPr>
      <p:sp>
        <p:nvSpPr>
          <p:cNvPr id="157" name="Google Shape;157;g2259cd4507e_1_42:notes"/>
          <p:cNvSpPr>
            <a:spLocks noGrp="1" noRot="1" noChangeAspect="1"/>
          </p:cNvSpPr>
          <p:nvPr>
            <p:ph type="sldImg" idx="2"/>
          </p:nvPr>
        </p:nvSpPr>
        <p:spPr>
          <a:xfrm>
            <a:off x="373063" y="685800"/>
            <a:ext cx="6111875"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8" name="Google Shape;158;g2259cd4507e_1_4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3063" y="685800"/>
            <a:ext cx="6111875" cy="3429000"/>
          </a:xfrm>
        </p:spPr>
      </p:sp>
      <p:sp>
        <p:nvSpPr>
          <p:cNvPr id="3" name="Notes Placeholder 2"/>
          <p:cNvSpPr>
            <a:spLocks noGrp="1"/>
          </p:cNvSpPr>
          <p:nvPr>
            <p:ph type="body" idx="1"/>
          </p:nvPr>
        </p:nvSpPr>
        <p:spPr/>
        <p:txBody>
          <a:bodyPr/>
          <a:lstStyle/>
          <a:p>
            <a:endParaRPr lang="en-NL" dirty="0"/>
          </a:p>
        </p:txBody>
      </p:sp>
    </p:spTree>
    <p:extLst>
      <p:ext uri="{BB962C8B-B14F-4D97-AF65-F5344CB8AC3E}">
        <p14:creationId xmlns:p14="http://schemas.microsoft.com/office/powerpoint/2010/main" val="38237774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3063" y="685800"/>
            <a:ext cx="6111875" cy="3429000"/>
          </a:xfrm>
        </p:spPr>
      </p:sp>
      <p:sp>
        <p:nvSpPr>
          <p:cNvPr id="3" name="Notes Placeholder 2"/>
          <p:cNvSpPr>
            <a:spLocks noGrp="1"/>
          </p:cNvSpPr>
          <p:nvPr>
            <p:ph type="body" idx="1"/>
          </p:nvPr>
        </p:nvSpPr>
        <p:spPr/>
        <p:txBody>
          <a:bodyPr/>
          <a:lstStyle/>
          <a:p>
            <a:endParaRPr lang="en-NL" dirty="0"/>
          </a:p>
        </p:txBody>
      </p:sp>
    </p:spTree>
    <p:extLst>
      <p:ext uri="{BB962C8B-B14F-4D97-AF65-F5344CB8AC3E}">
        <p14:creationId xmlns:p14="http://schemas.microsoft.com/office/powerpoint/2010/main" val="26066154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6.emf"/><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7.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8.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BAAF2C-34DA-4027-E850-763D2D04C29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97648AE-D7CD-08FE-FDF9-65BCDC7C273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C52633A-766E-A53D-B2C6-B7434BC7ACE6}"/>
              </a:ext>
            </a:extLst>
          </p:cNvPr>
          <p:cNvSpPr>
            <a:spLocks noGrp="1"/>
          </p:cNvSpPr>
          <p:nvPr>
            <p:ph type="dt" sz="half" idx="10"/>
          </p:nvPr>
        </p:nvSpPr>
        <p:spPr/>
        <p:txBody>
          <a:bodyPr/>
          <a:lstStyle/>
          <a:p>
            <a:fld id="{F9055362-D439-1F49-BA91-99324A6D634F}" type="datetimeFigureOut">
              <a:rPr lang="en-US" smtClean="0"/>
              <a:t>9/25/23</a:t>
            </a:fld>
            <a:endParaRPr lang="en-US"/>
          </a:p>
        </p:txBody>
      </p:sp>
      <p:sp>
        <p:nvSpPr>
          <p:cNvPr id="5" name="Footer Placeholder 4">
            <a:extLst>
              <a:ext uri="{FF2B5EF4-FFF2-40B4-BE49-F238E27FC236}">
                <a16:creationId xmlns:a16="http://schemas.microsoft.com/office/drawing/2014/main" id="{94525DCF-7507-49A3-FEC2-419B160E65B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5E6DCE3-1E44-AF14-C1A9-C2B8B90ACA8C}"/>
              </a:ext>
            </a:extLst>
          </p:cNvPr>
          <p:cNvSpPr>
            <a:spLocks noGrp="1"/>
          </p:cNvSpPr>
          <p:nvPr>
            <p:ph type="sldNum" sz="quarter" idx="12"/>
          </p:nvPr>
        </p:nvSpPr>
        <p:spPr/>
        <p:txBody>
          <a:bodyPr/>
          <a:lstStyle/>
          <a:p>
            <a:fld id="{2093F156-AA41-0442-A294-53A963E71F6C}" type="slidenum">
              <a:rPr lang="en-US" smtClean="0"/>
              <a:t>‹#›</a:t>
            </a:fld>
            <a:endParaRPr lang="en-US"/>
          </a:p>
        </p:txBody>
      </p:sp>
    </p:spTree>
    <p:extLst>
      <p:ext uri="{BB962C8B-B14F-4D97-AF65-F5344CB8AC3E}">
        <p14:creationId xmlns:p14="http://schemas.microsoft.com/office/powerpoint/2010/main" val="19175530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BB641-7BD9-1066-ABCE-FA00C186A29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C001848-151B-E004-9DA8-6D35B52F2E8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86885B-E120-76E2-5600-3D323F4AD9F8}"/>
              </a:ext>
            </a:extLst>
          </p:cNvPr>
          <p:cNvSpPr>
            <a:spLocks noGrp="1"/>
          </p:cNvSpPr>
          <p:nvPr>
            <p:ph type="dt" sz="half" idx="10"/>
          </p:nvPr>
        </p:nvSpPr>
        <p:spPr/>
        <p:txBody>
          <a:bodyPr/>
          <a:lstStyle/>
          <a:p>
            <a:fld id="{F9055362-D439-1F49-BA91-99324A6D634F}" type="datetimeFigureOut">
              <a:rPr lang="en-US" smtClean="0"/>
              <a:t>9/25/23</a:t>
            </a:fld>
            <a:endParaRPr lang="en-US"/>
          </a:p>
        </p:txBody>
      </p:sp>
      <p:sp>
        <p:nvSpPr>
          <p:cNvPr id="5" name="Footer Placeholder 4">
            <a:extLst>
              <a:ext uri="{FF2B5EF4-FFF2-40B4-BE49-F238E27FC236}">
                <a16:creationId xmlns:a16="http://schemas.microsoft.com/office/drawing/2014/main" id="{A12205CE-2C65-8C04-47D5-8416B882BCB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30658C6-6674-CB1F-BC74-AA1B5A4523E0}"/>
              </a:ext>
            </a:extLst>
          </p:cNvPr>
          <p:cNvSpPr>
            <a:spLocks noGrp="1"/>
          </p:cNvSpPr>
          <p:nvPr>
            <p:ph type="sldNum" sz="quarter" idx="12"/>
          </p:nvPr>
        </p:nvSpPr>
        <p:spPr/>
        <p:txBody>
          <a:bodyPr/>
          <a:lstStyle/>
          <a:p>
            <a:fld id="{2093F156-AA41-0442-A294-53A963E71F6C}" type="slidenum">
              <a:rPr lang="en-US" smtClean="0"/>
              <a:t>‹#›</a:t>
            </a:fld>
            <a:endParaRPr lang="en-US"/>
          </a:p>
        </p:txBody>
      </p:sp>
    </p:spTree>
    <p:extLst>
      <p:ext uri="{BB962C8B-B14F-4D97-AF65-F5344CB8AC3E}">
        <p14:creationId xmlns:p14="http://schemas.microsoft.com/office/powerpoint/2010/main" val="371158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CC2E932-FBA2-7CA6-D78D-09E787BDF71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A051475-DFDF-5B70-07B0-DF391A01D09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83C087E-2B29-6514-34C6-E8C330A3BD5C}"/>
              </a:ext>
            </a:extLst>
          </p:cNvPr>
          <p:cNvSpPr>
            <a:spLocks noGrp="1"/>
          </p:cNvSpPr>
          <p:nvPr>
            <p:ph type="dt" sz="half" idx="10"/>
          </p:nvPr>
        </p:nvSpPr>
        <p:spPr/>
        <p:txBody>
          <a:bodyPr/>
          <a:lstStyle/>
          <a:p>
            <a:fld id="{F9055362-D439-1F49-BA91-99324A6D634F}" type="datetimeFigureOut">
              <a:rPr lang="en-US" smtClean="0"/>
              <a:t>9/25/23</a:t>
            </a:fld>
            <a:endParaRPr lang="en-US"/>
          </a:p>
        </p:txBody>
      </p:sp>
      <p:sp>
        <p:nvSpPr>
          <p:cNvPr id="5" name="Footer Placeholder 4">
            <a:extLst>
              <a:ext uri="{FF2B5EF4-FFF2-40B4-BE49-F238E27FC236}">
                <a16:creationId xmlns:a16="http://schemas.microsoft.com/office/drawing/2014/main" id="{2FF75CA2-0A68-69A3-C308-55580E3658C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AD00F28-73F6-DA56-6E72-5C632F618AD8}"/>
              </a:ext>
            </a:extLst>
          </p:cNvPr>
          <p:cNvSpPr>
            <a:spLocks noGrp="1"/>
          </p:cNvSpPr>
          <p:nvPr>
            <p:ph type="sldNum" sz="quarter" idx="12"/>
          </p:nvPr>
        </p:nvSpPr>
        <p:spPr/>
        <p:txBody>
          <a:bodyPr/>
          <a:lstStyle/>
          <a:p>
            <a:fld id="{2093F156-AA41-0442-A294-53A963E71F6C}" type="slidenum">
              <a:rPr lang="en-US" smtClean="0"/>
              <a:t>‹#›</a:t>
            </a:fld>
            <a:endParaRPr lang="en-US"/>
          </a:p>
        </p:txBody>
      </p:sp>
    </p:spTree>
    <p:extLst>
      <p:ext uri="{BB962C8B-B14F-4D97-AF65-F5344CB8AC3E}">
        <p14:creationId xmlns:p14="http://schemas.microsoft.com/office/powerpoint/2010/main" val="2892570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ar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8130130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LEAR3">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C7C0E3E-0D11-4538-8949-D8211CDC6C1D}"/>
              </a:ext>
            </a:extLst>
          </p:cNvPr>
          <p:cNvSpPr>
            <a:spLocks noGrp="1"/>
          </p:cNvSpPr>
          <p:nvPr>
            <p:ph type="title" hasCustomPrompt="1"/>
          </p:nvPr>
        </p:nvSpPr>
        <p:spPr/>
        <p:txBody>
          <a:bodyPr/>
          <a:lstStyle>
            <a:lvl1pPr algn="l">
              <a:defRPr/>
            </a:lvl1pPr>
          </a:lstStyle>
          <a:p>
            <a:r>
              <a:rPr lang="en-GB" noProof="0" dirty="0"/>
              <a:t>CLICK TO EDIT MASTER TITLE STYLE</a:t>
            </a:r>
          </a:p>
        </p:txBody>
      </p:sp>
      <p:sp>
        <p:nvSpPr>
          <p:cNvPr id="6" name="Rectangle 2">
            <a:extLst>
              <a:ext uri="{FF2B5EF4-FFF2-40B4-BE49-F238E27FC236}">
                <a16:creationId xmlns:a16="http://schemas.microsoft.com/office/drawing/2014/main" id="{0E7C54A7-24E4-4E66-907D-44DB138DAC0D}"/>
              </a:ext>
            </a:extLst>
          </p:cNvPr>
          <p:cNvSpPr>
            <a:spLocks noGrp="1" noChangeArrowheads="1"/>
          </p:cNvSpPr>
          <p:nvPr>
            <p:ph idx="1"/>
          </p:nvPr>
        </p:nvSpPr>
        <p:spPr bwMode="auto">
          <a:xfrm>
            <a:off x="219001" y="882193"/>
            <a:ext cx="11732718" cy="532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a:defRPr sz="1795"/>
            </a:lvl1pPr>
            <a:lvl2pPr>
              <a:defRPr sz="1795"/>
            </a:lvl2pPr>
            <a:lvl3pPr>
              <a:defRPr sz="1795"/>
            </a:lvl3pPr>
            <a:lvl4pPr>
              <a:defRPr sz="1795"/>
            </a:lvl4pPr>
            <a:lvl5pPr>
              <a:defRPr sz="1795"/>
            </a:lvl5pPr>
          </a:lstStyle>
          <a:p>
            <a:pPr lvl="0"/>
            <a:r>
              <a:rPr lang="en-GB" altLang="en-US" noProof="0" dirty="0"/>
              <a:t>Click to edit Master text styles</a:t>
            </a:r>
          </a:p>
          <a:p>
            <a:pPr lvl="1"/>
            <a:r>
              <a:rPr lang="en-GB" altLang="en-US" noProof="0" dirty="0"/>
              <a:t>Second level</a:t>
            </a:r>
          </a:p>
          <a:p>
            <a:pPr lvl="2"/>
            <a:r>
              <a:rPr lang="en-GB" altLang="en-US" noProof="0" dirty="0"/>
              <a:t>Third level</a:t>
            </a:r>
          </a:p>
          <a:p>
            <a:pPr lvl="3"/>
            <a:r>
              <a:rPr lang="en-GB" altLang="en-US" noProof="0" dirty="0"/>
              <a:t>Fourth level</a:t>
            </a:r>
          </a:p>
          <a:p>
            <a:pPr lvl="4"/>
            <a:r>
              <a:rPr lang="en-GB" altLang="en-US" noProof="0" dirty="0"/>
              <a:t>Fifth level</a:t>
            </a:r>
          </a:p>
        </p:txBody>
      </p:sp>
      <p:cxnSp>
        <p:nvCxnSpPr>
          <p:cNvPr id="8" name="Straight Connector 7">
            <a:extLst>
              <a:ext uri="{FF2B5EF4-FFF2-40B4-BE49-F238E27FC236}">
                <a16:creationId xmlns:a16="http://schemas.microsoft.com/office/drawing/2014/main" id="{FDDE0A18-E398-40EE-9B5C-EFF1AB1879B0}"/>
              </a:ext>
            </a:extLst>
          </p:cNvPr>
          <p:cNvCxnSpPr>
            <a:cxnSpLocks/>
          </p:cNvCxnSpPr>
          <p:nvPr userDrawn="1"/>
        </p:nvCxnSpPr>
        <p:spPr>
          <a:xfrm>
            <a:off x="220831" y="6422971"/>
            <a:ext cx="11703996" cy="0"/>
          </a:xfrm>
          <a:prstGeom prst="line">
            <a:avLst/>
          </a:prstGeom>
          <a:ln w="9525" cmpd="sng">
            <a:solidFill>
              <a:srgbClr val="003249"/>
            </a:solidFill>
            <a:prstDash val="soli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54FC899-091E-48CC-B4A2-B442B733582F}"/>
              </a:ext>
            </a:extLst>
          </p:cNvPr>
          <p:cNvCxnSpPr/>
          <p:nvPr userDrawn="1"/>
        </p:nvCxnSpPr>
        <p:spPr>
          <a:xfrm>
            <a:off x="217667" y="882193"/>
            <a:ext cx="11736308" cy="0"/>
          </a:xfrm>
          <a:prstGeom prst="line">
            <a:avLst/>
          </a:prstGeom>
          <a:ln w="9525">
            <a:solidFill>
              <a:srgbClr val="00324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89313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21"/>
        <p:cNvGrpSpPr/>
        <p:nvPr/>
      </p:nvGrpSpPr>
      <p:grpSpPr>
        <a:xfrm>
          <a:off x="0" y="0"/>
          <a:ext cx="0" cy="0"/>
          <a:chOff x="0" y="0"/>
          <a:chExt cx="0" cy="0"/>
        </a:xfrm>
      </p:grpSpPr>
      <p:sp>
        <p:nvSpPr>
          <p:cNvPr id="22" name="Google Shape;22;p3"/>
          <p:cNvSpPr/>
          <p:nvPr/>
        </p:nvSpPr>
        <p:spPr>
          <a:xfrm>
            <a:off x="0" y="1"/>
            <a:ext cx="12192000" cy="1037492"/>
          </a:xfrm>
          <a:prstGeom prst="rect">
            <a:avLst/>
          </a:prstGeom>
          <a:solidFill>
            <a:schemeClr val="accent1"/>
          </a:solidFill>
          <a:ln>
            <a:noFill/>
          </a:ln>
        </p:spPr>
        <p:txBody>
          <a:bodyPr spcFirstLastPara="1" wrap="square" lIns="91176" tIns="45575" rIns="91176" bIns="45575" anchor="ctr" anchorCtr="0">
            <a:noAutofit/>
          </a:bodyPr>
          <a:lstStyle/>
          <a:p>
            <a:pPr marL="0" marR="0" lvl="0" indent="0" algn="ctr" rtl="0">
              <a:spcBef>
                <a:spcPts val="0"/>
              </a:spcBef>
              <a:spcAft>
                <a:spcPts val="0"/>
              </a:spcAft>
              <a:buNone/>
            </a:pPr>
            <a:endParaRPr sz="1795" b="0" i="0" u="none" strike="noStrike" cap="none">
              <a:solidFill>
                <a:schemeClr val="dk2"/>
              </a:solidFill>
              <a:latin typeface="Arial"/>
              <a:ea typeface="Arial"/>
              <a:cs typeface="Arial"/>
              <a:sym typeface="Arial"/>
            </a:endParaRPr>
          </a:p>
        </p:txBody>
      </p:sp>
      <p:pic>
        <p:nvPicPr>
          <p:cNvPr id="23" name="Google Shape;23;p3"/>
          <p:cNvPicPr preferRelativeResize="0"/>
          <p:nvPr/>
        </p:nvPicPr>
        <p:blipFill rotWithShape="1">
          <a:blip r:embed="rId2">
            <a:alphaModFix amt="34000"/>
          </a:blip>
          <a:srcRect l="51339" t="39269" r="-2839" b="35419"/>
          <a:stretch/>
        </p:blipFill>
        <p:spPr>
          <a:xfrm flipH="1">
            <a:off x="9304422" y="0"/>
            <a:ext cx="2887578" cy="1037492"/>
          </a:xfrm>
          <a:prstGeom prst="rect">
            <a:avLst/>
          </a:prstGeom>
          <a:noFill/>
          <a:ln>
            <a:noFill/>
          </a:ln>
        </p:spPr>
      </p:pic>
      <p:pic>
        <p:nvPicPr>
          <p:cNvPr id="24" name="Google Shape;24;p3"/>
          <p:cNvPicPr preferRelativeResize="0"/>
          <p:nvPr/>
        </p:nvPicPr>
        <p:blipFill rotWithShape="1">
          <a:blip r:embed="rId3">
            <a:alphaModFix/>
          </a:blip>
          <a:srcRect/>
          <a:stretch/>
        </p:blipFill>
        <p:spPr>
          <a:xfrm>
            <a:off x="9791701" y="111658"/>
            <a:ext cx="2027900" cy="803439"/>
          </a:xfrm>
          <a:prstGeom prst="rect">
            <a:avLst/>
          </a:prstGeom>
          <a:noFill/>
          <a:ln>
            <a:noFill/>
          </a:ln>
          <a:effectLst>
            <a:outerShdw blurRad="50800" dist="38100" dir="2700000" algn="tl" rotWithShape="0">
              <a:srgbClr val="000000">
                <a:alpha val="40000"/>
              </a:srgbClr>
            </a:outerShdw>
          </a:effectLst>
        </p:spPr>
      </p:pic>
      <p:sp>
        <p:nvSpPr>
          <p:cNvPr id="25" name="Google Shape;25;p3"/>
          <p:cNvSpPr/>
          <p:nvPr/>
        </p:nvSpPr>
        <p:spPr>
          <a:xfrm>
            <a:off x="-1777" y="6574604"/>
            <a:ext cx="12193777" cy="283396"/>
          </a:xfrm>
          <a:prstGeom prst="rect">
            <a:avLst/>
          </a:prstGeom>
          <a:solidFill>
            <a:schemeClr val="accent4"/>
          </a:solidFill>
          <a:ln>
            <a:noFill/>
          </a:ln>
        </p:spPr>
        <p:txBody>
          <a:bodyPr spcFirstLastPara="1" wrap="square" lIns="91176" tIns="45575" rIns="91176" bIns="45575" anchor="ctr" anchorCtr="0">
            <a:noAutofit/>
          </a:bodyPr>
          <a:lstStyle/>
          <a:p>
            <a:pPr marL="0" marR="0" lvl="0" indent="0" algn="ctr" rtl="0">
              <a:spcBef>
                <a:spcPts val="0"/>
              </a:spcBef>
              <a:spcAft>
                <a:spcPts val="0"/>
              </a:spcAft>
              <a:buNone/>
            </a:pPr>
            <a:endParaRPr sz="1795" b="0" i="0" u="none" strike="noStrike" cap="none">
              <a:solidFill>
                <a:schemeClr val="dk2"/>
              </a:solidFill>
              <a:latin typeface="Arial"/>
              <a:ea typeface="Arial"/>
              <a:cs typeface="Arial"/>
              <a:sym typeface="Arial"/>
            </a:endParaRPr>
          </a:p>
        </p:txBody>
      </p:sp>
      <p:sp>
        <p:nvSpPr>
          <p:cNvPr id="26" name="Google Shape;26;p3"/>
          <p:cNvSpPr/>
          <p:nvPr/>
        </p:nvSpPr>
        <p:spPr>
          <a:xfrm rot="10800000" flipH="1">
            <a:off x="-4504" y="6540438"/>
            <a:ext cx="12196504" cy="59527"/>
          </a:xfrm>
          <a:prstGeom prst="rect">
            <a:avLst/>
          </a:prstGeom>
          <a:solidFill>
            <a:schemeClr val="accent1"/>
          </a:solidFill>
          <a:ln>
            <a:noFill/>
          </a:ln>
        </p:spPr>
        <p:txBody>
          <a:bodyPr spcFirstLastPara="1" wrap="square" lIns="91176" tIns="45575" rIns="91176" bIns="45575" anchor="ctr" anchorCtr="0">
            <a:noAutofit/>
          </a:bodyPr>
          <a:lstStyle/>
          <a:p>
            <a:pPr marL="0" marR="0" lvl="0" indent="0" algn="ctr" rtl="0">
              <a:spcBef>
                <a:spcPts val="0"/>
              </a:spcBef>
              <a:spcAft>
                <a:spcPts val="0"/>
              </a:spcAft>
              <a:buNone/>
            </a:pPr>
            <a:endParaRPr sz="1795" b="0" i="0" u="none" strike="noStrike" cap="none">
              <a:solidFill>
                <a:schemeClr val="dk2"/>
              </a:solidFill>
              <a:latin typeface="Arial"/>
              <a:ea typeface="Arial"/>
              <a:cs typeface="Arial"/>
              <a:sym typeface="Arial"/>
            </a:endParaRPr>
          </a:p>
        </p:txBody>
      </p:sp>
      <p:sp>
        <p:nvSpPr>
          <p:cNvPr id="27" name="Google Shape;27;p3"/>
          <p:cNvSpPr txBox="1"/>
          <p:nvPr/>
        </p:nvSpPr>
        <p:spPr>
          <a:xfrm>
            <a:off x="10265664" y="6574606"/>
            <a:ext cx="1925447" cy="307777"/>
          </a:xfrm>
          <a:prstGeom prst="rect">
            <a:avLst/>
          </a:prstGeom>
          <a:noFill/>
          <a:ln>
            <a:noFill/>
          </a:ln>
        </p:spPr>
        <p:txBody>
          <a:bodyPr spcFirstLastPara="1" wrap="square" lIns="91176" tIns="45575" rIns="91176" bIns="45575" anchor="t" anchorCtr="0">
            <a:spAutoFit/>
          </a:bodyPr>
          <a:lstStyle/>
          <a:p>
            <a:pPr marL="0" marR="0" lvl="0" indent="0" algn="r" rtl="0">
              <a:spcBef>
                <a:spcPts val="0"/>
              </a:spcBef>
              <a:spcAft>
                <a:spcPts val="0"/>
              </a:spcAft>
              <a:buNone/>
            </a:pPr>
            <a:r>
              <a:rPr lang="en-GB" sz="1396" b="1" i="0" u="none" strike="noStrike" cap="none">
                <a:solidFill>
                  <a:schemeClr val="accent1"/>
                </a:solidFill>
                <a:latin typeface="Arial"/>
                <a:ea typeface="Arial"/>
                <a:cs typeface="Arial"/>
                <a:sym typeface="Arial"/>
              </a:rPr>
              <a:t>Slide </a:t>
            </a:r>
            <a:fld id="{00000000-1234-1234-1234-123412341234}" type="slidenum">
              <a:rPr lang="en-GB" sz="1396" b="1" i="0" u="none" strike="noStrike" cap="none">
                <a:solidFill>
                  <a:schemeClr val="accent1"/>
                </a:solidFill>
                <a:latin typeface="Arial"/>
                <a:ea typeface="Arial"/>
                <a:cs typeface="Arial"/>
                <a:sym typeface="Arial"/>
              </a:rPr>
              <a:pPr marL="0" marR="0" lvl="0" indent="0" algn="r" rtl="0">
                <a:spcBef>
                  <a:spcPts val="0"/>
                </a:spcBef>
                <a:spcAft>
                  <a:spcPts val="0"/>
                </a:spcAft>
                <a:buNone/>
              </a:pPr>
              <a:t>‹#›</a:t>
            </a:fld>
            <a:endParaRPr sz="1396" b="1" i="0" u="none" strike="noStrike" cap="none">
              <a:solidFill>
                <a:schemeClr val="accent1"/>
              </a:solidFill>
              <a:latin typeface="Arial"/>
              <a:ea typeface="Arial"/>
              <a:cs typeface="Arial"/>
              <a:sym typeface="Arial"/>
            </a:endParaRPr>
          </a:p>
        </p:txBody>
      </p:sp>
      <p:sp>
        <p:nvSpPr>
          <p:cNvPr id="28" name="Google Shape;28;p3"/>
          <p:cNvSpPr txBox="1">
            <a:spLocks noGrp="1"/>
          </p:cNvSpPr>
          <p:nvPr>
            <p:ph type="body" idx="1"/>
          </p:nvPr>
        </p:nvSpPr>
        <p:spPr>
          <a:xfrm>
            <a:off x="324234" y="1558535"/>
            <a:ext cx="11495400" cy="4662871"/>
          </a:xfrm>
          <a:prstGeom prst="rect">
            <a:avLst/>
          </a:prstGeom>
          <a:noFill/>
          <a:ln>
            <a:noFill/>
          </a:ln>
        </p:spPr>
        <p:txBody>
          <a:bodyPr spcFirstLastPara="1" wrap="square" lIns="91425" tIns="45700" rIns="91425" bIns="45700" anchor="t" anchorCtr="0">
            <a:noAutofit/>
          </a:bodyPr>
          <a:lstStyle>
            <a:lvl1pPr marL="455966" marR="0" lvl="0" indent="-405303" algn="l" rtl="0">
              <a:lnSpc>
                <a:spcPct val="90000"/>
              </a:lnSpc>
              <a:spcBef>
                <a:spcPts val="997"/>
              </a:spcBef>
              <a:spcAft>
                <a:spcPts val="0"/>
              </a:spcAft>
              <a:buClr>
                <a:schemeClr val="dk1"/>
              </a:buClr>
              <a:buSzPts val="2800"/>
              <a:buFont typeface="Noto Sans Symbols"/>
              <a:buChar char="❖"/>
              <a:defRPr sz="2792" b="0" i="0" u="none" strike="noStrike" cap="none">
                <a:solidFill>
                  <a:schemeClr val="dk1"/>
                </a:solidFill>
                <a:latin typeface="Arial"/>
                <a:ea typeface="Arial"/>
                <a:cs typeface="Arial"/>
                <a:sym typeface="Arial"/>
              </a:defRPr>
            </a:lvl1pPr>
            <a:lvl2pPr marL="911931" marR="0" lvl="1" indent="-379971" algn="l" rtl="0">
              <a:lnSpc>
                <a:spcPct val="90000"/>
              </a:lnSpc>
              <a:spcBef>
                <a:spcPts val="499"/>
              </a:spcBef>
              <a:spcAft>
                <a:spcPts val="0"/>
              </a:spcAft>
              <a:buClr>
                <a:schemeClr val="dk1"/>
              </a:buClr>
              <a:buSzPts val="2400"/>
              <a:buFont typeface="Noto Sans Symbols"/>
              <a:buChar char="▪"/>
              <a:defRPr sz="2394" b="0" i="0" u="none" strike="noStrike" cap="none">
                <a:solidFill>
                  <a:schemeClr val="dk1"/>
                </a:solidFill>
                <a:latin typeface="Arial"/>
                <a:ea typeface="Arial"/>
                <a:cs typeface="Arial"/>
                <a:sym typeface="Arial"/>
              </a:defRPr>
            </a:lvl2pPr>
            <a:lvl3pPr marL="1367897" marR="0" lvl="2" indent="-354640" algn="l" rtl="0">
              <a:lnSpc>
                <a:spcPct val="90000"/>
              </a:lnSpc>
              <a:spcBef>
                <a:spcPts val="499"/>
              </a:spcBef>
              <a:spcAft>
                <a:spcPts val="0"/>
              </a:spcAft>
              <a:buClr>
                <a:schemeClr val="dk1"/>
              </a:buClr>
              <a:buSzPts val="2000"/>
              <a:buFont typeface="Courier New"/>
              <a:buChar char="o"/>
              <a:defRPr sz="1995" b="0" i="0" u="none" strike="noStrike" cap="none">
                <a:solidFill>
                  <a:schemeClr val="dk1"/>
                </a:solidFill>
                <a:latin typeface="Arial"/>
                <a:ea typeface="Arial"/>
                <a:cs typeface="Arial"/>
                <a:sym typeface="Arial"/>
              </a:defRPr>
            </a:lvl3pPr>
            <a:lvl4pPr marL="1823862" marR="0" lvl="3" indent="-341974" algn="l" rtl="0">
              <a:lnSpc>
                <a:spcPct val="90000"/>
              </a:lnSpc>
              <a:spcBef>
                <a:spcPts val="499"/>
              </a:spcBef>
              <a:spcAft>
                <a:spcPts val="0"/>
              </a:spcAft>
              <a:buClr>
                <a:schemeClr val="dk1"/>
              </a:buClr>
              <a:buSzPts val="1800"/>
              <a:buFont typeface="Arial"/>
              <a:buChar char="•"/>
              <a:defRPr sz="1795" b="0" i="0" u="none" strike="noStrike" cap="none">
                <a:solidFill>
                  <a:schemeClr val="dk1"/>
                </a:solidFill>
                <a:latin typeface="Arial"/>
                <a:ea typeface="Arial"/>
                <a:cs typeface="Arial"/>
                <a:sym typeface="Arial"/>
              </a:defRPr>
            </a:lvl4pPr>
            <a:lvl5pPr marL="2279828" marR="0" lvl="4" indent="-341974" algn="l" rtl="0">
              <a:lnSpc>
                <a:spcPct val="90000"/>
              </a:lnSpc>
              <a:spcBef>
                <a:spcPts val="499"/>
              </a:spcBef>
              <a:spcAft>
                <a:spcPts val="0"/>
              </a:spcAft>
              <a:buClr>
                <a:schemeClr val="dk1"/>
              </a:buClr>
              <a:buSzPts val="1800"/>
              <a:buFont typeface="Arial"/>
              <a:buChar char="•"/>
              <a:defRPr sz="1795" b="0" i="0" u="none" strike="noStrike" cap="none">
                <a:solidFill>
                  <a:schemeClr val="dk1"/>
                </a:solidFill>
                <a:latin typeface="Arial"/>
                <a:ea typeface="Arial"/>
                <a:cs typeface="Arial"/>
                <a:sym typeface="Arial"/>
              </a:defRPr>
            </a:lvl5pPr>
            <a:lvl6pPr marL="2735793" marR="0" lvl="5" indent="-354640" algn="l" rtl="0">
              <a:lnSpc>
                <a:spcPct val="90000"/>
              </a:lnSpc>
              <a:spcBef>
                <a:spcPts val="499"/>
              </a:spcBef>
              <a:spcAft>
                <a:spcPts val="0"/>
              </a:spcAft>
              <a:buClr>
                <a:schemeClr val="dk1"/>
              </a:buClr>
              <a:buSzPts val="2000"/>
              <a:buFont typeface="Arial"/>
              <a:buChar char="•"/>
              <a:defRPr sz="1995" b="0" i="0" u="none" strike="noStrike" cap="none">
                <a:solidFill>
                  <a:schemeClr val="dk1"/>
                </a:solidFill>
                <a:latin typeface="Arial"/>
                <a:ea typeface="Arial"/>
                <a:cs typeface="Arial"/>
                <a:sym typeface="Arial"/>
              </a:defRPr>
            </a:lvl6pPr>
            <a:lvl7pPr marL="3191759" marR="0" lvl="6" indent="-354640" algn="l" rtl="0">
              <a:lnSpc>
                <a:spcPct val="90000"/>
              </a:lnSpc>
              <a:spcBef>
                <a:spcPts val="499"/>
              </a:spcBef>
              <a:spcAft>
                <a:spcPts val="0"/>
              </a:spcAft>
              <a:buClr>
                <a:schemeClr val="dk1"/>
              </a:buClr>
              <a:buSzPts val="2000"/>
              <a:buFont typeface="Arial"/>
              <a:buChar char="•"/>
              <a:defRPr sz="1995" b="0" i="0" u="none" strike="noStrike" cap="none">
                <a:solidFill>
                  <a:schemeClr val="dk1"/>
                </a:solidFill>
                <a:latin typeface="Arial"/>
                <a:ea typeface="Arial"/>
                <a:cs typeface="Arial"/>
                <a:sym typeface="Arial"/>
              </a:defRPr>
            </a:lvl7pPr>
            <a:lvl8pPr marL="3647724" marR="0" lvl="7" indent="-354640" algn="l" rtl="0">
              <a:lnSpc>
                <a:spcPct val="90000"/>
              </a:lnSpc>
              <a:spcBef>
                <a:spcPts val="499"/>
              </a:spcBef>
              <a:spcAft>
                <a:spcPts val="0"/>
              </a:spcAft>
              <a:buClr>
                <a:schemeClr val="dk1"/>
              </a:buClr>
              <a:buSzPts val="2000"/>
              <a:buFont typeface="Arial"/>
              <a:buChar char="•"/>
              <a:defRPr sz="1995" b="0" i="0" u="none" strike="noStrike" cap="none">
                <a:solidFill>
                  <a:schemeClr val="dk1"/>
                </a:solidFill>
                <a:latin typeface="Arial"/>
                <a:ea typeface="Arial"/>
                <a:cs typeface="Arial"/>
                <a:sym typeface="Arial"/>
              </a:defRPr>
            </a:lvl8pPr>
            <a:lvl9pPr marL="4103690" marR="0" lvl="8" indent="-354640" algn="l" rtl="0">
              <a:lnSpc>
                <a:spcPct val="90000"/>
              </a:lnSpc>
              <a:spcBef>
                <a:spcPts val="499"/>
              </a:spcBef>
              <a:spcAft>
                <a:spcPts val="0"/>
              </a:spcAft>
              <a:buClr>
                <a:schemeClr val="dk1"/>
              </a:buClr>
              <a:buSzPts val="2000"/>
              <a:buFont typeface="Arial"/>
              <a:buChar char="•"/>
              <a:defRPr sz="1995" b="0" i="0" u="none" strike="noStrike" cap="none">
                <a:solidFill>
                  <a:schemeClr val="dk1"/>
                </a:solidFill>
                <a:latin typeface="Arial"/>
                <a:ea typeface="Arial"/>
                <a:cs typeface="Arial"/>
                <a:sym typeface="Arial"/>
              </a:defRPr>
            </a:lvl9pPr>
          </a:lstStyle>
          <a:p>
            <a:endParaRPr/>
          </a:p>
        </p:txBody>
      </p:sp>
      <p:sp>
        <p:nvSpPr>
          <p:cNvPr id="29" name="Google Shape;29;p3"/>
          <p:cNvSpPr txBox="1">
            <a:spLocks noGrp="1"/>
          </p:cNvSpPr>
          <p:nvPr>
            <p:ph type="title"/>
          </p:nvPr>
        </p:nvSpPr>
        <p:spPr>
          <a:xfrm>
            <a:off x="176048" y="175939"/>
            <a:ext cx="9386864" cy="779002"/>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chemeClr val="lt1"/>
              </a:buClr>
              <a:buSzPts val="4400"/>
              <a:buFont typeface="Arial"/>
              <a:buNone/>
              <a:defRPr sz="4388" b="0" i="0" u="none" strike="noStrike" cap="none">
                <a:solidFill>
                  <a:schemeClr val="lt1"/>
                </a:solidFill>
                <a:latin typeface="Arial"/>
                <a:ea typeface="Arial"/>
                <a:cs typeface="Arial"/>
                <a:sym typeface="Arial"/>
              </a:defRPr>
            </a:lvl1pPr>
            <a:lvl2pPr lvl="1">
              <a:spcBef>
                <a:spcPts val="0"/>
              </a:spcBef>
              <a:spcAft>
                <a:spcPts val="0"/>
              </a:spcAft>
              <a:buSzPts val="1400"/>
              <a:buNone/>
              <a:defRPr sz="1795"/>
            </a:lvl2pPr>
            <a:lvl3pPr lvl="2">
              <a:spcBef>
                <a:spcPts val="0"/>
              </a:spcBef>
              <a:spcAft>
                <a:spcPts val="0"/>
              </a:spcAft>
              <a:buSzPts val="1400"/>
              <a:buNone/>
              <a:defRPr sz="1795"/>
            </a:lvl3pPr>
            <a:lvl4pPr lvl="3">
              <a:spcBef>
                <a:spcPts val="0"/>
              </a:spcBef>
              <a:spcAft>
                <a:spcPts val="0"/>
              </a:spcAft>
              <a:buSzPts val="1400"/>
              <a:buNone/>
              <a:defRPr sz="1795"/>
            </a:lvl4pPr>
            <a:lvl5pPr lvl="4">
              <a:spcBef>
                <a:spcPts val="0"/>
              </a:spcBef>
              <a:spcAft>
                <a:spcPts val="0"/>
              </a:spcAft>
              <a:buSzPts val="1400"/>
              <a:buNone/>
              <a:defRPr sz="1795"/>
            </a:lvl5pPr>
            <a:lvl6pPr lvl="5">
              <a:spcBef>
                <a:spcPts val="0"/>
              </a:spcBef>
              <a:spcAft>
                <a:spcPts val="0"/>
              </a:spcAft>
              <a:buSzPts val="1400"/>
              <a:buNone/>
              <a:defRPr sz="1795"/>
            </a:lvl6pPr>
            <a:lvl7pPr lvl="6">
              <a:spcBef>
                <a:spcPts val="0"/>
              </a:spcBef>
              <a:spcAft>
                <a:spcPts val="0"/>
              </a:spcAft>
              <a:buSzPts val="1400"/>
              <a:buNone/>
              <a:defRPr sz="1795"/>
            </a:lvl7pPr>
            <a:lvl8pPr lvl="7">
              <a:spcBef>
                <a:spcPts val="0"/>
              </a:spcBef>
              <a:spcAft>
                <a:spcPts val="0"/>
              </a:spcAft>
              <a:buSzPts val="1400"/>
              <a:buNone/>
              <a:defRPr sz="1795"/>
            </a:lvl8pPr>
            <a:lvl9pPr lvl="8">
              <a:spcBef>
                <a:spcPts val="0"/>
              </a:spcBef>
              <a:spcAft>
                <a:spcPts val="0"/>
              </a:spcAft>
              <a:buSzPts val="1400"/>
              <a:buNone/>
              <a:defRPr sz="1795"/>
            </a:lvl9pPr>
          </a:lstStyle>
          <a:p>
            <a:endParaRPr dirty="0"/>
          </a:p>
        </p:txBody>
      </p:sp>
    </p:spTree>
    <p:extLst>
      <p:ext uri="{BB962C8B-B14F-4D97-AF65-F5344CB8AC3E}">
        <p14:creationId xmlns:p14="http://schemas.microsoft.com/office/powerpoint/2010/main" val="16639339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Cover Slide 9 layout">
    <p:bg>
      <p:bgPr>
        <a:solidFill>
          <a:schemeClr val="tx2"/>
        </a:solidFill>
        <a:effectLst/>
      </p:bgPr>
    </p:bg>
    <p:spTree>
      <p:nvGrpSpPr>
        <p:cNvPr id="1" name=""/>
        <p:cNvGrpSpPr/>
        <p:nvPr/>
      </p:nvGrpSpPr>
      <p:grpSpPr>
        <a:xfrm>
          <a:off x="0" y="0"/>
          <a:ext cx="0" cy="0"/>
          <a:chOff x="0" y="0"/>
          <a:chExt cx="0" cy="0"/>
        </a:xfrm>
      </p:grpSpPr>
      <p:pic>
        <p:nvPicPr>
          <p:cNvPr id="1028" name="Picture 4">
            <a:extLst>
              <a:ext uri="{FF2B5EF4-FFF2-40B4-BE49-F238E27FC236}">
                <a16:creationId xmlns:a16="http://schemas.microsoft.com/office/drawing/2014/main" id="{B0B1BB6A-10BB-D8C2-2A56-AE0A117676CF}"/>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0" y="3175"/>
            <a:ext cx="12192000" cy="685006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Object 13" hidden="1">
            <a:extLst>
              <a:ext uri="{FF2B5EF4-FFF2-40B4-BE49-F238E27FC236}">
                <a16:creationId xmlns:a16="http://schemas.microsoft.com/office/drawing/2014/main" id="{E068EAFE-FE27-E460-47AB-058E8D734439}"/>
              </a:ext>
            </a:extLst>
          </p:cNvPr>
          <p:cNvGraphicFramePr>
            <a:graphicFrameLocks noChangeAspect="1"/>
          </p:cNvGraphicFramePr>
          <p:nvPr>
            <p:custDataLst>
              <p:tags r:id="rId1"/>
            </p:custDataLst>
            <p:extLst>
              <p:ext uri="{D42A27DB-BD31-4B8C-83A1-F6EECF244321}">
                <p14:modId xmlns:p14="http://schemas.microsoft.com/office/powerpoint/2010/main" val="21636139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4" name="Object 13" hidden="1">
                        <a:extLst>
                          <a:ext uri="{FF2B5EF4-FFF2-40B4-BE49-F238E27FC236}">
                            <a16:creationId xmlns:a16="http://schemas.microsoft.com/office/drawing/2014/main" id="{E068EAFE-FE27-E460-47AB-058E8D73443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0" name="Picture 9" descr="Shape&#10;&#10;Description automatically generated with medium confidence">
            <a:extLst>
              <a:ext uri="{FF2B5EF4-FFF2-40B4-BE49-F238E27FC236}">
                <a16:creationId xmlns:a16="http://schemas.microsoft.com/office/drawing/2014/main" id="{01F987F1-C003-6AF9-7098-9C7C115A7574}"/>
              </a:ext>
            </a:extLst>
          </p:cNvPr>
          <p:cNvPicPr>
            <a:picLocks noChangeAspect="1"/>
          </p:cNvPicPr>
          <p:nvPr/>
        </p:nvPicPr>
        <p:blipFill>
          <a:blip r:embed="rId6" cstate="screen">
            <a:alphaModFix amt="25000"/>
            <a:extLst>
              <a:ext uri="{28A0092B-C50C-407E-A947-70E740481C1C}">
                <a14:useLocalDpi xmlns:a14="http://schemas.microsoft.com/office/drawing/2010/main"/>
              </a:ext>
            </a:extLst>
          </a:blip>
          <a:stretch>
            <a:fillRect/>
          </a:stretch>
        </p:blipFill>
        <p:spPr>
          <a:xfrm>
            <a:off x="0" y="0"/>
            <a:ext cx="12192000" cy="6858000"/>
          </a:xfrm>
          <a:prstGeom prst="rect">
            <a:avLst/>
          </a:prstGeom>
          <a:noFill/>
        </p:spPr>
      </p:pic>
      <p:sp>
        <p:nvSpPr>
          <p:cNvPr id="4" name="Slide Number Placeholder 5">
            <a:extLst>
              <a:ext uri="{FF2B5EF4-FFF2-40B4-BE49-F238E27FC236}">
                <a16:creationId xmlns:a16="http://schemas.microsoft.com/office/drawing/2014/main" id="{E1B81A3B-9038-9C43-A9EF-416980CB0D5C}"/>
              </a:ext>
            </a:extLst>
          </p:cNvPr>
          <p:cNvSpPr>
            <a:spLocks noGrp="1"/>
          </p:cNvSpPr>
          <p:nvPr>
            <p:ph type="sldNum" sz="quarter" idx="12"/>
          </p:nvPr>
        </p:nvSpPr>
        <p:spPr>
          <a:xfrm>
            <a:off x="9072282" y="6356350"/>
            <a:ext cx="2743200" cy="365125"/>
          </a:xfrm>
        </p:spPr>
        <p:txBody>
          <a:bodyPr/>
          <a:lstStyle>
            <a:lvl1pPr>
              <a:defRPr>
                <a:solidFill>
                  <a:schemeClr val="bg1"/>
                </a:solidFill>
              </a:defRPr>
            </a:lvl1pPr>
          </a:lstStyle>
          <a:p>
            <a:fld id="{99226923-5A89-6641-B7F4-F93E4EB9EE48}" type="slidenum">
              <a:rPr lang="en-US" smtClean="0"/>
              <a:pPr/>
              <a:t>‹#›</a:t>
            </a:fld>
            <a:endParaRPr lang="en-US" b="1">
              <a:latin typeface="Metropolis Semi Bold" pitchFamily="2" charset="77"/>
            </a:endParaRPr>
          </a:p>
        </p:txBody>
      </p:sp>
      <p:sp>
        <p:nvSpPr>
          <p:cNvPr id="5" name="Title 1">
            <a:extLst>
              <a:ext uri="{FF2B5EF4-FFF2-40B4-BE49-F238E27FC236}">
                <a16:creationId xmlns:a16="http://schemas.microsoft.com/office/drawing/2014/main" id="{02CC6C4D-EE86-80A1-E62D-B32AEEA763F7}"/>
              </a:ext>
            </a:extLst>
          </p:cNvPr>
          <p:cNvSpPr>
            <a:spLocks noGrp="1"/>
          </p:cNvSpPr>
          <p:nvPr>
            <p:ph type="title" hasCustomPrompt="1"/>
          </p:nvPr>
        </p:nvSpPr>
        <p:spPr>
          <a:xfrm>
            <a:off x="339912" y="1147482"/>
            <a:ext cx="7842796" cy="3199840"/>
          </a:xfrm>
        </p:spPr>
        <p:txBody>
          <a:bodyPr vert="horz" bIns="0" anchor="b">
            <a:normAutofit/>
          </a:bodyPr>
          <a:lstStyle>
            <a:lvl1pPr>
              <a:defRPr sz="5400">
                <a:solidFill>
                  <a:schemeClr val="bg1"/>
                </a:solidFill>
              </a:defRPr>
            </a:lvl1pPr>
          </a:lstStyle>
          <a:p>
            <a:r>
              <a:rPr lang="en-US"/>
              <a:t>Click to edit title</a:t>
            </a:r>
          </a:p>
        </p:txBody>
      </p:sp>
      <p:sp>
        <p:nvSpPr>
          <p:cNvPr id="7" name="Text Placeholder 2">
            <a:extLst>
              <a:ext uri="{FF2B5EF4-FFF2-40B4-BE49-F238E27FC236}">
                <a16:creationId xmlns:a16="http://schemas.microsoft.com/office/drawing/2014/main" id="{F6E5530C-08C5-53C0-0BBA-F23DC9853AAD}"/>
              </a:ext>
            </a:extLst>
          </p:cNvPr>
          <p:cNvSpPr>
            <a:spLocks noGrp="1"/>
          </p:cNvSpPr>
          <p:nvPr>
            <p:ph type="body" idx="1" hasCustomPrompt="1"/>
          </p:nvPr>
        </p:nvSpPr>
        <p:spPr>
          <a:xfrm>
            <a:off x="339912" y="4374310"/>
            <a:ext cx="7842796" cy="1500187"/>
          </a:xfrm>
        </p:spPr>
        <p:txBody>
          <a:bodyPr>
            <a:normAutofit/>
          </a:bodyPr>
          <a:lstStyle>
            <a:lvl1pPr marL="0" indent="0">
              <a:buNone/>
              <a:defRPr sz="3200" b="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subtitle</a:t>
            </a:r>
          </a:p>
        </p:txBody>
      </p:sp>
      <p:pic>
        <p:nvPicPr>
          <p:cNvPr id="9" name="Picture 8">
            <a:extLst>
              <a:ext uri="{FF2B5EF4-FFF2-40B4-BE49-F238E27FC236}">
                <a16:creationId xmlns:a16="http://schemas.microsoft.com/office/drawing/2014/main" id="{81A2A65F-30C4-25B3-8EF3-337599FF8AC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39912" y="332509"/>
            <a:ext cx="2400318" cy="650994"/>
          </a:xfrm>
          <a:prstGeom prst="rect">
            <a:avLst/>
          </a:prstGeom>
        </p:spPr>
      </p:pic>
    </p:spTree>
    <p:extLst>
      <p:ext uri="{BB962C8B-B14F-4D97-AF65-F5344CB8AC3E}">
        <p14:creationId xmlns:p14="http://schemas.microsoft.com/office/powerpoint/2010/main" val="4041791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itle Only Blue">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7ED4C7-3407-5830-C159-9C2770BA39E3}"/>
              </a:ext>
            </a:extLst>
          </p:cNvPr>
          <p:cNvGraphicFramePr>
            <a:graphicFrameLocks noChangeAspect="1"/>
          </p:cNvGraphicFramePr>
          <p:nvPr>
            <p:custDataLst>
              <p:tags r:id="rId1"/>
            </p:custDataLst>
            <p:extLst>
              <p:ext uri="{D42A27DB-BD31-4B8C-83A1-F6EECF244321}">
                <p14:modId xmlns:p14="http://schemas.microsoft.com/office/powerpoint/2010/main" val="12069991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1B7ED4C7-3407-5830-C159-9C2770BA39E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a:defRPr>
                <a:solidFill>
                  <a:schemeClr val="accent1"/>
                </a:solidFill>
              </a:defRPr>
            </a:lvl1pPr>
          </a:lstStyle>
          <a:p>
            <a:r>
              <a:rPr lang="en-US"/>
              <a:t>Click to edit title</a:t>
            </a:r>
          </a:p>
        </p:txBody>
      </p:sp>
      <p:sp>
        <p:nvSpPr>
          <p:cNvPr id="6" name="Slide Number Placeholder 5">
            <a:extLst>
              <a:ext uri="{FF2B5EF4-FFF2-40B4-BE49-F238E27FC236}">
                <a16:creationId xmlns:a16="http://schemas.microsoft.com/office/drawing/2014/main" id="{66D0BAA5-A735-6F4F-B587-06A5165CA0DE}"/>
              </a:ext>
            </a:extLst>
          </p:cNvPr>
          <p:cNvSpPr txBox="1">
            <a:spLocks/>
          </p:cNvSpPr>
          <p:nvPr/>
        </p:nvSpPr>
        <p:spPr>
          <a:xfrm>
            <a:off x="376517" y="6356350"/>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b="1" i="0" kern="1200">
                <a:solidFill>
                  <a:schemeClr val="tx1">
                    <a:tint val="75000"/>
                  </a:schemeClr>
                </a:solidFill>
                <a:latin typeface="Metropolis Semi Bold" pitchFamily="2" charset="77"/>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b="1" i="0">
                <a:solidFill>
                  <a:schemeClr val="bg1"/>
                </a:solidFill>
                <a:latin typeface="Metropolis Semi Bold" pitchFamily="2" charset="77"/>
              </a:rPr>
              <a:t>RMI – Energy. Transformed.</a:t>
            </a:r>
          </a:p>
        </p:txBody>
      </p:sp>
      <p:sp>
        <p:nvSpPr>
          <p:cNvPr id="8" name="Text Placeholder 8">
            <a:extLst>
              <a:ext uri="{FF2B5EF4-FFF2-40B4-BE49-F238E27FC236}">
                <a16:creationId xmlns:a16="http://schemas.microsoft.com/office/drawing/2014/main" id="{6BC4E998-1E0A-914E-7C55-AC7710A1E341}"/>
              </a:ext>
            </a:extLst>
          </p:cNvPr>
          <p:cNvSpPr>
            <a:spLocks noGrp="1"/>
          </p:cNvSpPr>
          <p:nvPr>
            <p:ph type="body" sz="quarter" idx="13" hasCustomPrompt="1"/>
          </p:nvPr>
        </p:nvSpPr>
        <p:spPr>
          <a:xfrm>
            <a:off x="3119438" y="6438411"/>
            <a:ext cx="8110537" cy="230832"/>
          </a:xfrm>
          <a:noFill/>
        </p:spPr>
        <p:txBody>
          <a:bodyPr wrap="square" rtlCol="0">
            <a:spAutoFit/>
          </a:bodyPr>
          <a:lstStyle>
            <a:lvl1pPr marL="0" indent="0">
              <a:buNone/>
              <a:defRPr lang="en-US" sz="1000" b="0" dirty="0" smtClean="0">
                <a:solidFill>
                  <a:schemeClr val="bg1">
                    <a:lumMod val="50000"/>
                  </a:schemeClr>
                </a:solidFill>
                <a:cs typeface="Arial" charset="0"/>
              </a:defRPr>
            </a:lvl1pPr>
            <a:lvl2pPr>
              <a:defRPr lang="en-US" sz="1800" dirty="0" smtClean="0">
                <a:latin typeface="+mn-lt"/>
                <a:ea typeface="+mn-ea"/>
                <a:cs typeface="+mn-cs"/>
              </a:defRPr>
            </a:lvl2pPr>
            <a:lvl3pPr>
              <a:defRPr lang="en-US" sz="1800" dirty="0" smtClean="0">
                <a:solidFill>
                  <a:schemeClr val="tx1"/>
                </a:solidFill>
                <a:latin typeface="+mn-lt"/>
                <a:ea typeface="+mn-ea"/>
                <a:cs typeface="+mn-cs"/>
              </a:defRPr>
            </a:lvl3pPr>
            <a:lvl4pPr>
              <a:defRPr lang="en-US" dirty="0" smtClean="0">
                <a:latin typeface="+mn-lt"/>
                <a:ea typeface="+mn-ea"/>
                <a:cs typeface="+mn-cs"/>
              </a:defRPr>
            </a:lvl4pPr>
            <a:lvl5pPr>
              <a:defRPr lang="en-US" dirty="0">
                <a:latin typeface="+mn-lt"/>
                <a:ea typeface="+mn-ea"/>
                <a:cs typeface="+mn-cs"/>
              </a:defRPr>
            </a:lvl5pPr>
          </a:lstStyle>
          <a:p>
            <a:pPr marL="0" lvl="0" algn="r" defTabSz="457200"/>
            <a:r>
              <a:rPr lang="en-US"/>
              <a:t>Source: if none delete this text box.</a:t>
            </a:r>
          </a:p>
        </p:txBody>
      </p:sp>
      <p:sp>
        <p:nvSpPr>
          <p:cNvPr id="9" name="Slide Number Placeholder 5">
            <a:extLst>
              <a:ext uri="{FF2B5EF4-FFF2-40B4-BE49-F238E27FC236}">
                <a16:creationId xmlns:a16="http://schemas.microsoft.com/office/drawing/2014/main" id="{87549AA6-5BDB-0D70-BBB3-6147B91816BB}"/>
              </a:ext>
            </a:extLst>
          </p:cNvPr>
          <p:cNvSpPr>
            <a:spLocks noGrp="1"/>
          </p:cNvSpPr>
          <p:nvPr>
            <p:ph type="sldNum" sz="quarter" idx="12"/>
          </p:nvPr>
        </p:nvSpPr>
        <p:spPr>
          <a:xfrm>
            <a:off x="11330608" y="6356350"/>
            <a:ext cx="484873" cy="365125"/>
          </a:xfrm>
        </p:spPr>
        <p:txBody>
          <a:bodyPr/>
          <a:lstStyle>
            <a:lvl1pPr>
              <a:defRPr>
                <a:solidFill>
                  <a:schemeClr val="bg1"/>
                </a:solidFill>
              </a:defRPr>
            </a:lvl1pPr>
          </a:lstStyle>
          <a:p>
            <a:fld id="{99226923-5A89-6641-B7F4-F93E4EB9EE48}" type="slidenum">
              <a:rPr lang="en-US" smtClean="0"/>
              <a:pPr/>
              <a:t>‹#›</a:t>
            </a:fld>
            <a:endParaRPr lang="en-US" b="1">
              <a:latin typeface="Metropolis Semi Bold" pitchFamily="2" charset="77"/>
            </a:endParaRPr>
          </a:p>
        </p:txBody>
      </p:sp>
      <p:sp>
        <p:nvSpPr>
          <p:cNvPr id="10" name="Text Placeholder 12">
            <a:extLst>
              <a:ext uri="{FF2B5EF4-FFF2-40B4-BE49-F238E27FC236}">
                <a16:creationId xmlns:a16="http://schemas.microsoft.com/office/drawing/2014/main" id="{7F62EF37-FC25-53B5-1228-E6BD4845F712}"/>
              </a:ext>
            </a:extLst>
          </p:cNvPr>
          <p:cNvSpPr>
            <a:spLocks noGrp="1"/>
          </p:cNvSpPr>
          <p:nvPr>
            <p:ph type="body" idx="14" hasCustomPrompt="1"/>
          </p:nvPr>
        </p:nvSpPr>
        <p:spPr>
          <a:xfrm>
            <a:off x="376517" y="1299613"/>
            <a:ext cx="11456894" cy="395288"/>
          </a:xfrm>
        </p:spPr>
        <p:txBody>
          <a:bodyPr>
            <a:noAutofit/>
          </a:bodyPr>
          <a:lstStyle>
            <a:lvl1pPr marL="0" indent="0">
              <a:buNone/>
              <a:defRPr sz="2000">
                <a:solidFill>
                  <a:schemeClr val="bg2"/>
                </a:solidFill>
                <a:latin typeface="Roboto" panose="02000000000000000000" pitchFamily="2" charset="0"/>
                <a:ea typeface="Roboto" panose="02000000000000000000" pitchFamily="2" charset="0"/>
                <a:cs typeface="Roboto" panose="02000000000000000000" pitchFamily="2" charset="0"/>
              </a:defRPr>
            </a:lvl1pPr>
            <a:lvl2pPr marL="457200" indent="0">
              <a:buNone/>
              <a:defRPr sz="2000">
                <a:solidFill>
                  <a:schemeClr val="bg2"/>
                </a:solidFill>
                <a:latin typeface="Roboto" panose="02000000000000000000" pitchFamily="2" charset="0"/>
                <a:ea typeface="Roboto" panose="02000000000000000000" pitchFamily="2" charset="0"/>
                <a:cs typeface="Roboto" panose="02000000000000000000" pitchFamily="2" charset="0"/>
              </a:defRPr>
            </a:lvl2pPr>
            <a:lvl3pPr marL="914400" indent="0">
              <a:buNone/>
              <a:defRPr sz="2000">
                <a:solidFill>
                  <a:schemeClr val="bg2"/>
                </a:solidFill>
                <a:latin typeface="Roboto" panose="02000000000000000000" pitchFamily="2" charset="0"/>
                <a:ea typeface="Roboto" panose="02000000000000000000" pitchFamily="2" charset="0"/>
                <a:cs typeface="Roboto" panose="02000000000000000000" pitchFamily="2" charset="0"/>
              </a:defRPr>
            </a:lvl3pPr>
            <a:lvl4pPr marL="1371600" indent="0">
              <a:buNone/>
              <a:defRPr sz="2000">
                <a:solidFill>
                  <a:schemeClr val="bg2"/>
                </a:solidFill>
                <a:latin typeface="Roboto" panose="02000000000000000000" pitchFamily="2" charset="0"/>
                <a:ea typeface="Roboto" panose="02000000000000000000" pitchFamily="2" charset="0"/>
                <a:cs typeface="Roboto" panose="02000000000000000000" pitchFamily="2" charset="0"/>
              </a:defRPr>
            </a:lvl4pPr>
            <a:lvl5pPr marL="1828800" indent="0">
              <a:buNone/>
              <a:defRPr sz="2000">
                <a:solidFill>
                  <a:schemeClr val="bg2"/>
                </a:solidFill>
                <a:latin typeface="Roboto" panose="02000000000000000000" pitchFamily="2" charset="0"/>
                <a:ea typeface="Roboto" panose="02000000000000000000" pitchFamily="2" charset="0"/>
                <a:cs typeface="Roboto" panose="02000000000000000000" pitchFamily="2" charset="0"/>
              </a:defRPr>
            </a:lvl5pPr>
          </a:lstStyle>
          <a:p>
            <a:pPr lvl="0"/>
            <a:r>
              <a:rPr lang="en-US"/>
              <a:t>Click to edit optional subtitle, otherwise delete</a:t>
            </a:r>
          </a:p>
        </p:txBody>
      </p:sp>
    </p:spTree>
    <p:extLst>
      <p:ext uri="{BB962C8B-B14F-4D97-AF65-F5344CB8AC3E}">
        <p14:creationId xmlns:p14="http://schemas.microsoft.com/office/powerpoint/2010/main" val="38114287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Blank Blue">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5B13AA9-9E5E-BD68-6C60-6A5551B03544}"/>
              </a:ext>
            </a:extLst>
          </p:cNvPr>
          <p:cNvGraphicFramePr>
            <a:graphicFrameLocks noChangeAspect="1"/>
          </p:cNvGraphicFramePr>
          <p:nvPr>
            <p:custDataLst>
              <p:tags r:id="rId1"/>
            </p:custDataLst>
            <p:extLst>
              <p:ext uri="{D42A27DB-BD31-4B8C-83A1-F6EECF244321}">
                <p14:modId xmlns:p14="http://schemas.microsoft.com/office/powerpoint/2010/main" val="25738298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25B13AA9-9E5E-BD68-6C60-6A5551B0354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15983489-700D-1442-AA6D-5979E2CF8C86}"/>
              </a:ext>
            </a:extLst>
          </p:cNvPr>
          <p:cNvSpPr txBox="1">
            <a:spLocks/>
          </p:cNvSpPr>
          <p:nvPr/>
        </p:nvSpPr>
        <p:spPr>
          <a:xfrm>
            <a:off x="376517" y="6356350"/>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b="1" i="0" kern="1200">
                <a:solidFill>
                  <a:schemeClr val="tx1">
                    <a:tint val="75000"/>
                  </a:schemeClr>
                </a:solidFill>
                <a:latin typeface="Metropolis Semi Bold" pitchFamily="2" charset="77"/>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b="1" i="0">
                <a:solidFill>
                  <a:schemeClr val="bg1"/>
                </a:solidFill>
                <a:latin typeface="Metropolis Semi Bold" pitchFamily="2" charset="77"/>
              </a:rPr>
              <a:t>RMI – Energy. Transformed.</a:t>
            </a:r>
          </a:p>
        </p:txBody>
      </p:sp>
    </p:spTree>
    <p:extLst>
      <p:ext uri="{BB962C8B-B14F-4D97-AF65-F5344CB8AC3E}">
        <p14:creationId xmlns:p14="http://schemas.microsoft.com/office/powerpoint/2010/main" val="28185314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097CFD-CE36-9508-60CE-9AB0451069C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11003A1-CDF5-E9D1-E962-96F56E3BA31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C0ED65E-E390-3BB7-827B-9AB426E6BC61}"/>
              </a:ext>
            </a:extLst>
          </p:cNvPr>
          <p:cNvSpPr>
            <a:spLocks noGrp="1"/>
          </p:cNvSpPr>
          <p:nvPr>
            <p:ph type="dt" sz="half" idx="10"/>
          </p:nvPr>
        </p:nvSpPr>
        <p:spPr/>
        <p:txBody>
          <a:bodyPr/>
          <a:lstStyle/>
          <a:p>
            <a:fld id="{F9055362-D439-1F49-BA91-99324A6D634F}" type="datetimeFigureOut">
              <a:rPr lang="en-US" smtClean="0"/>
              <a:t>9/25/23</a:t>
            </a:fld>
            <a:endParaRPr lang="en-US"/>
          </a:p>
        </p:txBody>
      </p:sp>
      <p:sp>
        <p:nvSpPr>
          <p:cNvPr id="5" name="Footer Placeholder 4">
            <a:extLst>
              <a:ext uri="{FF2B5EF4-FFF2-40B4-BE49-F238E27FC236}">
                <a16:creationId xmlns:a16="http://schemas.microsoft.com/office/drawing/2014/main" id="{A7F6FF5A-2159-8EB1-630F-D30E443FC9B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CCBA0BD-AEC6-2E9E-8312-3BBEAA4A4DF6}"/>
              </a:ext>
            </a:extLst>
          </p:cNvPr>
          <p:cNvSpPr>
            <a:spLocks noGrp="1"/>
          </p:cNvSpPr>
          <p:nvPr>
            <p:ph type="sldNum" sz="quarter" idx="12"/>
          </p:nvPr>
        </p:nvSpPr>
        <p:spPr/>
        <p:txBody>
          <a:bodyPr/>
          <a:lstStyle/>
          <a:p>
            <a:fld id="{2093F156-AA41-0442-A294-53A963E71F6C}" type="slidenum">
              <a:rPr lang="en-US" smtClean="0"/>
              <a:t>‹#›</a:t>
            </a:fld>
            <a:endParaRPr lang="en-US"/>
          </a:p>
        </p:txBody>
      </p:sp>
    </p:spTree>
    <p:extLst>
      <p:ext uri="{BB962C8B-B14F-4D97-AF65-F5344CB8AC3E}">
        <p14:creationId xmlns:p14="http://schemas.microsoft.com/office/powerpoint/2010/main" val="25115010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4933F8-3F33-E4ED-9AAE-5DE4F60B8F6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6DA7C1-19BD-6024-71CF-D841863B42F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4263167-EB5B-1240-D485-0906CF102C04}"/>
              </a:ext>
            </a:extLst>
          </p:cNvPr>
          <p:cNvSpPr>
            <a:spLocks noGrp="1"/>
          </p:cNvSpPr>
          <p:nvPr>
            <p:ph type="dt" sz="half" idx="10"/>
          </p:nvPr>
        </p:nvSpPr>
        <p:spPr/>
        <p:txBody>
          <a:bodyPr/>
          <a:lstStyle/>
          <a:p>
            <a:fld id="{F9055362-D439-1F49-BA91-99324A6D634F}" type="datetimeFigureOut">
              <a:rPr lang="en-US" smtClean="0"/>
              <a:t>9/25/23</a:t>
            </a:fld>
            <a:endParaRPr lang="en-US"/>
          </a:p>
        </p:txBody>
      </p:sp>
      <p:sp>
        <p:nvSpPr>
          <p:cNvPr id="5" name="Footer Placeholder 4">
            <a:extLst>
              <a:ext uri="{FF2B5EF4-FFF2-40B4-BE49-F238E27FC236}">
                <a16:creationId xmlns:a16="http://schemas.microsoft.com/office/drawing/2014/main" id="{1DAED153-E522-9D21-BBC8-9F90A7DE40F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E398DAD-C59D-25AF-F21A-A85CD9520589}"/>
              </a:ext>
            </a:extLst>
          </p:cNvPr>
          <p:cNvSpPr>
            <a:spLocks noGrp="1"/>
          </p:cNvSpPr>
          <p:nvPr>
            <p:ph type="sldNum" sz="quarter" idx="12"/>
          </p:nvPr>
        </p:nvSpPr>
        <p:spPr/>
        <p:txBody>
          <a:bodyPr/>
          <a:lstStyle/>
          <a:p>
            <a:fld id="{2093F156-AA41-0442-A294-53A963E71F6C}" type="slidenum">
              <a:rPr lang="en-US" smtClean="0"/>
              <a:t>‹#›</a:t>
            </a:fld>
            <a:endParaRPr lang="en-US"/>
          </a:p>
        </p:txBody>
      </p:sp>
    </p:spTree>
    <p:extLst>
      <p:ext uri="{BB962C8B-B14F-4D97-AF65-F5344CB8AC3E}">
        <p14:creationId xmlns:p14="http://schemas.microsoft.com/office/powerpoint/2010/main" val="42027789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FF53E1-3815-2661-97C3-3162627BF03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6C40F7F-17A0-A145-36CE-5A92C41D0C2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0111E6A-6FB1-41B5-44F2-6F262E1DB13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69791F2-58EB-D3C6-5B55-10BF3E7C794B}"/>
              </a:ext>
            </a:extLst>
          </p:cNvPr>
          <p:cNvSpPr>
            <a:spLocks noGrp="1"/>
          </p:cNvSpPr>
          <p:nvPr>
            <p:ph type="dt" sz="half" idx="10"/>
          </p:nvPr>
        </p:nvSpPr>
        <p:spPr/>
        <p:txBody>
          <a:bodyPr/>
          <a:lstStyle/>
          <a:p>
            <a:fld id="{F9055362-D439-1F49-BA91-99324A6D634F}" type="datetimeFigureOut">
              <a:rPr lang="en-US" smtClean="0"/>
              <a:t>9/25/23</a:t>
            </a:fld>
            <a:endParaRPr lang="en-US"/>
          </a:p>
        </p:txBody>
      </p:sp>
      <p:sp>
        <p:nvSpPr>
          <p:cNvPr id="6" name="Footer Placeholder 5">
            <a:extLst>
              <a:ext uri="{FF2B5EF4-FFF2-40B4-BE49-F238E27FC236}">
                <a16:creationId xmlns:a16="http://schemas.microsoft.com/office/drawing/2014/main" id="{9CA3DDCA-1B06-93E4-949E-05C2865472D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803D1F0-5DEE-7B3D-FEBB-8E211264FFE4}"/>
              </a:ext>
            </a:extLst>
          </p:cNvPr>
          <p:cNvSpPr>
            <a:spLocks noGrp="1"/>
          </p:cNvSpPr>
          <p:nvPr>
            <p:ph type="sldNum" sz="quarter" idx="12"/>
          </p:nvPr>
        </p:nvSpPr>
        <p:spPr/>
        <p:txBody>
          <a:bodyPr/>
          <a:lstStyle/>
          <a:p>
            <a:fld id="{2093F156-AA41-0442-A294-53A963E71F6C}" type="slidenum">
              <a:rPr lang="en-US" smtClean="0"/>
              <a:t>‹#›</a:t>
            </a:fld>
            <a:endParaRPr lang="en-US"/>
          </a:p>
        </p:txBody>
      </p:sp>
    </p:spTree>
    <p:extLst>
      <p:ext uri="{BB962C8B-B14F-4D97-AF65-F5344CB8AC3E}">
        <p14:creationId xmlns:p14="http://schemas.microsoft.com/office/powerpoint/2010/main" val="1091434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26EAF-26C2-B4D2-E30E-A0F31238CF8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50D5C14-0FF8-020C-8B31-52CDFFB79BB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D39D77A-011E-D011-06BC-2313E76EBAF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34D215C-8C8B-5A83-4234-8CA487A8C28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30B9929-B489-0918-B1DD-9B3BF96B524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9C0BF5F-462A-2FA1-C760-92CB68B2F7A7}"/>
              </a:ext>
            </a:extLst>
          </p:cNvPr>
          <p:cNvSpPr>
            <a:spLocks noGrp="1"/>
          </p:cNvSpPr>
          <p:nvPr>
            <p:ph type="dt" sz="half" idx="10"/>
          </p:nvPr>
        </p:nvSpPr>
        <p:spPr/>
        <p:txBody>
          <a:bodyPr/>
          <a:lstStyle/>
          <a:p>
            <a:fld id="{F9055362-D439-1F49-BA91-99324A6D634F}" type="datetimeFigureOut">
              <a:rPr lang="en-US" smtClean="0"/>
              <a:t>9/25/23</a:t>
            </a:fld>
            <a:endParaRPr lang="en-US"/>
          </a:p>
        </p:txBody>
      </p:sp>
      <p:sp>
        <p:nvSpPr>
          <p:cNvPr id="8" name="Footer Placeholder 7">
            <a:extLst>
              <a:ext uri="{FF2B5EF4-FFF2-40B4-BE49-F238E27FC236}">
                <a16:creationId xmlns:a16="http://schemas.microsoft.com/office/drawing/2014/main" id="{37AE1A2C-1846-5AC8-579C-7556626BC84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251EAD5-3175-9230-125B-4FC26BCD1BED}"/>
              </a:ext>
            </a:extLst>
          </p:cNvPr>
          <p:cNvSpPr>
            <a:spLocks noGrp="1"/>
          </p:cNvSpPr>
          <p:nvPr>
            <p:ph type="sldNum" sz="quarter" idx="12"/>
          </p:nvPr>
        </p:nvSpPr>
        <p:spPr/>
        <p:txBody>
          <a:bodyPr/>
          <a:lstStyle/>
          <a:p>
            <a:fld id="{2093F156-AA41-0442-A294-53A963E71F6C}" type="slidenum">
              <a:rPr lang="en-US" smtClean="0"/>
              <a:t>‹#›</a:t>
            </a:fld>
            <a:endParaRPr lang="en-US"/>
          </a:p>
        </p:txBody>
      </p:sp>
    </p:spTree>
    <p:extLst>
      <p:ext uri="{BB962C8B-B14F-4D97-AF65-F5344CB8AC3E}">
        <p14:creationId xmlns:p14="http://schemas.microsoft.com/office/powerpoint/2010/main" val="12064014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A6C13A-6E4D-F253-00D3-552C2BD5F12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A839C51-6B43-EBBD-8FEE-C485F8A5A5DD}"/>
              </a:ext>
            </a:extLst>
          </p:cNvPr>
          <p:cNvSpPr>
            <a:spLocks noGrp="1"/>
          </p:cNvSpPr>
          <p:nvPr>
            <p:ph type="dt" sz="half" idx="10"/>
          </p:nvPr>
        </p:nvSpPr>
        <p:spPr/>
        <p:txBody>
          <a:bodyPr/>
          <a:lstStyle/>
          <a:p>
            <a:fld id="{F9055362-D439-1F49-BA91-99324A6D634F}" type="datetimeFigureOut">
              <a:rPr lang="en-US" smtClean="0"/>
              <a:t>9/25/23</a:t>
            </a:fld>
            <a:endParaRPr lang="en-US"/>
          </a:p>
        </p:txBody>
      </p:sp>
      <p:sp>
        <p:nvSpPr>
          <p:cNvPr id="4" name="Footer Placeholder 3">
            <a:extLst>
              <a:ext uri="{FF2B5EF4-FFF2-40B4-BE49-F238E27FC236}">
                <a16:creationId xmlns:a16="http://schemas.microsoft.com/office/drawing/2014/main" id="{DAD31BD8-B472-A267-0289-6133B97CE2F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B96330A-CE2F-C200-8E0E-2B703F257DB0}"/>
              </a:ext>
            </a:extLst>
          </p:cNvPr>
          <p:cNvSpPr>
            <a:spLocks noGrp="1"/>
          </p:cNvSpPr>
          <p:nvPr>
            <p:ph type="sldNum" sz="quarter" idx="12"/>
          </p:nvPr>
        </p:nvSpPr>
        <p:spPr/>
        <p:txBody>
          <a:bodyPr/>
          <a:lstStyle/>
          <a:p>
            <a:fld id="{2093F156-AA41-0442-A294-53A963E71F6C}" type="slidenum">
              <a:rPr lang="en-US" smtClean="0"/>
              <a:t>‹#›</a:t>
            </a:fld>
            <a:endParaRPr lang="en-US"/>
          </a:p>
        </p:txBody>
      </p:sp>
    </p:spTree>
    <p:extLst>
      <p:ext uri="{BB962C8B-B14F-4D97-AF65-F5344CB8AC3E}">
        <p14:creationId xmlns:p14="http://schemas.microsoft.com/office/powerpoint/2010/main" val="25100817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743DC30-45B4-C5B1-4AC6-0A4E3E07038B}"/>
              </a:ext>
            </a:extLst>
          </p:cNvPr>
          <p:cNvSpPr>
            <a:spLocks noGrp="1"/>
          </p:cNvSpPr>
          <p:nvPr>
            <p:ph type="dt" sz="half" idx="10"/>
          </p:nvPr>
        </p:nvSpPr>
        <p:spPr/>
        <p:txBody>
          <a:bodyPr/>
          <a:lstStyle/>
          <a:p>
            <a:fld id="{F9055362-D439-1F49-BA91-99324A6D634F}" type="datetimeFigureOut">
              <a:rPr lang="en-US" smtClean="0"/>
              <a:t>9/25/23</a:t>
            </a:fld>
            <a:endParaRPr lang="en-US"/>
          </a:p>
        </p:txBody>
      </p:sp>
      <p:sp>
        <p:nvSpPr>
          <p:cNvPr id="3" name="Footer Placeholder 2">
            <a:extLst>
              <a:ext uri="{FF2B5EF4-FFF2-40B4-BE49-F238E27FC236}">
                <a16:creationId xmlns:a16="http://schemas.microsoft.com/office/drawing/2014/main" id="{00D47D96-023D-B34B-1F08-2336F3A6EA6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11BED43-F39E-D5C6-5F92-FCD362610542}"/>
              </a:ext>
            </a:extLst>
          </p:cNvPr>
          <p:cNvSpPr>
            <a:spLocks noGrp="1"/>
          </p:cNvSpPr>
          <p:nvPr>
            <p:ph type="sldNum" sz="quarter" idx="12"/>
          </p:nvPr>
        </p:nvSpPr>
        <p:spPr/>
        <p:txBody>
          <a:bodyPr/>
          <a:lstStyle/>
          <a:p>
            <a:fld id="{2093F156-AA41-0442-A294-53A963E71F6C}" type="slidenum">
              <a:rPr lang="en-US" smtClean="0"/>
              <a:t>‹#›</a:t>
            </a:fld>
            <a:endParaRPr lang="en-US"/>
          </a:p>
        </p:txBody>
      </p:sp>
    </p:spTree>
    <p:extLst>
      <p:ext uri="{BB962C8B-B14F-4D97-AF65-F5344CB8AC3E}">
        <p14:creationId xmlns:p14="http://schemas.microsoft.com/office/powerpoint/2010/main" val="17741261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5635D6-CAC5-50CA-BF9C-FF75F4175EC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B98862F-AC09-640C-BE6A-2CDF1F48E6C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1EC2B30-CC5B-88CF-BC0D-156FCEA75F0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4B5EABF-3340-6C86-2D42-78F9FD4FE85D}"/>
              </a:ext>
            </a:extLst>
          </p:cNvPr>
          <p:cNvSpPr>
            <a:spLocks noGrp="1"/>
          </p:cNvSpPr>
          <p:nvPr>
            <p:ph type="dt" sz="half" idx="10"/>
          </p:nvPr>
        </p:nvSpPr>
        <p:spPr/>
        <p:txBody>
          <a:bodyPr/>
          <a:lstStyle/>
          <a:p>
            <a:fld id="{F9055362-D439-1F49-BA91-99324A6D634F}" type="datetimeFigureOut">
              <a:rPr lang="en-US" smtClean="0"/>
              <a:t>9/25/23</a:t>
            </a:fld>
            <a:endParaRPr lang="en-US"/>
          </a:p>
        </p:txBody>
      </p:sp>
      <p:sp>
        <p:nvSpPr>
          <p:cNvPr id="6" name="Footer Placeholder 5">
            <a:extLst>
              <a:ext uri="{FF2B5EF4-FFF2-40B4-BE49-F238E27FC236}">
                <a16:creationId xmlns:a16="http://schemas.microsoft.com/office/drawing/2014/main" id="{56091BD3-C393-694D-9CA3-639BBD50982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644BC5F-FB3E-F845-9FFF-59F0EFBBE582}"/>
              </a:ext>
            </a:extLst>
          </p:cNvPr>
          <p:cNvSpPr>
            <a:spLocks noGrp="1"/>
          </p:cNvSpPr>
          <p:nvPr>
            <p:ph type="sldNum" sz="quarter" idx="12"/>
          </p:nvPr>
        </p:nvSpPr>
        <p:spPr/>
        <p:txBody>
          <a:bodyPr/>
          <a:lstStyle/>
          <a:p>
            <a:fld id="{2093F156-AA41-0442-A294-53A963E71F6C}" type="slidenum">
              <a:rPr lang="en-US" smtClean="0"/>
              <a:t>‹#›</a:t>
            </a:fld>
            <a:endParaRPr lang="en-US"/>
          </a:p>
        </p:txBody>
      </p:sp>
    </p:spTree>
    <p:extLst>
      <p:ext uri="{BB962C8B-B14F-4D97-AF65-F5344CB8AC3E}">
        <p14:creationId xmlns:p14="http://schemas.microsoft.com/office/powerpoint/2010/main" val="2223288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AE88AC-60DE-E688-E167-E2491F0D7B2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5891ABE-39D5-CA7C-8EFB-D67D1E1EC65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597645C-10B1-D3C8-B1B9-E2F243F39C9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DFB8448-B5DA-A5CE-03D8-DE7480B0B374}"/>
              </a:ext>
            </a:extLst>
          </p:cNvPr>
          <p:cNvSpPr>
            <a:spLocks noGrp="1"/>
          </p:cNvSpPr>
          <p:nvPr>
            <p:ph type="dt" sz="half" idx="10"/>
          </p:nvPr>
        </p:nvSpPr>
        <p:spPr/>
        <p:txBody>
          <a:bodyPr/>
          <a:lstStyle/>
          <a:p>
            <a:fld id="{F9055362-D439-1F49-BA91-99324A6D634F}" type="datetimeFigureOut">
              <a:rPr lang="en-US" smtClean="0"/>
              <a:t>9/25/23</a:t>
            </a:fld>
            <a:endParaRPr lang="en-US"/>
          </a:p>
        </p:txBody>
      </p:sp>
      <p:sp>
        <p:nvSpPr>
          <p:cNvPr id="6" name="Footer Placeholder 5">
            <a:extLst>
              <a:ext uri="{FF2B5EF4-FFF2-40B4-BE49-F238E27FC236}">
                <a16:creationId xmlns:a16="http://schemas.microsoft.com/office/drawing/2014/main" id="{B039D529-CD8A-81EE-5919-B223976BE7C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4F46FE6-A85C-A519-79BB-FEBE207805DC}"/>
              </a:ext>
            </a:extLst>
          </p:cNvPr>
          <p:cNvSpPr>
            <a:spLocks noGrp="1"/>
          </p:cNvSpPr>
          <p:nvPr>
            <p:ph type="sldNum" sz="quarter" idx="12"/>
          </p:nvPr>
        </p:nvSpPr>
        <p:spPr/>
        <p:txBody>
          <a:bodyPr/>
          <a:lstStyle/>
          <a:p>
            <a:fld id="{2093F156-AA41-0442-A294-53A963E71F6C}" type="slidenum">
              <a:rPr lang="en-US" smtClean="0"/>
              <a:t>‹#›</a:t>
            </a:fld>
            <a:endParaRPr lang="en-US"/>
          </a:p>
        </p:txBody>
      </p:sp>
    </p:spTree>
    <p:extLst>
      <p:ext uri="{BB962C8B-B14F-4D97-AF65-F5344CB8AC3E}">
        <p14:creationId xmlns:p14="http://schemas.microsoft.com/office/powerpoint/2010/main" val="29504516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040BD92-E816-8C59-15B2-8184F2C4D4F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4A61914-73AD-3A0D-19E2-2948D1548CD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DFC57C-0944-4E5F-AB61-ECB8D2E470C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9055362-D439-1F49-BA91-99324A6D634F}" type="datetimeFigureOut">
              <a:rPr lang="en-US" smtClean="0"/>
              <a:t>9/25/23</a:t>
            </a:fld>
            <a:endParaRPr lang="en-US"/>
          </a:p>
        </p:txBody>
      </p:sp>
      <p:sp>
        <p:nvSpPr>
          <p:cNvPr id="5" name="Footer Placeholder 4">
            <a:extLst>
              <a:ext uri="{FF2B5EF4-FFF2-40B4-BE49-F238E27FC236}">
                <a16:creationId xmlns:a16="http://schemas.microsoft.com/office/drawing/2014/main" id="{F18610AD-CE6C-ACBF-108B-40E78E0B52F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B4BF5EB-FD35-9E5A-4CF5-C42B4272A0D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093F156-AA41-0442-A294-53A963E71F6C}" type="slidenum">
              <a:rPr lang="en-US" smtClean="0"/>
              <a:t>‹#›</a:t>
            </a:fld>
            <a:endParaRPr lang="en-US"/>
          </a:p>
        </p:txBody>
      </p:sp>
    </p:spTree>
    <p:extLst>
      <p:ext uri="{BB962C8B-B14F-4D97-AF65-F5344CB8AC3E}">
        <p14:creationId xmlns:p14="http://schemas.microsoft.com/office/powerpoint/2010/main" val="16848238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xml"/><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25.png"/></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3.xml"/><Relationship Id="rId5" Type="http://schemas.openxmlformats.org/officeDocument/2006/relationships/image" Target="../media/image24.png"/><Relationship Id="rId4" Type="http://schemas.openxmlformats.org/officeDocument/2006/relationships/image" Target="../media/image28.emf"/></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3.xml"/><Relationship Id="rId5" Type="http://schemas.openxmlformats.org/officeDocument/2006/relationships/image" Target="../media/image24.png"/><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3" Type="http://schemas.openxmlformats.org/officeDocument/2006/relationships/image" Target="../media/image30.tiff"/><Relationship Id="rId7" Type="http://schemas.openxmlformats.org/officeDocument/2006/relationships/image" Target="../media/image24.png"/><Relationship Id="rId2" Type="http://schemas.openxmlformats.org/officeDocument/2006/relationships/image" Target="../media/image29.png"/><Relationship Id="rId1" Type="http://schemas.openxmlformats.org/officeDocument/2006/relationships/slideLayout" Target="../slideLayouts/slideLayout13.xml"/><Relationship Id="rId6" Type="http://schemas.openxmlformats.org/officeDocument/2006/relationships/image" Target="../media/image33.png"/><Relationship Id="rId5" Type="http://schemas.openxmlformats.org/officeDocument/2006/relationships/image" Target="../media/image32.tiff"/><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image" Target="../media/image30.tiff"/><Relationship Id="rId2" Type="http://schemas.openxmlformats.org/officeDocument/2006/relationships/image" Target="../media/image24.png"/><Relationship Id="rId1" Type="http://schemas.openxmlformats.org/officeDocument/2006/relationships/slideLayout" Target="../slideLayouts/slideLayout13.xml"/><Relationship Id="rId5" Type="http://schemas.openxmlformats.org/officeDocument/2006/relationships/image" Target="../media/image34.png"/><Relationship Id="rId4" Type="http://schemas.openxmlformats.org/officeDocument/2006/relationships/image" Target="../media/image25.png"/></Relationships>
</file>

<file path=ppt/slides/_rels/slide17.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hyperlink" Target="https://climatemonitoring.info/ecvinventory/" TargetMode="External"/><Relationship Id="rId7"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14.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hyperlink" Target="https://ceos.org/news/ghg-roadmap/" TargetMode="External"/><Relationship Id="rId9" Type="http://schemas.openxmlformats.org/officeDocument/2006/relationships/image" Target="../media/image39.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40.png"/><Relationship Id="rId7" Type="http://schemas.openxmlformats.org/officeDocument/2006/relationships/customXml" Target="../ink/ink1.xml"/><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2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9.xml"/><Relationship Id="rId1" Type="http://schemas.openxmlformats.org/officeDocument/2006/relationships/slideLayout" Target="../slideLayouts/slideLayout14.xml"/><Relationship Id="rId5" Type="http://schemas.openxmlformats.org/officeDocument/2006/relationships/image" Target="../media/image47.jpeg"/><Relationship Id="rId4" Type="http://schemas.openxmlformats.org/officeDocument/2006/relationships/image" Target="../media/image46.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50.png"/></Relationships>
</file>

<file path=ppt/slides/_rels/slide25.xml.rels><?xml version="1.0" encoding="UTF-8" standalone="yes"?>
<Relationships xmlns="http://schemas.openxmlformats.org/package/2006/relationships"><Relationship Id="rId8" Type="http://schemas.openxmlformats.org/officeDocument/2006/relationships/image" Target="../media/image56.svg"/><Relationship Id="rId13" Type="http://schemas.openxmlformats.org/officeDocument/2006/relationships/image" Target="../media/image61.png"/><Relationship Id="rId3" Type="http://schemas.openxmlformats.org/officeDocument/2006/relationships/image" Target="../media/image51.png"/><Relationship Id="rId7" Type="http://schemas.openxmlformats.org/officeDocument/2006/relationships/image" Target="../media/image55.png"/><Relationship Id="rId12" Type="http://schemas.openxmlformats.org/officeDocument/2006/relationships/image" Target="../media/image60.svg"/><Relationship Id="rId17" Type="http://schemas.openxmlformats.org/officeDocument/2006/relationships/image" Target="../media/image49.png"/><Relationship Id="rId2" Type="http://schemas.openxmlformats.org/officeDocument/2006/relationships/notesSlide" Target="../notesSlides/notesSlide11.xml"/><Relationship Id="rId16" Type="http://schemas.openxmlformats.org/officeDocument/2006/relationships/image" Target="../media/image64.svg"/><Relationship Id="rId1" Type="http://schemas.openxmlformats.org/officeDocument/2006/relationships/slideLayout" Target="../slideLayouts/slideLayout2.xml"/><Relationship Id="rId6" Type="http://schemas.openxmlformats.org/officeDocument/2006/relationships/image" Target="../media/image54.svg"/><Relationship Id="rId11" Type="http://schemas.openxmlformats.org/officeDocument/2006/relationships/image" Target="../media/image59.png"/><Relationship Id="rId5" Type="http://schemas.openxmlformats.org/officeDocument/2006/relationships/image" Target="../media/image53.png"/><Relationship Id="rId15" Type="http://schemas.openxmlformats.org/officeDocument/2006/relationships/image" Target="../media/image63.png"/><Relationship Id="rId10" Type="http://schemas.openxmlformats.org/officeDocument/2006/relationships/image" Target="../media/image58.svg"/><Relationship Id="rId4" Type="http://schemas.openxmlformats.org/officeDocument/2006/relationships/image" Target="../media/image52.svg"/><Relationship Id="rId9" Type="http://schemas.openxmlformats.org/officeDocument/2006/relationships/image" Target="../media/image57.png"/><Relationship Id="rId14" Type="http://schemas.openxmlformats.org/officeDocument/2006/relationships/image" Target="../media/image62.sv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65.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6.emf"/><Relationship Id="rId1" Type="http://schemas.openxmlformats.org/officeDocument/2006/relationships/slideLayout" Target="../slideLayouts/slideLayout1.xml"/><Relationship Id="rId4" Type="http://schemas.openxmlformats.org/officeDocument/2006/relationships/image" Target="../media/image68.png"/></Relationships>
</file>

<file path=ppt/slides/_rels/slide29.xml.rels><?xml version="1.0" encoding="UTF-8" standalone="yes"?>
<Relationships xmlns="http://schemas.openxmlformats.org/package/2006/relationships"><Relationship Id="rId2" Type="http://schemas.openxmlformats.org/officeDocument/2006/relationships/image" Target="../media/image69.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30.xml.rels><?xml version="1.0" encoding="UTF-8" standalone="yes"?>
<Relationships xmlns="http://schemas.openxmlformats.org/package/2006/relationships"><Relationship Id="rId3" Type="http://schemas.openxmlformats.org/officeDocument/2006/relationships/hyperlink" Target="https://doi.org/10.5194/acp-21-6605-2021" TargetMode="External"/><Relationship Id="rId2" Type="http://schemas.openxmlformats.org/officeDocument/2006/relationships/image" Target="../media/image70.png"/><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8" Type="http://schemas.openxmlformats.org/officeDocument/2006/relationships/image" Target="../media/image77.svg"/><Relationship Id="rId13" Type="http://schemas.openxmlformats.org/officeDocument/2006/relationships/image" Target="../media/image82.png"/><Relationship Id="rId3" Type="http://schemas.openxmlformats.org/officeDocument/2006/relationships/image" Target="../media/image72.png"/><Relationship Id="rId7" Type="http://schemas.openxmlformats.org/officeDocument/2006/relationships/image" Target="../media/image76.png"/><Relationship Id="rId12" Type="http://schemas.openxmlformats.org/officeDocument/2006/relationships/image" Target="../media/image81.sv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75.svg"/><Relationship Id="rId11" Type="http://schemas.openxmlformats.org/officeDocument/2006/relationships/image" Target="../media/image80.png"/><Relationship Id="rId5" Type="http://schemas.openxmlformats.org/officeDocument/2006/relationships/image" Target="../media/image74.png"/><Relationship Id="rId15" Type="http://schemas.openxmlformats.org/officeDocument/2006/relationships/image" Target="../media/image49.png"/><Relationship Id="rId10" Type="http://schemas.openxmlformats.org/officeDocument/2006/relationships/image" Target="../media/image79.svg"/><Relationship Id="rId4" Type="http://schemas.openxmlformats.org/officeDocument/2006/relationships/image" Target="../media/image73.svg"/><Relationship Id="rId9" Type="http://schemas.openxmlformats.org/officeDocument/2006/relationships/image" Target="../media/image78.png"/><Relationship Id="rId14" Type="http://schemas.openxmlformats.org/officeDocument/2006/relationships/image" Target="../media/image83.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15.xml"/><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6.xml"/><Relationship Id="rId5" Type="http://schemas.openxmlformats.org/officeDocument/2006/relationships/image" Target="../media/image21.png"/><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xml"/><Relationship Id="rId1" Type="http://schemas.openxmlformats.org/officeDocument/2006/relationships/slideLayout" Target="../slideLayouts/slideLayout16.xml"/><Relationship Id="rId4" Type="http://schemas.openxmlformats.org/officeDocument/2006/relationships/image" Target="../media/image23.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map of the earth&#10;&#10;Description automatically generated">
            <a:extLst>
              <a:ext uri="{FF2B5EF4-FFF2-40B4-BE49-F238E27FC236}">
                <a16:creationId xmlns:a16="http://schemas.microsoft.com/office/drawing/2014/main" id="{03E7E281-6FCB-1FE1-6388-4CA1DFF32AB1}"/>
              </a:ext>
            </a:extLst>
          </p:cNvPr>
          <p:cNvPicPr>
            <a:picLocks noChangeAspect="1"/>
          </p:cNvPicPr>
          <p:nvPr/>
        </p:nvPicPr>
        <p:blipFill rotWithShape="1">
          <a:blip r:embed="rId2">
            <a:alphaModFix amt="85000"/>
          </a:blip>
          <a:srcRect b="13414"/>
          <a:stretch/>
        </p:blipFill>
        <p:spPr>
          <a:xfrm>
            <a:off x="0" y="1615903"/>
            <a:ext cx="12192000" cy="5242097"/>
          </a:xfrm>
          <a:prstGeom prst="rect">
            <a:avLst/>
          </a:prstGeom>
        </p:spPr>
      </p:pic>
      <p:sp>
        <p:nvSpPr>
          <p:cNvPr id="3" name="Subtitle 2">
            <a:extLst>
              <a:ext uri="{FF2B5EF4-FFF2-40B4-BE49-F238E27FC236}">
                <a16:creationId xmlns:a16="http://schemas.microsoft.com/office/drawing/2014/main" id="{A1102B64-04C6-5362-9A31-D4462C6159C6}"/>
              </a:ext>
            </a:extLst>
          </p:cNvPr>
          <p:cNvSpPr>
            <a:spLocks noGrp="1"/>
          </p:cNvSpPr>
          <p:nvPr>
            <p:ph type="subTitle" idx="1"/>
          </p:nvPr>
        </p:nvSpPr>
        <p:spPr>
          <a:xfrm>
            <a:off x="0" y="4935415"/>
            <a:ext cx="10668000" cy="1629674"/>
          </a:xfrm>
        </p:spPr>
        <p:txBody>
          <a:bodyPr>
            <a:noAutofit/>
          </a:bodyPr>
          <a:lstStyle/>
          <a:p>
            <a:pPr algn="l"/>
            <a:r>
              <a:rPr lang="en-US" sz="4400" b="1" i="0" u="none" strike="noStrike" dirty="0">
                <a:solidFill>
                  <a:schemeClr val="bg1"/>
                </a:solidFill>
                <a:effectLst/>
                <a:latin typeface="Lucida Grande" panose="020B0600040502020204" pitchFamily="34" charset="0"/>
              </a:rPr>
              <a:t>Updates and Panel Discussion on International Assessments &amp; Efforts on Carbon</a:t>
            </a:r>
          </a:p>
        </p:txBody>
      </p:sp>
      <p:sp>
        <p:nvSpPr>
          <p:cNvPr id="4" name="AutoShape 2" descr="CMS 2023 Science Team Meeting Banner">
            <a:extLst>
              <a:ext uri="{FF2B5EF4-FFF2-40B4-BE49-F238E27FC236}">
                <a16:creationId xmlns:a16="http://schemas.microsoft.com/office/drawing/2014/main" id="{D2C4D304-192D-4AB7-1F56-2E755D344198}"/>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8" name="Picture 7" descr="A blue and white logo&#10;&#10;Description automatically generated">
            <a:extLst>
              <a:ext uri="{FF2B5EF4-FFF2-40B4-BE49-F238E27FC236}">
                <a16:creationId xmlns:a16="http://schemas.microsoft.com/office/drawing/2014/main" id="{2BF678AD-4052-4D26-F8B3-1DB6A74F830A}"/>
              </a:ext>
            </a:extLst>
          </p:cNvPr>
          <p:cNvPicPr>
            <a:picLocks noChangeAspect="1"/>
          </p:cNvPicPr>
          <p:nvPr/>
        </p:nvPicPr>
        <p:blipFill>
          <a:blip r:embed="rId3"/>
          <a:stretch>
            <a:fillRect/>
          </a:stretch>
        </p:blipFill>
        <p:spPr>
          <a:xfrm>
            <a:off x="0" y="0"/>
            <a:ext cx="12192000" cy="1629674"/>
          </a:xfrm>
          <a:prstGeom prst="rect">
            <a:avLst/>
          </a:prstGeom>
        </p:spPr>
      </p:pic>
      <p:pic>
        <p:nvPicPr>
          <p:cNvPr id="10" name="Picture 9">
            <a:extLst>
              <a:ext uri="{FF2B5EF4-FFF2-40B4-BE49-F238E27FC236}">
                <a16:creationId xmlns:a16="http://schemas.microsoft.com/office/drawing/2014/main" id="{BA1AD200-BCB4-6A2A-208D-F9E16D74805B}"/>
              </a:ext>
            </a:extLst>
          </p:cNvPr>
          <p:cNvPicPr>
            <a:picLocks noChangeAspect="1"/>
          </p:cNvPicPr>
          <p:nvPr/>
        </p:nvPicPr>
        <p:blipFill>
          <a:blip r:embed="rId4"/>
          <a:stretch>
            <a:fillRect/>
          </a:stretch>
        </p:blipFill>
        <p:spPr>
          <a:xfrm>
            <a:off x="9436100" y="1308100"/>
            <a:ext cx="2755900" cy="292100"/>
          </a:xfrm>
          <a:prstGeom prst="rect">
            <a:avLst/>
          </a:prstGeom>
        </p:spPr>
      </p:pic>
    </p:spTree>
    <p:extLst>
      <p:ext uri="{BB962C8B-B14F-4D97-AF65-F5344CB8AC3E}">
        <p14:creationId xmlns:p14="http://schemas.microsoft.com/office/powerpoint/2010/main" val="26068505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3">
            <a:extLst>
              <a:ext uri="{FF2B5EF4-FFF2-40B4-BE49-F238E27FC236}">
                <a16:creationId xmlns:a16="http://schemas.microsoft.com/office/drawing/2014/main" id="{FCB40E78-42E0-34E6-3A5D-2FA33551C073}"/>
              </a:ext>
            </a:extLst>
          </p:cNvPr>
          <p:cNvGraphicFramePr>
            <a:graphicFrameLocks noGrp="1"/>
          </p:cNvGraphicFramePr>
          <p:nvPr/>
        </p:nvGraphicFramePr>
        <p:xfrm>
          <a:off x="376518" y="1909445"/>
          <a:ext cx="11465858" cy="4633893"/>
        </p:xfrm>
        <a:graphic>
          <a:graphicData uri="http://schemas.openxmlformats.org/drawingml/2006/table">
            <a:tbl>
              <a:tblPr firstRow="1" bandRow="1">
                <a:tableStyleId>{5C22544A-7EE6-4342-B048-85BDC9FD1C3A}</a:tableStyleId>
              </a:tblPr>
              <a:tblGrid>
                <a:gridCol w="5220082">
                  <a:extLst>
                    <a:ext uri="{9D8B030D-6E8A-4147-A177-3AD203B41FA5}">
                      <a16:colId xmlns:a16="http://schemas.microsoft.com/office/drawing/2014/main" val="1721577480"/>
                    </a:ext>
                  </a:extLst>
                </a:gridCol>
                <a:gridCol w="707993">
                  <a:extLst>
                    <a:ext uri="{9D8B030D-6E8A-4147-A177-3AD203B41FA5}">
                      <a16:colId xmlns:a16="http://schemas.microsoft.com/office/drawing/2014/main" val="609391521"/>
                    </a:ext>
                  </a:extLst>
                </a:gridCol>
                <a:gridCol w="5537783">
                  <a:extLst>
                    <a:ext uri="{9D8B030D-6E8A-4147-A177-3AD203B41FA5}">
                      <a16:colId xmlns:a16="http://schemas.microsoft.com/office/drawing/2014/main" val="2007582585"/>
                    </a:ext>
                  </a:extLst>
                </a:gridCol>
              </a:tblGrid>
              <a:tr h="13817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500" b="1">
                          <a:ln>
                            <a:solidFill>
                              <a:schemeClr val="bg1"/>
                            </a:solidFill>
                          </a:ln>
                          <a:solidFill>
                            <a:schemeClr val="bg1"/>
                          </a:solidFill>
                          <a:latin typeface="Roboto" panose="02000000000000000000" pitchFamily="2" charset="0"/>
                          <a:ea typeface="Roboto" panose="02000000000000000000" pitchFamily="2" charset="0"/>
                          <a:cs typeface="Arial" charset="0"/>
                        </a:rPr>
                        <a:t>Detection technology and quantification</a:t>
                      </a:r>
                    </a:p>
                  </a:txBody>
                  <a:tcPr marT="91440" marB="91440"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indent="-285750">
                        <a:buFont typeface="Arial" panose="020B0604020202020204" pitchFamily="34" charset="0"/>
                        <a:buChar char="•"/>
                      </a:pPr>
                      <a:endParaRPr lang="en-US" sz="1800">
                        <a:ln>
                          <a:solidFill>
                            <a:schemeClr val="bg1"/>
                          </a:solidFill>
                        </a:ln>
                        <a:solidFill>
                          <a:schemeClr val="bg1"/>
                        </a:solidFill>
                        <a:latin typeface="Roboto" panose="02000000000000000000" pitchFamily="2" charset="0"/>
                        <a:ea typeface="Roboto" panose="02000000000000000000" pitchFamily="2" charset="0"/>
                      </a:endParaRPr>
                    </a:p>
                  </a:txBody>
                  <a:tcPr marT="91440" marB="91440">
                    <a:lnT w="381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indent="-285750" rtl="0" fontAlgn="base">
                        <a:buFont typeface="Arial" panose="020B0604020202020204" pitchFamily="34" charset="0"/>
                        <a:buChar char="•"/>
                      </a:pPr>
                      <a:r>
                        <a:rPr lang="en-US" sz="1800" b="0" i="0" u="none" strike="noStrike" kern="1200" dirty="0">
                          <a:ln>
                            <a:solidFill>
                              <a:schemeClr val="bg1"/>
                            </a:solidFill>
                          </a:ln>
                          <a:solidFill>
                            <a:schemeClr val="bg1"/>
                          </a:solidFill>
                          <a:effectLst/>
                          <a:latin typeface="+mn-lt"/>
                          <a:ea typeface="+mn-ea"/>
                          <a:cs typeface="+mn-cs"/>
                        </a:rPr>
                        <a:t>Satellites, aerial campaigns, and sensors can better measure and monitor leaks.</a:t>
                      </a:r>
                      <a:r>
                        <a:rPr lang="en-US" sz="1800" b="0" i="0" kern="1200" dirty="0">
                          <a:ln>
                            <a:solidFill>
                              <a:schemeClr val="bg1"/>
                            </a:solidFill>
                          </a:ln>
                          <a:solidFill>
                            <a:schemeClr val="bg1"/>
                          </a:solidFill>
                          <a:effectLst/>
                          <a:latin typeface="+mn-lt"/>
                          <a:ea typeface="+mn-ea"/>
                          <a:cs typeface="+mn-cs"/>
                        </a:rPr>
                        <a:t>​</a:t>
                      </a:r>
                    </a:p>
                    <a:p>
                      <a:pPr marL="285750" indent="-285750" rtl="0" fontAlgn="base">
                        <a:buFont typeface="Arial" panose="020B0604020202020204" pitchFamily="34" charset="0"/>
                        <a:buChar char="•"/>
                      </a:pPr>
                      <a:r>
                        <a:rPr lang="en-US" sz="1800" b="0" i="0" u="none" strike="noStrike" kern="1200">
                          <a:ln>
                            <a:solidFill>
                              <a:schemeClr val="bg1"/>
                            </a:solidFill>
                          </a:ln>
                          <a:solidFill>
                            <a:schemeClr val="bg1"/>
                          </a:solidFill>
                          <a:effectLst/>
                          <a:latin typeface="+mn-lt"/>
                          <a:ea typeface="+mn-ea"/>
                          <a:cs typeface="+mn-cs"/>
                        </a:rPr>
                        <a:t>Integrate top-down </a:t>
                      </a:r>
                      <a:r>
                        <a:rPr lang="en-US" sz="1800" b="0" i="0" u="none" strike="noStrike" kern="1200" dirty="0">
                          <a:ln>
                            <a:solidFill>
                              <a:schemeClr val="bg1"/>
                            </a:solidFill>
                          </a:ln>
                          <a:solidFill>
                            <a:schemeClr val="bg1"/>
                          </a:solidFill>
                          <a:effectLst/>
                          <a:latin typeface="+mn-lt"/>
                          <a:ea typeface="+mn-ea"/>
                          <a:cs typeface="+mn-cs"/>
                        </a:rPr>
                        <a:t>point source super-emitters into bottom-up models fully account for methane.</a:t>
                      </a:r>
                      <a:endParaRPr lang="en-US" sz="1800" b="0" i="0" kern="1200" dirty="0">
                        <a:ln>
                          <a:solidFill>
                            <a:schemeClr val="bg1"/>
                          </a:solidFill>
                        </a:ln>
                        <a:solidFill>
                          <a:schemeClr val="bg1"/>
                        </a:solidFill>
                        <a:effectLst/>
                        <a:latin typeface="+mn-lt"/>
                        <a:ea typeface="+mn-ea"/>
                        <a:cs typeface="+mn-cs"/>
                      </a:endParaRPr>
                    </a:p>
                  </a:txBody>
                  <a:tcPr marT="91440" marB="9144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562000"/>
                  </a:ext>
                </a:extLst>
              </a:tr>
              <a:tr h="19719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500" b="1">
                          <a:ln>
                            <a:solidFill>
                              <a:schemeClr val="bg1"/>
                            </a:solidFill>
                          </a:ln>
                          <a:solidFill>
                            <a:schemeClr val="bg1"/>
                          </a:solidFill>
                          <a:latin typeface="Roboto" panose="02000000000000000000" pitchFamily="2" charset="0"/>
                          <a:ea typeface="Roboto" panose="02000000000000000000" pitchFamily="2" charset="0"/>
                          <a:cs typeface="Arial" charset="0"/>
                        </a:rPr>
                        <a:t>Control measures</a:t>
                      </a:r>
                    </a:p>
                  </a:txBody>
                  <a:tcPr marT="91440" marB="91440" anchor="ctr">
                    <a:lnL w="38100" cap="flat" cmpd="sng" algn="ctr">
                      <a:solidFill>
                        <a:schemeClr val="bg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85750" indent="-285750">
                        <a:buFont typeface="Arial" panose="020B0604020202020204" pitchFamily="34" charset="0"/>
                        <a:buChar char="•"/>
                      </a:pPr>
                      <a:endParaRPr lang="en-US" sz="1800">
                        <a:ln>
                          <a:solidFill>
                            <a:schemeClr val="bg1"/>
                          </a:solidFill>
                        </a:ln>
                        <a:solidFill>
                          <a:schemeClr val="bg1"/>
                        </a:solidFill>
                        <a:latin typeface="Roboto" panose="02000000000000000000" pitchFamily="2" charset="0"/>
                        <a:ea typeface="Roboto" panose="02000000000000000000" pitchFamily="2" charset="0"/>
                        <a:cs typeface="Arial" charset="0"/>
                      </a:endParaRPr>
                    </a:p>
                  </a:txBody>
                  <a:tcPr marT="91440" marB="91440">
                    <a:lnT w="12700" cap="flat" cmpd="sng" algn="ctr">
                      <a:solidFill>
                        <a:schemeClr val="tx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285750" indent="-285750" rtl="0" fontAlgn="base">
                        <a:buFont typeface="Arial" panose="020B0604020202020204" pitchFamily="34" charset="0"/>
                        <a:buChar char="•"/>
                      </a:pPr>
                      <a:r>
                        <a:rPr lang="en-US" sz="1800" b="0" i="0" u="none" strike="noStrike" kern="1200">
                          <a:ln>
                            <a:solidFill>
                              <a:schemeClr val="bg1"/>
                            </a:solidFill>
                          </a:ln>
                          <a:solidFill>
                            <a:schemeClr val="bg1"/>
                          </a:solidFill>
                          <a:effectLst/>
                          <a:latin typeface="+mn-lt"/>
                          <a:ea typeface="+mn-ea"/>
                          <a:cs typeface="+mn-cs"/>
                        </a:rPr>
                        <a:t>Operations and maintenance fixes to prevent equipment leakage.</a:t>
                      </a:r>
                      <a:r>
                        <a:rPr lang="en-US" sz="1800" b="0" i="0" kern="1200">
                          <a:ln>
                            <a:solidFill>
                              <a:schemeClr val="bg1"/>
                            </a:solidFill>
                          </a:ln>
                          <a:solidFill>
                            <a:schemeClr val="bg1"/>
                          </a:solidFill>
                          <a:effectLst/>
                          <a:latin typeface="+mn-lt"/>
                          <a:ea typeface="+mn-ea"/>
                          <a:cs typeface="+mn-cs"/>
                        </a:rPr>
                        <a:t>​</a:t>
                      </a:r>
                    </a:p>
                    <a:p>
                      <a:pPr marL="285750" indent="-285750" rtl="0" fontAlgn="base">
                        <a:buFont typeface="Arial" panose="020B0604020202020204" pitchFamily="34" charset="0"/>
                        <a:buChar char="•"/>
                      </a:pPr>
                      <a:r>
                        <a:rPr lang="en-US" sz="1800" b="0" i="0" u="none" strike="noStrike" kern="1200">
                          <a:ln>
                            <a:solidFill>
                              <a:schemeClr val="bg1"/>
                            </a:solidFill>
                          </a:ln>
                          <a:solidFill>
                            <a:schemeClr val="bg1"/>
                          </a:solidFill>
                          <a:effectLst/>
                          <a:latin typeface="+mn-lt"/>
                          <a:ea typeface="+mn-ea"/>
                          <a:cs typeface="+mn-cs"/>
                        </a:rPr>
                        <a:t>Eliminate flaring and venting from operations.</a:t>
                      </a:r>
                      <a:r>
                        <a:rPr lang="en-US" sz="1800" b="0" i="0" kern="1200">
                          <a:ln>
                            <a:solidFill>
                              <a:schemeClr val="bg1"/>
                            </a:solidFill>
                          </a:ln>
                          <a:solidFill>
                            <a:schemeClr val="bg1"/>
                          </a:solidFill>
                          <a:effectLst/>
                          <a:latin typeface="+mn-lt"/>
                          <a:ea typeface="+mn-ea"/>
                          <a:cs typeface="+mn-cs"/>
                        </a:rPr>
                        <a:t>​</a:t>
                      </a:r>
                    </a:p>
                    <a:p>
                      <a:pPr marL="285750" indent="-285750" rtl="0" fontAlgn="base">
                        <a:buFont typeface="Arial" panose="020B0604020202020204" pitchFamily="34" charset="0"/>
                        <a:buChar char="•"/>
                      </a:pPr>
                      <a:r>
                        <a:rPr lang="en-US" sz="1800" b="0" i="0" u="none" strike="noStrike" kern="1200">
                          <a:ln>
                            <a:solidFill>
                              <a:schemeClr val="bg1"/>
                            </a:solidFill>
                          </a:ln>
                          <a:solidFill>
                            <a:schemeClr val="bg1"/>
                          </a:solidFill>
                          <a:effectLst/>
                          <a:latin typeface="+mn-lt"/>
                          <a:ea typeface="+mn-ea"/>
                          <a:cs typeface="+mn-cs"/>
                        </a:rPr>
                        <a:t>Create performance and certification standards to monitor industry progress, and market mechanisms to incentivize cuts. </a:t>
                      </a:r>
                      <a:endParaRPr lang="en-US" sz="1800" b="0" i="0" kern="1200">
                        <a:ln>
                          <a:solidFill>
                            <a:schemeClr val="bg1"/>
                          </a:solidFill>
                        </a:ln>
                        <a:solidFill>
                          <a:schemeClr val="bg1"/>
                        </a:solidFill>
                        <a:effectLst/>
                        <a:latin typeface="+mn-lt"/>
                        <a:ea typeface="+mn-ea"/>
                        <a:cs typeface="+mn-cs"/>
                      </a:endParaRPr>
                    </a:p>
                  </a:txBody>
                  <a:tcPr marT="91440" marB="91440" anchor="ctr">
                    <a:lnR w="381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60864981"/>
                  </a:ext>
                </a:extLst>
              </a:tr>
              <a:tr h="1037560">
                <a:tc>
                  <a:txBody>
                    <a:bodyPr/>
                    <a:lstStyle/>
                    <a:p>
                      <a:pPr marL="0" marR="0" lvl="0" indent="0" algn="l" rtl="0">
                        <a:lnSpc>
                          <a:spcPct val="100000"/>
                        </a:lnSpc>
                        <a:spcBef>
                          <a:spcPts val="0"/>
                        </a:spcBef>
                        <a:spcAft>
                          <a:spcPts val="0"/>
                        </a:spcAft>
                        <a:buClrTx/>
                        <a:buSzTx/>
                        <a:buFontTx/>
                        <a:buNone/>
                      </a:pPr>
                      <a:r>
                        <a:rPr lang="en-US" sz="2500" b="1" dirty="0">
                          <a:ln>
                            <a:solidFill>
                              <a:schemeClr val="bg1"/>
                            </a:solidFill>
                          </a:ln>
                          <a:solidFill>
                            <a:schemeClr val="bg1"/>
                          </a:solidFill>
                          <a:latin typeface="Roboto"/>
                          <a:ea typeface="Roboto"/>
                          <a:cs typeface="Arial"/>
                        </a:rPr>
                        <a:t>Data and Pricing</a:t>
                      </a:r>
                      <a:endParaRPr lang="en-US" dirty="0">
                        <a:ln>
                          <a:solidFill>
                            <a:schemeClr val="bg1"/>
                          </a:solidFill>
                        </a:ln>
                        <a:solidFill>
                          <a:schemeClr val="bg1"/>
                        </a:solidFill>
                      </a:endParaRPr>
                    </a:p>
                  </a:txBody>
                  <a:tcPr marT="91440" marB="91440" anchor="ctr">
                    <a:lnL w="38100" cap="flat" cmpd="sng" algn="ctr">
                      <a:solidFill>
                        <a:schemeClr val="bg1"/>
                      </a:solidFill>
                      <a:prstDash val="solid"/>
                      <a:round/>
                      <a:headEnd type="none" w="med" len="med"/>
                      <a:tailEnd type="none" w="med" len="med"/>
                    </a:lnL>
                    <a:lnT w="12700" cap="flat" cmpd="sng" algn="ctr">
                      <a:solidFill>
                        <a:schemeClr val="tx2"/>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285750" lvl="0" indent="-285750">
                        <a:buFont typeface="Arial" panose="020B0604020202020204" pitchFamily="34" charset="0"/>
                        <a:buChar char="•"/>
                      </a:pPr>
                      <a:endParaRPr lang="en-US" sz="1800">
                        <a:ln>
                          <a:solidFill>
                            <a:schemeClr val="bg1"/>
                          </a:solidFill>
                        </a:ln>
                        <a:solidFill>
                          <a:schemeClr val="bg1"/>
                        </a:solidFill>
                        <a:latin typeface="Roboto"/>
                        <a:ea typeface="Roboto"/>
                        <a:cs typeface="Arial"/>
                      </a:endParaRPr>
                    </a:p>
                  </a:txBody>
                  <a:tcPr marT="91440" marB="91440">
                    <a:lnT w="12700" cap="flat" cmpd="sng" algn="ctr">
                      <a:solidFill>
                        <a:schemeClr val="tx2"/>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285750" lvl="0" indent="-285750" rtl="0">
                        <a:buFont typeface="Arial" panose="020B0604020202020204" pitchFamily="34" charset="0"/>
                        <a:buChar char="•"/>
                      </a:pPr>
                      <a:r>
                        <a:rPr lang="en-US" sz="1800" b="0" i="0" u="none" strike="noStrike" kern="1200" dirty="0">
                          <a:ln>
                            <a:solidFill>
                              <a:schemeClr val="bg1"/>
                            </a:solidFill>
                          </a:ln>
                          <a:solidFill>
                            <a:schemeClr val="bg1"/>
                          </a:solidFill>
                          <a:effectLst/>
                          <a:latin typeface="+mn-lt"/>
                          <a:ea typeface="+mn-ea"/>
                          <a:cs typeface="+mn-cs"/>
                        </a:rPr>
                        <a:t>Government funds for open-source data platforms from point-source methane satellites (e.g., EMIT, Carbon Mapper).</a:t>
                      </a:r>
                      <a:endParaRPr lang="en-US" sz="1800" b="0" i="0" kern="1200" dirty="0">
                        <a:ln>
                          <a:solidFill>
                            <a:schemeClr val="bg1"/>
                          </a:solidFill>
                        </a:ln>
                        <a:solidFill>
                          <a:schemeClr val="bg1"/>
                        </a:solidFill>
                        <a:effectLst/>
                        <a:latin typeface="+mn-lt"/>
                        <a:ea typeface="+mn-ea"/>
                        <a:cs typeface="+mn-cs"/>
                      </a:endParaRPr>
                    </a:p>
                    <a:p>
                      <a:pPr marL="285750" lvl="0" indent="-285750">
                        <a:buFont typeface="Arial" panose="020B0604020202020204" pitchFamily="34" charset="0"/>
                        <a:buChar char="•"/>
                      </a:pPr>
                      <a:r>
                        <a:rPr lang="en-US" sz="1800" b="0" i="0" kern="1200" dirty="0">
                          <a:ln>
                            <a:solidFill>
                              <a:schemeClr val="bg1"/>
                            </a:solidFill>
                          </a:ln>
                          <a:solidFill>
                            <a:schemeClr val="bg1"/>
                          </a:solidFill>
                          <a:effectLst/>
                          <a:latin typeface="+mn-lt"/>
                          <a:ea typeface="+mn-ea"/>
                          <a:cs typeface="+mn-cs"/>
                        </a:rPr>
                        <a:t>Methane fees (e.g., Inflation Reduction Act)</a:t>
                      </a:r>
                    </a:p>
                  </a:txBody>
                  <a:tcPr marT="91440" marB="91440">
                    <a:lnR w="381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045928025"/>
                  </a:ext>
                </a:extLst>
              </a:tr>
            </a:tbl>
          </a:graphicData>
        </a:graphic>
      </p:graphicFrame>
      <p:sp>
        <p:nvSpPr>
          <p:cNvPr id="3" name="Freeform 2">
            <a:extLst>
              <a:ext uri="{FF2B5EF4-FFF2-40B4-BE49-F238E27FC236}">
                <a16:creationId xmlns:a16="http://schemas.microsoft.com/office/drawing/2014/main" id="{F9FCFDE9-F969-78E6-B638-C5D22BE2B1BE}"/>
              </a:ext>
            </a:extLst>
          </p:cNvPr>
          <p:cNvSpPr/>
          <p:nvPr/>
        </p:nvSpPr>
        <p:spPr>
          <a:xfrm>
            <a:off x="5707673" y="2404587"/>
            <a:ext cx="388327" cy="541217"/>
          </a:xfrm>
          <a:custGeom>
            <a:avLst/>
            <a:gdLst>
              <a:gd name="connsiteX0" fmla="*/ 11723 w 394677"/>
              <a:gd name="connsiteY0" fmla="*/ 0 h 926123"/>
              <a:gd name="connsiteX1" fmla="*/ 171939 w 394677"/>
              <a:gd name="connsiteY1" fmla="*/ 0 h 926123"/>
              <a:gd name="connsiteX2" fmla="*/ 394677 w 394677"/>
              <a:gd name="connsiteY2" fmla="*/ 468923 h 926123"/>
              <a:gd name="connsiteX3" fmla="*/ 164123 w 394677"/>
              <a:gd name="connsiteY3" fmla="*/ 926123 h 926123"/>
              <a:gd name="connsiteX4" fmla="*/ 0 w 394677"/>
              <a:gd name="connsiteY4" fmla="*/ 922216 h 926123"/>
              <a:gd name="connsiteX5" fmla="*/ 230554 w 394677"/>
              <a:gd name="connsiteY5" fmla="*/ 472831 h 926123"/>
              <a:gd name="connsiteX6" fmla="*/ 11723 w 394677"/>
              <a:gd name="connsiteY6" fmla="*/ 0 h 926123"/>
              <a:gd name="connsiteX0" fmla="*/ 11723 w 394677"/>
              <a:gd name="connsiteY0" fmla="*/ 0 h 926123"/>
              <a:gd name="connsiteX1" fmla="*/ 171939 w 394677"/>
              <a:gd name="connsiteY1" fmla="*/ 0 h 926123"/>
              <a:gd name="connsiteX2" fmla="*/ 394677 w 394677"/>
              <a:gd name="connsiteY2" fmla="*/ 478448 h 926123"/>
              <a:gd name="connsiteX3" fmla="*/ 164123 w 394677"/>
              <a:gd name="connsiteY3" fmla="*/ 926123 h 926123"/>
              <a:gd name="connsiteX4" fmla="*/ 0 w 394677"/>
              <a:gd name="connsiteY4" fmla="*/ 922216 h 926123"/>
              <a:gd name="connsiteX5" fmla="*/ 230554 w 394677"/>
              <a:gd name="connsiteY5" fmla="*/ 472831 h 926123"/>
              <a:gd name="connsiteX6" fmla="*/ 11723 w 394677"/>
              <a:gd name="connsiteY6" fmla="*/ 0 h 926123"/>
              <a:gd name="connsiteX0" fmla="*/ 11723 w 388327"/>
              <a:gd name="connsiteY0" fmla="*/ 0 h 926123"/>
              <a:gd name="connsiteX1" fmla="*/ 171939 w 388327"/>
              <a:gd name="connsiteY1" fmla="*/ 0 h 926123"/>
              <a:gd name="connsiteX2" fmla="*/ 388327 w 388327"/>
              <a:gd name="connsiteY2" fmla="*/ 472098 h 926123"/>
              <a:gd name="connsiteX3" fmla="*/ 164123 w 388327"/>
              <a:gd name="connsiteY3" fmla="*/ 926123 h 926123"/>
              <a:gd name="connsiteX4" fmla="*/ 0 w 388327"/>
              <a:gd name="connsiteY4" fmla="*/ 922216 h 926123"/>
              <a:gd name="connsiteX5" fmla="*/ 230554 w 388327"/>
              <a:gd name="connsiteY5" fmla="*/ 472831 h 926123"/>
              <a:gd name="connsiteX6" fmla="*/ 11723 w 388327"/>
              <a:gd name="connsiteY6" fmla="*/ 0 h 926123"/>
              <a:gd name="connsiteX0" fmla="*/ 11723 w 388327"/>
              <a:gd name="connsiteY0" fmla="*/ 0 h 926123"/>
              <a:gd name="connsiteX1" fmla="*/ 171939 w 388327"/>
              <a:gd name="connsiteY1" fmla="*/ 0 h 926123"/>
              <a:gd name="connsiteX2" fmla="*/ 388327 w 388327"/>
              <a:gd name="connsiteY2" fmla="*/ 472098 h 926123"/>
              <a:gd name="connsiteX3" fmla="*/ 176823 w 388327"/>
              <a:gd name="connsiteY3" fmla="*/ 926123 h 926123"/>
              <a:gd name="connsiteX4" fmla="*/ 0 w 388327"/>
              <a:gd name="connsiteY4" fmla="*/ 922216 h 926123"/>
              <a:gd name="connsiteX5" fmla="*/ 230554 w 388327"/>
              <a:gd name="connsiteY5" fmla="*/ 472831 h 926123"/>
              <a:gd name="connsiteX6" fmla="*/ 11723 w 388327"/>
              <a:gd name="connsiteY6" fmla="*/ 0 h 926123"/>
              <a:gd name="connsiteX0" fmla="*/ 5373 w 381977"/>
              <a:gd name="connsiteY0" fmla="*/ 0 h 928566"/>
              <a:gd name="connsiteX1" fmla="*/ 165589 w 381977"/>
              <a:gd name="connsiteY1" fmla="*/ 0 h 928566"/>
              <a:gd name="connsiteX2" fmla="*/ 381977 w 381977"/>
              <a:gd name="connsiteY2" fmla="*/ 472098 h 928566"/>
              <a:gd name="connsiteX3" fmla="*/ 170473 w 381977"/>
              <a:gd name="connsiteY3" fmla="*/ 926123 h 928566"/>
              <a:gd name="connsiteX4" fmla="*/ 0 w 381977"/>
              <a:gd name="connsiteY4" fmla="*/ 928566 h 928566"/>
              <a:gd name="connsiteX5" fmla="*/ 224204 w 381977"/>
              <a:gd name="connsiteY5" fmla="*/ 472831 h 928566"/>
              <a:gd name="connsiteX6" fmla="*/ 5373 w 381977"/>
              <a:gd name="connsiteY6" fmla="*/ 0 h 928566"/>
              <a:gd name="connsiteX0" fmla="*/ 37123 w 381977"/>
              <a:gd name="connsiteY0" fmla="*/ 31750 h 928566"/>
              <a:gd name="connsiteX1" fmla="*/ 165589 w 381977"/>
              <a:gd name="connsiteY1" fmla="*/ 0 h 928566"/>
              <a:gd name="connsiteX2" fmla="*/ 381977 w 381977"/>
              <a:gd name="connsiteY2" fmla="*/ 472098 h 928566"/>
              <a:gd name="connsiteX3" fmla="*/ 170473 w 381977"/>
              <a:gd name="connsiteY3" fmla="*/ 926123 h 928566"/>
              <a:gd name="connsiteX4" fmla="*/ 0 w 381977"/>
              <a:gd name="connsiteY4" fmla="*/ 928566 h 928566"/>
              <a:gd name="connsiteX5" fmla="*/ 224204 w 381977"/>
              <a:gd name="connsiteY5" fmla="*/ 472831 h 928566"/>
              <a:gd name="connsiteX6" fmla="*/ 37123 w 381977"/>
              <a:gd name="connsiteY6" fmla="*/ 31750 h 928566"/>
              <a:gd name="connsiteX0" fmla="*/ 5373 w 381977"/>
              <a:gd name="connsiteY0" fmla="*/ 9525 h 928566"/>
              <a:gd name="connsiteX1" fmla="*/ 165589 w 381977"/>
              <a:gd name="connsiteY1" fmla="*/ 0 h 928566"/>
              <a:gd name="connsiteX2" fmla="*/ 381977 w 381977"/>
              <a:gd name="connsiteY2" fmla="*/ 472098 h 928566"/>
              <a:gd name="connsiteX3" fmla="*/ 170473 w 381977"/>
              <a:gd name="connsiteY3" fmla="*/ 926123 h 928566"/>
              <a:gd name="connsiteX4" fmla="*/ 0 w 381977"/>
              <a:gd name="connsiteY4" fmla="*/ 928566 h 928566"/>
              <a:gd name="connsiteX5" fmla="*/ 224204 w 381977"/>
              <a:gd name="connsiteY5" fmla="*/ 472831 h 928566"/>
              <a:gd name="connsiteX6" fmla="*/ 5373 w 381977"/>
              <a:gd name="connsiteY6" fmla="*/ 9525 h 928566"/>
              <a:gd name="connsiteX0" fmla="*/ 5373 w 381977"/>
              <a:gd name="connsiteY0" fmla="*/ 0 h 919041"/>
              <a:gd name="connsiteX1" fmla="*/ 171939 w 381977"/>
              <a:gd name="connsiteY1" fmla="*/ 3175 h 919041"/>
              <a:gd name="connsiteX2" fmla="*/ 381977 w 381977"/>
              <a:gd name="connsiteY2" fmla="*/ 462573 h 919041"/>
              <a:gd name="connsiteX3" fmla="*/ 170473 w 381977"/>
              <a:gd name="connsiteY3" fmla="*/ 916598 h 919041"/>
              <a:gd name="connsiteX4" fmla="*/ 0 w 381977"/>
              <a:gd name="connsiteY4" fmla="*/ 919041 h 919041"/>
              <a:gd name="connsiteX5" fmla="*/ 224204 w 381977"/>
              <a:gd name="connsiteY5" fmla="*/ 463306 h 919041"/>
              <a:gd name="connsiteX6" fmla="*/ 5373 w 381977"/>
              <a:gd name="connsiteY6" fmla="*/ 0 h 919041"/>
              <a:gd name="connsiteX0" fmla="*/ 5373 w 381977"/>
              <a:gd name="connsiteY0" fmla="*/ 3175 h 922216"/>
              <a:gd name="connsiteX1" fmla="*/ 165589 w 381977"/>
              <a:gd name="connsiteY1" fmla="*/ 0 h 922216"/>
              <a:gd name="connsiteX2" fmla="*/ 381977 w 381977"/>
              <a:gd name="connsiteY2" fmla="*/ 465748 h 922216"/>
              <a:gd name="connsiteX3" fmla="*/ 170473 w 381977"/>
              <a:gd name="connsiteY3" fmla="*/ 919773 h 922216"/>
              <a:gd name="connsiteX4" fmla="*/ 0 w 381977"/>
              <a:gd name="connsiteY4" fmla="*/ 922216 h 922216"/>
              <a:gd name="connsiteX5" fmla="*/ 224204 w 381977"/>
              <a:gd name="connsiteY5" fmla="*/ 466481 h 922216"/>
              <a:gd name="connsiteX6" fmla="*/ 5373 w 381977"/>
              <a:gd name="connsiteY6" fmla="*/ 3175 h 922216"/>
              <a:gd name="connsiteX0" fmla="*/ 5373 w 388327"/>
              <a:gd name="connsiteY0" fmla="*/ 3175 h 922216"/>
              <a:gd name="connsiteX1" fmla="*/ 165589 w 388327"/>
              <a:gd name="connsiteY1" fmla="*/ 0 h 922216"/>
              <a:gd name="connsiteX2" fmla="*/ 388327 w 388327"/>
              <a:gd name="connsiteY2" fmla="*/ 456223 h 922216"/>
              <a:gd name="connsiteX3" fmla="*/ 170473 w 388327"/>
              <a:gd name="connsiteY3" fmla="*/ 919773 h 922216"/>
              <a:gd name="connsiteX4" fmla="*/ 0 w 388327"/>
              <a:gd name="connsiteY4" fmla="*/ 922216 h 922216"/>
              <a:gd name="connsiteX5" fmla="*/ 224204 w 388327"/>
              <a:gd name="connsiteY5" fmla="*/ 466481 h 922216"/>
              <a:gd name="connsiteX6" fmla="*/ 5373 w 388327"/>
              <a:gd name="connsiteY6" fmla="*/ 3175 h 92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8327" h="922216">
                <a:moveTo>
                  <a:pt x="5373" y="3175"/>
                </a:moveTo>
                <a:lnTo>
                  <a:pt x="165589" y="0"/>
                </a:lnTo>
                <a:lnTo>
                  <a:pt x="388327" y="456223"/>
                </a:lnTo>
                <a:lnTo>
                  <a:pt x="170473" y="919773"/>
                </a:lnTo>
                <a:lnTo>
                  <a:pt x="0" y="922216"/>
                </a:lnTo>
                <a:lnTo>
                  <a:pt x="224204" y="466481"/>
                </a:lnTo>
                <a:lnTo>
                  <a:pt x="5373" y="317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reeform 4">
            <a:extLst>
              <a:ext uri="{FF2B5EF4-FFF2-40B4-BE49-F238E27FC236}">
                <a16:creationId xmlns:a16="http://schemas.microsoft.com/office/drawing/2014/main" id="{AFBEC24E-91B7-05F4-44D6-88EF6396D864}"/>
              </a:ext>
            </a:extLst>
          </p:cNvPr>
          <p:cNvSpPr/>
          <p:nvPr/>
        </p:nvSpPr>
        <p:spPr>
          <a:xfrm>
            <a:off x="5707672" y="5538618"/>
            <a:ext cx="388327" cy="541217"/>
          </a:xfrm>
          <a:custGeom>
            <a:avLst/>
            <a:gdLst>
              <a:gd name="connsiteX0" fmla="*/ 11723 w 394677"/>
              <a:gd name="connsiteY0" fmla="*/ 0 h 926123"/>
              <a:gd name="connsiteX1" fmla="*/ 171939 w 394677"/>
              <a:gd name="connsiteY1" fmla="*/ 0 h 926123"/>
              <a:gd name="connsiteX2" fmla="*/ 394677 w 394677"/>
              <a:gd name="connsiteY2" fmla="*/ 468923 h 926123"/>
              <a:gd name="connsiteX3" fmla="*/ 164123 w 394677"/>
              <a:gd name="connsiteY3" fmla="*/ 926123 h 926123"/>
              <a:gd name="connsiteX4" fmla="*/ 0 w 394677"/>
              <a:gd name="connsiteY4" fmla="*/ 922216 h 926123"/>
              <a:gd name="connsiteX5" fmla="*/ 230554 w 394677"/>
              <a:gd name="connsiteY5" fmla="*/ 472831 h 926123"/>
              <a:gd name="connsiteX6" fmla="*/ 11723 w 394677"/>
              <a:gd name="connsiteY6" fmla="*/ 0 h 926123"/>
              <a:gd name="connsiteX0" fmla="*/ 11723 w 394677"/>
              <a:gd name="connsiteY0" fmla="*/ 0 h 926123"/>
              <a:gd name="connsiteX1" fmla="*/ 171939 w 394677"/>
              <a:gd name="connsiteY1" fmla="*/ 0 h 926123"/>
              <a:gd name="connsiteX2" fmla="*/ 394677 w 394677"/>
              <a:gd name="connsiteY2" fmla="*/ 478448 h 926123"/>
              <a:gd name="connsiteX3" fmla="*/ 164123 w 394677"/>
              <a:gd name="connsiteY3" fmla="*/ 926123 h 926123"/>
              <a:gd name="connsiteX4" fmla="*/ 0 w 394677"/>
              <a:gd name="connsiteY4" fmla="*/ 922216 h 926123"/>
              <a:gd name="connsiteX5" fmla="*/ 230554 w 394677"/>
              <a:gd name="connsiteY5" fmla="*/ 472831 h 926123"/>
              <a:gd name="connsiteX6" fmla="*/ 11723 w 394677"/>
              <a:gd name="connsiteY6" fmla="*/ 0 h 926123"/>
              <a:gd name="connsiteX0" fmla="*/ 11723 w 388327"/>
              <a:gd name="connsiteY0" fmla="*/ 0 h 926123"/>
              <a:gd name="connsiteX1" fmla="*/ 171939 w 388327"/>
              <a:gd name="connsiteY1" fmla="*/ 0 h 926123"/>
              <a:gd name="connsiteX2" fmla="*/ 388327 w 388327"/>
              <a:gd name="connsiteY2" fmla="*/ 472098 h 926123"/>
              <a:gd name="connsiteX3" fmla="*/ 164123 w 388327"/>
              <a:gd name="connsiteY3" fmla="*/ 926123 h 926123"/>
              <a:gd name="connsiteX4" fmla="*/ 0 w 388327"/>
              <a:gd name="connsiteY4" fmla="*/ 922216 h 926123"/>
              <a:gd name="connsiteX5" fmla="*/ 230554 w 388327"/>
              <a:gd name="connsiteY5" fmla="*/ 472831 h 926123"/>
              <a:gd name="connsiteX6" fmla="*/ 11723 w 388327"/>
              <a:gd name="connsiteY6" fmla="*/ 0 h 926123"/>
              <a:gd name="connsiteX0" fmla="*/ 11723 w 388327"/>
              <a:gd name="connsiteY0" fmla="*/ 0 h 926123"/>
              <a:gd name="connsiteX1" fmla="*/ 171939 w 388327"/>
              <a:gd name="connsiteY1" fmla="*/ 0 h 926123"/>
              <a:gd name="connsiteX2" fmla="*/ 388327 w 388327"/>
              <a:gd name="connsiteY2" fmla="*/ 472098 h 926123"/>
              <a:gd name="connsiteX3" fmla="*/ 176823 w 388327"/>
              <a:gd name="connsiteY3" fmla="*/ 926123 h 926123"/>
              <a:gd name="connsiteX4" fmla="*/ 0 w 388327"/>
              <a:gd name="connsiteY4" fmla="*/ 922216 h 926123"/>
              <a:gd name="connsiteX5" fmla="*/ 230554 w 388327"/>
              <a:gd name="connsiteY5" fmla="*/ 472831 h 926123"/>
              <a:gd name="connsiteX6" fmla="*/ 11723 w 388327"/>
              <a:gd name="connsiteY6" fmla="*/ 0 h 926123"/>
              <a:gd name="connsiteX0" fmla="*/ 5373 w 381977"/>
              <a:gd name="connsiteY0" fmla="*/ 0 h 928566"/>
              <a:gd name="connsiteX1" fmla="*/ 165589 w 381977"/>
              <a:gd name="connsiteY1" fmla="*/ 0 h 928566"/>
              <a:gd name="connsiteX2" fmla="*/ 381977 w 381977"/>
              <a:gd name="connsiteY2" fmla="*/ 472098 h 928566"/>
              <a:gd name="connsiteX3" fmla="*/ 170473 w 381977"/>
              <a:gd name="connsiteY3" fmla="*/ 926123 h 928566"/>
              <a:gd name="connsiteX4" fmla="*/ 0 w 381977"/>
              <a:gd name="connsiteY4" fmla="*/ 928566 h 928566"/>
              <a:gd name="connsiteX5" fmla="*/ 224204 w 381977"/>
              <a:gd name="connsiteY5" fmla="*/ 472831 h 928566"/>
              <a:gd name="connsiteX6" fmla="*/ 5373 w 381977"/>
              <a:gd name="connsiteY6" fmla="*/ 0 h 928566"/>
              <a:gd name="connsiteX0" fmla="*/ 37123 w 381977"/>
              <a:gd name="connsiteY0" fmla="*/ 31750 h 928566"/>
              <a:gd name="connsiteX1" fmla="*/ 165589 w 381977"/>
              <a:gd name="connsiteY1" fmla="*/ 0 h 928566"/>
              <a:gd name="connsiteX2" fmla="*/ 381977 w 381977"/>
              <a:gd name="connsiteY2" fmla="*/ 472098 h 928566"/>
              <a:gd name="connsiteX3" fmla="*/ 170473 w 381977"/>
              <a:gd name="connsiteY3" fmla="*/ 926123 h 928566"/>
              <a:gd name="connsiteX4" fmla="*/ 0 w 381977"/>
              <a:gd name="connsiteY4" fmla="*/ 928566 h 928566"/>
              <a:gd name="connsiteX5" fmla="*/ 224204 w 381977"/>
              <a:gd name="connsiteY5" fmla="*/ 472831 h 928566"/>
              <a:gd name="connsiteX6" fmla="*/ 37123 w 381977"/>
              <a:gd name="connsiteY6" fmla="*/ 31750 h 928566"/>
              <a:gd name="connsiteX0" fmla="*/ 5373 w 381977"/>
              <a:gd name="connsiteY0" fmla="*/ 9525 h 928566"/>
              <a:gd name="connsiteX1" fmla="*/ 165589 w 381977"/>
              <a:gd name="connsiteY1" fmla="*/ 0 h 928566"/>
              <a:gd name="connsiteX2" fmla="*/ 381977 w 381977"/>
              <a:gd name="connsiteY2" fmla="*/ 472098 h 928566"/>
              <a:gd name="connsiteX3" fmla="*/ 170473 w 381977"/>
              <a:gd name="connsiteY3" fmla="*/ 926123 h 928566"/>
              <a:gd name="connsiteX4" fmla="*/ 0 w 381977"/>
              <a:gd name="connsiteY4" fmla="*/ 928566 h 928566"/>
              <a:gd name="connsiteX5" fmla="*/ 224204 w 381977"/>
              <a:gd name="connsiteY5" fmla="*/ 472831 h 928566"/>
              <a:gd name="connsiteX6" fmla="*/ 5373 w 381977"/>
              <a:gd name="connsiteY6" fmla="*/ 9525 h 928566"/>
              <a:gd name="connsiteX0" fmla="*/ 5373 w 381977"/>
              <a:gd name="connsiteY0" fmla="*/ 0 h 919041"/>
              <a:gd name="connsiteX1" fmla="*/ 171939 w 381977"/>
              <a:gd name="connsiteY1" fmla="*/ 3175 h 919041"/>
              <a:gd name="connsiteX2" fmla="*/ 381977 w 381977"/>
              <a:gd name="connsiteY2" fmla="*/ 462573 h 919041"/>
              <a:gd name="connsiteX3" fmla="*/ 170473 w 381977"/>
              <a:gd name="connsiteY3" fmla="*/ 916598 h 919041"/>
              <a:gd name="connsiteX4" fmla="*/ 0 w 381977"/>
              <a:gd name="connsiteY4" fmla="*/ 919041 h 919041"/>
              <a:gd name="connsiteX5" fmla="*/ 224204 w 381977"/>
              <a:gd name="connsiteY5" fmla="*/ 463306 h 919041"/>
              <a:gd name="connsiteX6" fmla="*/ 5373 w 381977"/>
              <a:gd name="connsiteY6" fmla="*/ 0 h 919041"/>
              <a:gd name="connsiteX0" fmla="*/ 5373 w 381977"/>
              <a:gd name="connsiteY0" fmla="*/ 3175 h 922216"/>
              <a:gd name="connsiteX1" fmla="*/ 165589 w 381977"/>
              <a:gd name="connsiteY1" fmla="*/ 0 h 922216"/>
              <a:gd name="connsiteX2" fmla="*/ 381977 w 381977"/>
              <a:gd name="connsiteY2" fmla="*/ 465748 h 922216"/>
              <a:gd name="connsiteX3" fmla="*/ 170473 w 381977"/>
              <a:gd name="connsiteY3" fmla="*/ 919773 h 922216"/>
              <a:gd name="connsiteX4" fmla="*/ 0 w 381977"/>
              <a:gd name="connsiteY4" fmla="*/ 922216 h 922216"/>
              <a:gd name="connsiteX5" fmla="*/ 224204 w 381977"/>
              <a:gd name="connsiteY5" fmla="*/ 466481 h 922216"/>
              <a:gd name="connsiteX6" fmla="*/ 5373 w 381977"/>
              <a:gd name="connsiteY6" fmla="*/ 3175 h 922216"/>
              <a:gd name="connsiteX0" fmla="*/ 5373 w 388327"/>
              <a:gd name="connsiteY0" fmla="*/ 3175 h 922216"/>
              <a:gd name="connsiteX1" fmla="*/ 165589 w 388327"/>
              <a:gd name="connsiteY1" fmla="*/ 0 h 922216"/>
              <a:gd name="connsiteX2" fmla="*/ 388327 w 388327"/>
              <a:gd name="connsiteY2" fmla="*/ 456223 h 922216"/>
              <a:gd name="connsiteX3" fmla="*/ 170473 w 388327"/>
              <a:gd name="connsiteY3" fmla="*/ 919773 h 922216"/>
              <a:gd name="connsiteX4" fmla="*/ 0 w 388327"/>
              <a:gd name="connsiteY4" fmla="*/ 922216 h 922216"/>
              <a:gd name="connsiteX5" fmla="*/ 224204 w 388327"/>
              <a:gd name="connsiteY5" fmla="*/ 466481 h 922216"/>
              <a:gd name="connsiteX6" fmla="*/ 5373 w 388327"/>
              <a:gd name="connsiteY6" fmla="*/ 3175 h 92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8327" h="922216">
                <a:moveTo>
                  <a:pt x="5373" y="3175"/>
                </a:moveTo>
                <a:lnTo>
                  <a:pt x="165589" y="0"/>
                </a:lnTo>
                <a:lnTo>
                  <a:pt x="388327" y="456223"/>
                </a:lnTo>
                <a:lnTo>
                  <a:pt x="170473" y="919773"/>
                </a:lnTo>
                <a:lnTo>
                  <a:pt x="0" y="922216"/>
                </a:lnTo>
                <a:lnTo>
                  <a:pt x="224204" y="466481"/>
                </a:lnTo>
                <a:lnTo>
                  <a:pt x="5373" y="317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reeform 4">
            <a:extLst>
              <a:ext uri="{FF2B5EF4-FFF2-40B4-BE49-F238E27FC236}">
                <a16:creationId xmlns:a16="http://schemas.microsoft.com/office/drawing/2014/main" id="{161DFA78-C3B6-F179-0A8C-8579C3600525}"/>
              </a:ext>
            </a:extLst>
          </p:cNvPr>
          <p:cNvSpPr/>
          <p:nvPr/>
        </p:nvSpPr>
        <p:spPr>
          <a:xfrm>
            <a:off x="5707672" y="4039199"/>
            <a:ext cx="388327" cy="541217"/>
          </a:xfrm>
          <a:custGeom>
            <a:avLst/>
            <a:gdLst>
              <a:gd name="connsiteX0" fmla="*/ 11723 w 394677"/>
              <a:gd name="connsiteY0" fmla="*/ 0 h 926123"/>
              <a:gd name="connsiteX1" fmla="*/ 171939 w 394677"/>
              <a:gd name="connsiteY1" fmla="*/ 0 h 926123"/>
              <a:gd name="connsiteX2" fmla="*/ 394677 w 394677"/>
              <a:gd name="connsiteY2" fmla="*/ 468923 h 926123"/>
              <a:gd name="connsiteX3" fmla="*/ 164123 w 394677"/>
              <a:gd name="connsiteY3" fmla="*/ 926123 h 926123"/>
              <a:gd name="connsiteX4" fmla="*/ 0 w 394677"/>
              <a:gd name="connsiteY4" fmla="*/ 922216 h 926123"/>
              <a:gd name="connsiteX5" fmla="*/ 230554 w 394677"/>
              <a:gd name="connsiteY5" fmla="*/ 472831 h 926123"/>
              <a:gd name="connsiteX6" fmla="*/ 11723 w 394677"/>
              <a:gd name="connsiteY6" fmla="*/ 0 h 926123"/>
              <a:gd name="connsiteX0" fmla="*/ 11723 w 394677"/>
              <a:gd name="connsiteY0" fmla="*/ 0 h 926123"/>
              <a:gd name="connsiteX1" fmla="*/ 171939 w 394677"/>
              <a:gd name="connsiteY1" fmla="*/ 0 h 926123"/>
              <a:gd name="connsiteX2" fmla="*/ 394677 w 394677"/>
              <a:gd name="connsiteY2" fmla="*/ 478448 h 926123"/>
              <a:gd name="connsiteX3" fmla="*/ 164123 w 394677"/>
              <a:gd name="connsiteY3" fmla="*/ 926123 h 926123"/>
              <a:gd name="connsiteX4" fmla="*/ 0 w 394677"/>
              <a:gd name="connsiteY4" fmla="*/ 922216 h 926123"/>
              <a:gd name="connsiteX5" fmla="*/ 230554 w 394677"/>
              <a:gd name="connsiteY5" fmla="*/ 472831 h 926123"/>
              <a:gd name="connsiteX6" fmla="*/ 11723 w 394677"/>
              <a:gd name="connsiteY6" fmla="*/ 0 h 926123"/>
              <a:gd name="connsiteX0" fmla="*/ 11723 w 388327"/>
              <a:gd name="connsiteY0" fmla="*/ 0 h 926123"/>
              <a:gd name="connsiteX1" fmla="*/ 171939 w 388327"/>
              <a:gd name="connsiteY1" fmla="*/ 0 h 926123"/>
              <a:gd name="connsiteX2" fmla="*/ 388327 w 388327"/>
              <a:gd name="connsiteY2" fmla="*/ 472098 h 926123"/>
              <a:gd name="connsiteX3" fmla="*/ 164123 w 388327"/>
              <a:gd name="connsiteY3" fmla="*/ 926123 h 926123"/>
              <a:gd name="connsiteX4" fmla="*/ 0 w 388327"/>
              <a:gd name="connsiteY4" fmla="*/ 922216 h 926123"/>
              <a:gd name="connsiteX5" fmla="*/ 230554 w 388327"/>
              <a:gd name="connsiteY5" fmla="*/ 472831 h 926123"/>
              <a:gd name="connsiteX6" fmla="*/ 11723 w 388327"/>
              <a:gd name="connsiteY6" fmla="*/ 0 h 926123"/>
              <a:gd name="connsiteX0" fmla="*/ 11723 w 388327"/>
              <a:gd name="connsiteY0" fmla="*/ 0 h 926123"/>
              <a:gd name="connsiteX1" fmla="*/ 171939 w 388327"/>
              <a:gd name="connsiteY1" fmla="*/ 0 h 926123"/>
              <a:gd name="connsiteX2" fmla="*/ 388327 w 388327"/>
              <a:gd name="connsiteY2" fmla="*/ 472098 h 926123"/>
              <a:gd name="connsiteX3" fmla="*/ 176823 w 388327"/>
              <a:gd name="connsiteY3" fmla="*/ 926123 h 926123"/>
              <a:gd name="connsiteX4" fmla="*/ 0 w 388327"/>
              <a:gd name="connsiteY4" fmla="*/ 922216 h 926123"/>
              <a:gd name="connsiteX5" fmla="*/ 230554 w 388327"/>
              <a:gd name="connsiteY5" fmla="*/ 472831 h 926123"/>
              <a:gd name="connsiteX6" fmla="*/ 11723 w 388327"/>
              <a:gd name="connsiteY6" fmla="*/ 0 h 926123"/>
              <a:gd name="connsiteX0" fmla="*/ 5373 w 381977"/>
              <a:gd name="connsiteY0" fmla="*/ 0 h 928566"/>
              <a:gd name="connsiteX1" fmla="*/ 165589 w 381977"/>
              <a:gd name="connsiteY1" fmla="*/ 0 h 928566"/>
              <a:gd name="connsiteX2" fmla="*/ 381977 w 381977"/>
              <a:gd name="connsiteY2" fmla="*/ 472098 h 928566"/>
              <a:gd name="connsiteX3" fmla="*/ 170473 w 381977"/>
              <a:gd name="connsiteY3" fmla="*/ 926123 h 928566"/>
              <a:gd name="connsiteX4" fmla="*/ 0 w 381977"/>
              <a:gd name="connsiteY4" fmla="*/ 928566 h 928566"/>
              <a:gd name="connsiteX5" fmla="*/ 224204 w 381977"/>
              <a:gd name="connsiteY5" fmla="*/ 472831 h 928566"/>
              <a:gd name="connsiteX6" fmla="*/ 5373 w 381977"/>
              <a:gd name="connsiteY6" fmla="*/ 0 h 928566"/>
              <a:gd name="connsiteX0" fmla="*/ 37123 w 381977"/>
              <a:gd name="connsiteY0" fmla="*/ 31750 h 928566"/>
              <a:gd name="connsiteX1" fmla="*/ 165589 w 381977"/>
              <a:gd name="connsiteY1" fmla="*/ 0 h 928566"/>
              <a:gd name="connsiteX2" fmla="*/ 381977 w 381977"/>
              <a:gd name="connsiteY2" fmla="*/ 472098 h 928566"/>
              <a:gd name="connsiteX3" fmla="*/ 170473 w 381977"/>
              <a:gd name="connsiteY3" fmla="*/ 926123 h 928566"/>
              <a:gd name="connsiteX4" fmla="*/ 0 w 381977"/>
              <a:gd name="connsiteY4" fmla="*/ 928566 h 928566"/>
              <a:gd name="connsiteX5" fmla="*/ 224204 w 381977"/>
              <a:gd name="connsiteY5" fmla="*/ 472831 h 928566"/>
              <a:gd name="connsiteX6" fmla="*/ 37123 w 381977"/>
              <a:gd name="connsiteY6" fmla="*/ 31750 h 928566"/>
              <a:gd name="connsiteX0" fmla="*/ 5373 w 381977"/>
              <a:gd name="connsiteY0" fmla="*/ 9525 h 928566"/>
              <a:gd name="connsiteX1" fmla="*/ 165589 w 381977"/>
              <a:gd name="connsiteY1" fmla="*/ 0 h 928566"/>
              <a:gd name="connsiteX2" fmla="*/ 381977 w 381977"/>
              <a:gd name="connsiteY2" fmla="*/ 472098 h 928566"/>
              <a:gd name="connsiteX3" fmla="*/ 170473 w 381977"/>
              <a:gd name="connsiteY3" fmla="*/ 926123 h 928566"/>
              <a:gd name="connsiteX4" fmla="*/ 0 w 381977"/>
              <a:gd name="connsiteY4" fmla="*/ 928566 h 928566"/>
              <a:gd name="connsiteX5" fmla="*/ 224204 w 381977"/>
              <a:gd name="connsiteY5" fmla="*/ 472831 h 928566"/>
              <a:gd name="connsiteX6" fmla="*/ 5373 w 381977"/>
              <a:gd name="connsiteY6" fmla="*/ 9525 h 928566"/>
              <a:gd name="connsiteX0" fmla="*/ 5373 w 381977"/>
              <a:gd name="connsiteY0" fmla="*/ 0 h 919041"/>
              <a:gd name="connsiteX1" fmla="*/ 171939 w 381977"/>
              <a:gd name="connsiteY1" fmla="*/ 3175 h 919041"/>
              <a:gd name="connsiteX2" fmla="*/ 381977 w 381977"/>
              <a:gd name="connsiteY2" fmla="*/ 462573 h 919041"/>
              <a:gd name="connsiteX3" fmla="*/ 170473 w 381977"/>
              <a:gd name="connsiteY3" fmla="*/ 916598 h 919041"/>
              <a:gd name="connsiteX4" fmla="*/ 0 w 381977"/>
              <a:gd name="connsiteY4" fmla="*/ 919041 h 919041"/>
              <a:gd name="connsiteX5" fmla="*/ 224204 w 381977"/>
              <a:gd name="connsiteY5" fmla="*/ 463306 h 919041"/>
              <a:gd name="connsiteX6" fmla="*/ 5373 w 381977"/>
              <a:gd name="connsiteY6" fmla="*/ 0 h 919041"/>
              <a:gd name="connsiteX0" fmla="*/ 5373 w 381977"/>
              <a:gd name="connsiteY0" fmla="*/ 3175 h 922216"/>
              <a:gd name="connsiteX1" fmla="*/ 165589 w 381977"/>
              <a:gd name="connsiteY1" fmla="*/ 0 h 922216"/>
              <a:gd name="connsiteX2" fmla="*/ 381977 w 381977"/>
              <a:gd name="connsiteY2" fmla="*/ 465748 h 922216"/>
              <a:gd name="connsiteX3" fmla="*/ 170473 w 381977"/>
              <a:gd name="connsiteY3" fmla="*/ 919773 h 922216"/>
              <a:gd name="connsiteX4" fmla="*/ 0 w 381977"/>
              <a:gd name="connsiteY4" fmla="*/ 922216 h 922216"/>
              <a:gd name="connsiteX5" fmla="*/ 224204 w 381977"/>
              <a:gd name="connsiteY5" fmla="*/ 466481 h 922216"/>
              <a:gd name="connsiteX6" fmla="*/ 5373 w 381977"/>
              <a:gd name="connsiteY6" fmla="*/ 3175 h 922216"/>
              <a:gd name="connsiteX0" fmla="*/ 5373 w 388327"/>
              <a:gd name="connsiteY0" fmla="*/ 3175 h 922216"/>
              <a:gd name="connsiteX1" fmla="*/ 165589 w 388327"/>
              <a:gd name="connsiteY1" fmla="*/ 0 h 922216"/>
              <a:gd name="connsiteX2" fmla="*/ 388327 w 388327"/>
              <a:gd name="connsiteY2" fmla="*/ 456223 h 922216"/>
              <a:gd name="connsiteX3" fmla="*/ 170473 w 388327"/>
              <a:gd name="connsiteY3" fmla="*/ 919773 h 922216"/>
              <a:gd name="connsiteX4" fmla="*/ 0 w 388327"/>
              <a:gd name="connsiteY4" fmla="*/ 922216 h 922216"/>
              <a:gd name="connsiteX5" fmla="*/ 224204 w 388327"/>
              <a:gd name="connsiteY5" fmla="*/ 466481 h 922216"/>
              <a:gd name="connsiteX6" fmla="*/ 5373 w 388327"/>
              <a:gd name="connsiteY6" fmla="*/ 3175 h 92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8327" h="922216">
                <a:moveTo>
                  <a:pt x="5373" y="3175"/>
                </a:moveTo>
                <a:lnTo>
                  <a:pt x="165589" y="0"/>
                </a:lnTo>
                <a:lnTo>
                  <a:pt x="388327" y="456223"/>
                </a:lnTo>
                <a:lnTo>
                  <a:pt x="170473" y="919773"/>
                </a:lnTo>
                <a:lnTo>
                  <a:pt x="0" y="922216"/>
                </a:lnTo>
                <a:lnTo>
                  <a:pt x="224204" y="466481"/>
                </a:lnTo>
                <a:lnTo>
                  <a:pt x="5373" y="317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a:extLst>
              <a:ext uri="{FF2B5EF4-FFF2-40B4-BE49-F238E27FC236}">
                <a16:creationId xmlns:a16="http://schemas.microsoft.com/office/drawing/2014/main" id="{403FCF5E-5768-403B-F102-72B062DF8B27}"/>
              </a:ext>
            </a:extLst>
          </p:cNvPr>
          <p:cNvSpPr txBox="1">
            <a:spLocks/>
          </p:cNvSpPr>
          <p:nvPr/>
        </p:nvSpPr>
        <p:spPr>
          <a:xfrm>
            <a:off x="376518" y="365125"/>
            <a:ext cx="11456894" cy="1325563"/>
          </a:xfrm>
          <a:prstGeom prst="rect">
            <a:avLst/>
          </a:prstGeom>
        </p:spPr>
        <p:txBody>
          <a:bodyPr>
            <a:noAutofit/>
          </a:bodyPr>
          <a:lstStyle>
            <a:lvl1pPr algn="l" defTabSz="914400" rtl="0" eaLnBrk="1" latinLnBrk="0" hangingPunct="1">
              <a:lnSpc>
                <a:spcPct val="90000"/>
              </a:lnSpc>
              <a:spcBef>
                <a:spcPct val="0"/>
              </a:spcBef>
              <a:buNone/>
              <a:defRPr sz="4400" b="1" i="0" kern="1200">
                <a:solidFill>
                  <a:schemeClr val="tx2"/>
                </a:solidFill>
                <a:latin typeface="Roboto" panose="02000000000000000000" pitchFamily="2" charset="0"/>
                <a:ea typeface="Roboto" panose="02000000000000000000" pitchFamily="2" charset="0"/>
                <a:cs typeface="Roboto" panose="02000000000000000000" pitchFamily="2" charset="0"/>
              </a:defRPr>
            </a:lvl1pPr>
          </a:lstStyle>
          <a:p>
            <a:r>
              <a:rPr lang="en-US" dirty="0">
                <a:solidFill>
                  <a:schemeClr val="accent1"/>
                </a:solidFill>
              </a:rPr>
              <a:t>Solutions are at the ready to make methane visible and stop leakages.</a:t>
            </a:r>
          </a:p>
        </p:txBody>
      </p:sp>
    </p:spTree>
    <p:extLst>
      <p:ext uri="{BB962C8B-B14F-4D97-AF65-F5344CB8AC3E}">
        <p14:creationId xmlns:p14="http://schemas.microsoft.com/office/powerpoint/2010/main" val="16086392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2F4FC1-6DBE-BC9C-04D3-287AA85CBA73}"/>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54089AAF-AAFA-7F97-E109-C474F13C25BC}"/>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8298030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A7AD432-13F1-474D-85E8-170489326EFF}"/>
              </a:ext>
            </a:extLst>
          </p:cNvPr>
          <p:cNvSpPr/>
          <p:nvPr/>
        </p:nvSpPr>
        <p:spPr>
          <a:xfrm>
            <a:off x="1" y="9352"/>
            <a:ext cx="1819788" cy="883703"/>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1795"/>
          </a:p>
        </p:txBody>
      </p:sp>
      <p:sp>
        <p:nvSpPr>
          <p:cNvPr id="7" name="Text Box 24"/>
          <p:cNvSpPr txBox="1">
            <a:spLocks noChangeArrowheads="1"/>
          </p:cNvSpPr>
          <p:nvPr/>
        </p:nvSpPr>
        <p:spPr bwMode="auto">
          <a:xfrm>
            <a:off x="6896847" y="5219249"/>
            <a:ext cx="5109724" cy="276244"/>
          </a:xfrm>
          <a:prstGeom prst="rect">
            <a:avLst/>
          </a:prstGeom>
          <a:noFill/>
          <a:ln>
            <a:noFill/>
          </a:ln>
          <a:effectLst/>
        </p:spPr>
        <p:txBody>
          <a:bodyPr wrap="square">
            <a:spAutoFit/>
          </a:bodyPr>
          <a:lstStyle/>
          <a:p>
            <a:pPr algn="r"/>
            <a:r>
              <a:rPr lang="en-GB" sz="1197" dirty="0">
                <a:solidFill>
                  <a:schemeClr val="bg1"/>
                </a:solidFill>
                <a:latin typeface="Arial" panose="020B0604020202020204" pitchFamily="34" charset="0"/>
                <a:cs typeface="Arial" panose="020B0604020202020204" pitchFamily="34" charset="0"/>
              </a:rPr>
              <a:t> </a:t>
            </a:r>
          </a:p>
        </p:txBody>
      </p:sp>
      <p:sp>
        <p:nvSpPr>
          <p:cNvPr id="2" name="Text Box 99">
            <a:extLst>
              <a:ext uri="{FF2B5EF4-FFF2-40B4-BE49-F238E27FC236}">
                <a16:creationId xmlns:a16="http://schemas.microsoft.com/office/drawing/2014/main" id="{B06A49EE-0921-4A0E-99D9-29F5A2AC6E1F}"/>
              </a:ext>
            </a:extLst>
          </p:cNvPr>
          <p:cNvSpPr/>
          <p:nvPr/>
        </p:nvSpPr>
        <p:spPr>
          <a:xfrm>
            <a:off x="7268691" y="5584764"/>
            <a:ext cx="4737879" cy="2164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1197" dirty="0">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21BAEDDF-565B-3745-BEDC-4E46E21ED7B0}"/>
              </a:ext>
            </a:extLst>
          </p:cNvPr>
          <p:cNvPicPr>
            <a:picLocks noChangeAspect="1"/>
          </p:cNvPicPr>
          <p:nvPr/>
        </p:nvPicPr>
        <p:blipFill>
          <a:blip r:embed="rId3"/>
          <a:stretch>
            <a:fillRect/>
          </a:stretch>
        </p:blipFill>
        <p:spPr>
          <a:xfrm>
            <a:off x="53834" y="123776"/>
            <a:ext cx="1671941" cy="609459"/>
          </a:xfrm>
          <a:prstGeom prst="rect">
            <a:avLst/>
          </a:prstGeom>
          <a:noFill/>
          <a:scene3d>
            <a:camera prst="orthographicFront"/>
            <a:lightRig rig="threePt" dir="t"/>
          </a:scene3d>
          <a:sp3d prstMaterial="plastic">
            <a:bevelT w="0" h="0"/>
            <a:bevelB w="0" h="0"/>
            <a:contourClr>
              <a:schemeClr val="bg2"/>
            </a:contourClr>
          </a:sp3d>
        </p:spPr>
      </p:pic>
      <p:sp>
        <p:nvSpPr>
          <p:cNvPr id="3" name="Title 2">
            <a:extLst>
              <a:ext uri="{FF2B5EF4-FFF2-40B4-BE49-F238E27FC236}">
                <a16:creationId xmlns:a16="http://schemas.microsoft.com/office/drawing/2014/main" id="{930FB6DC-47EE-A14A-B8D9-173D765489DD}"/>
              </a:ext>
            </a:extLst>
          </p:cNvPr>
          <p:cNvSpPr>
            <a:spLocks noGrp="1"/>
          </p:cNvSpPr>
          <p:nvPr>
            <p:ph type="ctrTitle"/>
          </p:nvPr>
        </p:nvSpPr>
        <p:spPr>
          <a:xfrm>
            <a:off x="888953" y="2823771"/>
            <a:ext cx="10901244" cy="1197056"/>
          </a:xfrm>
          <a:ln>
            <a:noFill/>
          </a:ln>
          <a:scene3d>
            <a:camera prst="orthographicFront"/>
            <a:lightRig rig="threePt" dir="t"/>
          </a:scene3d>
          <a:sp3d>
            <a:bevelT w="0" h="0"/>
            <a:bevelB w="0" h="0"/>
            <a:contourClr>
              <a:schemeClr val="bg1"/>
            </a:contourClr>
          </a:sp3d>
        </p:spPr>
        <p:txBody>
          <a:bodyPr/>
          <a:lstStyle/>
          <a:p>
            <a:pPr algn="ctr"/>
            <a:r>
              <a:rPr lang="en-GB" sz="3590" dirty="0"/>
              <a:t>Anthropogenic Greenhouse Gas Monitoring with the Copernicus CO</a:t>
            </a:r>
            <a:r>
              <a:rPr lang="en-GB" sz="3590" baseline="-25000" dirty="0"/>
              <a:t>2</a:t>
            </a:r>
            <a:r>
              <a:rPr lang="en-GB" sz="3590" dirty="0"/>
              <a:t> Monitoring (CO2M) Mission </a:t>
            </a:r>
            <a:endParaRPr lang="en-NL" sz="3590" dirty="0"/>
          </a:p>
        </p:txBody>
      </p:sp>
      <p:sp>
        <p:nvSpPr>
          <p:cNvPr id="14" name="Text Placeholder 2">
            <a:extLst>
              <a:ext uri="{FF2B5EF4-FFF2-40B4-BE49-F238E27FC236}">
                <a16:creationId xmlns:a16="http://schemas.microsoft.com/office/drawing/2014/main" id="{F6E46CF5-976C-4241-ACF4-876A78E66DDB}"/>
              </a:ext>
            </a:extLst>
          </p:cNvPr>
          <p:cNvSpPr txBox="1">
            <a:spLocks/>
          </p:cNvSpPr>
          <p:nvPr/>
        </p:nvSpPr>
        <p:spPr>
          <a:xfrm>
            <a:off x="7637835" y="4700405"/>
            <a:ext cx="3890254" cy="1681687"/>
          </a:xfrm>
          <a:prstGeom prst="rect">
            <a:avLst/>
          </a:prstGeom>
        </p:spPr>
        <p:txBody>
          <a:bodyPr/>
          <a:lstStyle>
            <a:lvl1pPr marL="0" indent="0" algn="l" rtl="0" eaLnBrk="1" fontAlgn="base" hangingPunct="1">
              <a:lnSpc>
                <a:spcPct val="119000"/>
              </a:lnSpc>
              <a:spcBef>
                <a:spcPct val="20000"/>
              </a:spcBef>
              <a:spcAft>
                <a:spcPct val="0"/>
              </a:spcAft>
              <a:buClr>
                <a:srgbClr val="8197A6"/>
              </a:buClr>
              <a:buFont typeface="Arial" panose="020B0604020202020204" pitchFamily="34" charset="0"/>
              <a:buNone/>
              <a:defRPr lang="en-GB" sz="1800" dirty="0" smtClean="0">
                <a:solidFill>
                  <a:srgbClr val="8197A6"/>
                </a:solidFill>
                <a:latin typeface="Arial" panose="020B0604020202020204" pitchFamily="34" charset="0"/>
                <a:ea typeface="+mn-ea"/>
                <a:cs typeface="Arial" panose="020B0604020202020204" pitchFamily="34" charset="0"/>
              </a:defRPr>
            </a:lvl1pPr>
            <a:lvl2pPr marL="781326" indent="0" algn="l" rtl="0" eaLnBrk="1" fontAlgn="base" hangingPunct="1">
              <a:lnSpc>
                <a:spcPct val="119000"/>
              </a:lnSpc>
              <a:spcBef>
                <a:spcPct val="20000"/>
              </a:spcBef>
              <a:spcAft>
                <a:spcPct val="0"/>
              </a:spcAft>
              <a:buClr>
                <a:schemeClr val="accent1"/>
              </a:buClr>
              <a:buFont typeface="Verdana" pitchFamily="34" charset="0"/>
              <a:buNone/>
              <a:defRPr lang="en-GB" sz="1800" dirty="0" smtClean="0">
                <a:solidFill>
                  <a:srgbClr val="8197A6"/>
                </a:solidFill>
                <a:latin typeface="Arial" panose="020B0604020202020204" pitchFamily="34" charset="0"/>
                <a:ea typeface="+mn-ea"/>
                <a:cs typeface="Arial" panose="020B0604020202020204" pitchFamily="34" charset="0"/>
              </a:defRPr>
            </a:lvl2pPr>
            <a:lvl3pPr marL="1357771" indent="0" algn="l" rtl="0" eaLnBrk="1" fontAlgn="base" hangingPunct="1">
              <a:lnSpc>
                <a:spcPct val="119000"/>
              </a:lnSpc>
              <a:spcBef>
                <a:spcPct val="20000"/>
              </a:spcBef>
              <a:spcAft>
                <a:spcPct val="0"/>
              </a:spcAft>
              <a:buClr>
                <a:schemeClr val="accent1"/>
              </a:buClr>
              <a:buFont typeface="Verdana" pitchFamily="34" charset="0"/>
              <a:buNone/>
              <a:defRPr lang="en-GB" sz="1800" dirty="0" smtClean="0">
                <a:solidFill>
                  <a:srgbClr val="8197A6"/>
                </a:solidFill>
                <a:latin typeface="Arial" panose="020B0604020202020204" pitchFamily="34" charset="0"/>
                <a:ea typeface="+mn-ea"/>
                <a:cs typeface="Arial" panose="020B0604020202020204" pitchFamily="34" charset="0"/>
              </a:defRPr>
            </a:lvl3pPr>
            <a:lvl4pPr marL="1934216" indent="0" algn="l" rtl="0" eaLnBrk="1" fontAlgn="base" hangingPunct="1">
              <a:lnSpc>
                <a:spcPct val="119000"/>
              </a:lnSpc>
              <a:spcBef>
                <a:spcPct val="20000"/>
              </a:spcBef>
              <a:spcAft>
                <a:spcPct val="0"/>
              </a:spcAft>
              <a:buClr>
                <a:schemeClr val="accent1"/>
              </a:buClr>
              <a:buFont typeface="Verdana" pitchFamily="34" charset="0"/>
              <a:buNone/>
              <a:defRPr lang="en-GB" sz="1800" dirty="0" smtClean="0">
                <a:solidFill>
                  <a:srgbClr val="8197A6"/>
                </a:solidFill>
                <a:latin typeface="Arial" panose="020B0604020202020204" pitchFamily="34" charset="0"/>
                <a:ea typeface="+mn-ea"/>
                <a:cs typeface="Arial" panose="020B0604020202020204" pitchFamily="34" charset="0"/>
              </a:defRPr>
            </a:lvl4pPr>
            <a:lvl5pPr marL="2510661" indent="0" algn="l" rtl="0" eaLnBrk="1" fontAlgn="base" hangingPunct="1">
              <a:lnSpc>
                <a:spcPct val="119000"/>
              </a:lnSpc>
              <a:spcBef>
                <a:spcPct val="20000"/>
              </a:spcBef>
              <a:spcAft>
                <a:spcPct val="0"/>
              </a:spcAft>
              <a:buClr>
                <a:schemeClr val="accent1"/>
              </a:buClr>
              <a:buFont typeface="Verdana" pitchFamily="34" charset="0"/>
              <a:buNone/>
              <a:defRPr lang="en-GB" sz="1800" dirty="0" smtClean="0">
                <a:solidFill>
                  <a:srgbClr val="8197A6"/>
                </a:solidFill>
                <a:latin typeface="Arial" panose="020B0604020202020204" pitchFamily="34" charset="0"/>
                <a:ea typeface="+mn-ea"/>
                <a:cs typeface="Arial" panose="020B0604020202020204" pitchFamily="34" charset="0"/>
              </a:defRPr>
            </a:lvl5pPr>
            <a:lvl6pPr marL="3356615" indent="-404264" algn="l" rtl="0" eaLnBrk="1" fontAlgn="base" hangingPunct="1">
              <a:lnSpc>
                <a:spcPct val="119000"/>
              </a:lnSpc>
              <a:spcBef>
                <a:spcPct val="20000"/>
              </a:spcBef>
              <a:spcAft>
                <a:spcPct val="0"/>
              </a:spcAft>
              <a:buClr>
                <a:schemeClr val="accent1"/>
              </a:buClr>
              <a:buFont typeface="Verdana" pitchFamily="34" charset="0"/>
              <a:buChar char="–"/>
              <a:defRPr sz="1543">
                <a:solidFill>
                  <a:schemeClr val="bg2"/>
                </a:solidFill>
                <a:latin typeface="+mn-lt"/>
              </a:defRPr>
            </a:lvl6pPr>
            <a:lvl7pPr marL="3797630" indent="-404264" algn="l" rtl="0" eaLnBrk="1" fontAlgn="base" hangingPunct="1">
              <a:lnSpc>
                <a:spcPct val="119000"/>
              </a:lnSpc>
              <a:spcBef>
                <a:spcPct val="20000"/>
              </a:spcBef>
              <a:spcAft>
                <a:spcPct val="0"/>
              </a:spcAft>
              <a:buClr>
                <a:schemeClr val="accent1"/>
              </a:buClr>
              <a:buFont typeface="Verdana" pitchFamily="34" charset="0"/>
              <a:buChar char="–"/>
              <a:defRPr sz="1543">
                <a:solidFill>
                  <a:schemeClr val="bg2"/>
                </a:solidFill>
                <a:latin typeface="+mn-lt"/>
              </a:defRPr>
            </a:lvl7pPr>
            <a:lvl8pPr marL="4238645" indent="-404264" algn="l" rtl="0" eaLnBrk="1" fontAlgn="base" hangingPunct="1">
              <a:lnSpc>
                <a:spcPct val="119000"/>
              </a:lnSpc>
              <a:spcBef>
                <a:spcPct val="20000"/>
              </a:spcBef>
              <a:spcAft>
                <a:spcPct val="0"/>
              </a:spcAft>
              <a:buClr>
                <a:schemeClr val="accent1"/>
              </a:buClr>
              <a:buFont typeface="Verdana" pitchFamily="34" charset="0"/>
              <a:buChar char="–"/>
              <a:defRPr sz="1543">
                <a:solidFill>
                  <a:schemeClr val="bg2"/>
                </a:solidFill>
                <a:latin typeface="+mn-lt"/>
              </a:defRPr>
            </a:lvl8pPr>
            <a:lvl9pPr marL="4679660" indent="-404264" algn="l" rtl="0" eaLnBrk="1" fontAlgn="base" hangingPunct="1">
              <a:lnSpc>
                <a:spcPct val="119000"/>
              </a:lnSpc>
              <a:spcBef>
                <a:spcPct val="20000"/>
              </a:spcBef>
              <a:spcAft>
                <a:spcPct val="0"/>
              </a:spcAft>
              <a:buClr>
                <a:schemeClr val="accent1"/>
              </a:buClr>
              <a:buFont typeface="Verdana" pitchFamily="34" charset="0"/>
              <a:buChar char="–"/>
              <a:defRPr sz="1543">
                <a:solidFill>
                  <a:schemeClr val="bg2"/>
                </a:solidFill>
                <a:latin typeface="+mn-lt"/>
              </a:defRPr>
            </a:lvl9pPr>
          </a:lstStyle>
          <a:p>
            <a:pPr algn="r">
              <a:spcBef>
                <a:spcPts val="0"/>
              </a:spcBef>
            </a:pPr>
            <a:r>
              <a:rPr lang="en-GB" sz="1995" kern="0" dirty="0" err="1">
                <a:solidFill>
                  <a:schemeClr val="bg1"/>
                </a:solidFill>
              </a:rPr>
              <a:t>Dr.</a:t>
            </a:r>
            <a:r>
              <a:rPr lang="en-GB" sz="1995" kern="0" dirty="0">
                <a:solidFill>
                  <a:schemeClr val="bg1"/>
                </a:solidFill>
              </a:rPr>
              <a:t> Yasjka Meijer</a:t>
            </a:r>
          </a:p>
          <a:p>
            <a:pPr algn="r">
              <a:spcBef>
                <a:spcPts val="0"/>
              </a:spcBef>
            </a:pPr>
            <a:r>
              <a:rPr lang="en-GB" sz="1995" kern="0" dirty="0">
                <a:solidFill>
                  <a:schemeClr val="bg1"/>
                </a:solidFill>
              </a:rPr>
              <a:t>European Space Agency (ESA)</a:t>
            </a:r>
          </a:p>
          <a:p>
            <a:pPr algn="r">
              <a:spcBef>
                <a:spcPts val="0"/>
              </a:spcBef>
            </a:pPr>
            <a:r>
              <a:rPr lang="en-GB" sz="1995" kern="0" dirty="0">
                <a:solidFill>
                  <a:schemeClr val="bg1"/>
                </a:solidFill>
              </a:rPr>
              <a:t>CO2M Mission Scientist &amp;</a:t>
            </a:r>
          </a:p>
          <a:p>
            <a:pPr algn="r">
              <a:spcBef>
                <a:spcPts val="0"/>
              </a:spcBef>
            </a:pPr>
            <a:r>
              <a:rPr lang="en-GB" sz="1995" kern="0">
                <a:solidFill>
                  <a:schemeClr val="bg1"/>
                </a:solidFill>
              </a:rPr>
              <a:t>GHG </a:t>
            </a:r>
            <a:r>
              <a:rPr lang="en-GB" sz="1995" kern="0" dirty="0">
                <a:solidFill>
                  <a:schemeClr val="bg1"/>
                </a:solidFill>
              </a:rPr>
              <a:t>Task Team Lead</a:t>
            </a:r>
          </a:p>
        </p:txBody>
      </p:sp>
      <p:pic>
        <p:nvPicPr>
          <p:cNvPr id="4" name="Picture 3">
            <a:extLst>
              <a:ext uri="{FF2B5EF4-FFF2-40B4-BE49-F238E27FC236}">
                <a16:creationId xmlns:a16="http://schemas.microsoft.com/office/drawing/2014/main" id="{D97E71F3-819A-F472-56B6-5E7D3C2BD811}"/>
              </a:ext>
            </a:extLst>
          </p:cNvPr>
          <p:cNvPicPr>
            <a:picLocks noChangeAspect="1"/>
          </p:cNvPicPr>
          <p:nvPr/>
        </p:nvPicPr>
        <p:blipFill>
          <a:blip r:embed="rId4"/>
          <a:srcRect l="3334" r="3334"/>
          <a:stretch/>
        </p:blipFill>
        <p:spPr>
          <a:xfrm>
            <a:off x="2906724" y="451202"/>
            <a:ext cx="4793685" cy="2372569"/>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 calcmode="lin" valueType="num">
                                      <p:cBhvr additive="base">
                                        <p:cTn id="7" dur="500" fill="hold"/>
                                        <p:tgtEl>
                                          <p:spTgt spid="7">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7">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nodePh="1">
                                  <p:stCondLst>
                                    <p:cond delay="0"/>
                                  </p:stCondLst>
                                  <p:endCondLst>
                                    <p:cond evt="begin" delay="0">
                                      <p:tn val="9"/>
                                    </p:cond>
                                  </p:endCondLst>
                                  <p:childTnLst>
                                    <p:set>
                                      <p:cBhvr>
                                        <p:cTn id="10" dur="1" fill="hold">
                                          <p:stCondLst>
                                            <p:cond delay="0"/>
                                          </p:stCondLst>
                                        </p:cTn>
                                        <p:tgtEl>
                                          <p:spTgt spid="2">
                                            <p:txEl>
                                              <p:pRg st="0" end="0"/>
                                            </p:txEl>
                                          </p:spTgt>
                                        </p:tgtEl>
                                        <p:attrNameLst>
                                          <p:attrName>style.visibility</p:attrName>
                                        </p:attrNameLst>
                                      </p:cBhvr>
                                      <p:to>
                                        <p:strVal val="visible"/>
                                      </p:to>
                                    </p:set>
                                    <p:anim calcmode="lin" valueType="num">
                                      <p:cBhvr additive="base">
                                        <p:cTn id="11" dur="500" fill="hold"/>
                                        <p:tgtEl>
                                          <p:spTgt spid="2">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2">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allAtOnce"/>
      <p:bldP spid="2" grpId="0" build="allAtOnce"/>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10922F-4F88-F94E-98D5-42408776BA43}"/>
              </a:ext>
            </a:extLst>
          </p:cNvPr>
          <p:cNvSpPr>
            <a:spLocks noGrp="1"/>
          </p:cNvSpPr>
          <p:nvPr>
            <p:ph type="title"/>
          </p:nvPr>
        </p:nvSpPr>
        <p:spPr>
          <a:xfrm>
            <a:off x="215411" y="-14848"/>
            <a:ext cx="10081234" cy="920812"/>
          </a:xfrm>
        </p:spPr>
        <p:txBody>
          <a:bodyPr>
            <a:normAutofit fontScale="90000"/>
          </a:bodyPr>
          <a:lstStyle/>
          <a:p>
            <a:r>
              <a:rPr lang="en-GB" dirty="0"/>
              <a:t>Monitoring &amp; Verification Support Capacity</a:t>
            </a:r>
            <a:br>
              <a:rPr lang="en-GB" dirty="0"/>
            </a:br>
            <a:r>
              <a:rPr lang="en-GB" sz="2394" dirty="0">
                <a:solidFill>
                  <a:srgbClr val="C00000"/>
                </a:solidFill>
              </a:rPr>
              <a:t>System requirements</a:t>
            </a:r>
            <a:endParaRPr lang="en-NL" dirty="0"/>
          </a:p>
        </p:txBody>
      </p:sp>
      <p:sp>
        <p:nvSpPr>
          <p:cNvPr id="4" name="Content Placeholder 2">
            <a:extLst>
              <a:ext uri="{FF2B5EF4-FFF2-40B4-BE49-F238E27FC236}">
                <a16:creationId xmlns:a16="http://schemas.microsoft.com/office/drawing/2014/main" id="{A1589608-8E3B-B846-917D-E09B0B509206}"/>
              </a:ext>
            </a:extLst>
          </p:cNvPr>
          <p:cNvSpPr txBox="1">
            <a:spLocks/>
          </p:cNvSpPr>
          <p:nvPr/>
        </p:nvSpPr>
        <p:spPr bwMode="auto">
          <a:xfrm>
            <a:off x="351006" y="1089048"/>
            <a:ext cx="9736372" cy="527356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0942" tIns="45471" rIns="90942" bIns="45471" numCol="1" anchor="t" anchorCtr="0" compatLnSpc="1">
            <a:prstTxWarp prst="textNoShape">
              <a:avLst/>
            </a:prstTxWarp>
          </a:bodyPr>
          <a:lstStyle>
            <a:lvl1pPr marL="0" indent="0" algn="l" rtl="0" eaLnBrk="0" fontAlgn="base" hangingPunct="0">
              <a:lnSpc>
                <a:spcPct val="119000"/>
              </a:lnSpc>
              <a:spcBef>
                <a:spcPct val="20000"/>
              </a:spcBef>
              <a:spcAft>
                <a:spcPct val="0"/>
              </a:spcAft>
              <a:buClr>
                <a:srgbClr val="8197A6"/>
              </a:buClr>
              <a:buFont typeface="Arial" panose="020B0604020202020204" pitchFamily="34" charset="0"/>
              <a:buNone/>
              <a:defRPr lang="en-US" altLang="en-US" sz="1800">
                <a:solidFill>
                  <a:srgbClr val="8197A6"/>
                </a:solidFill>
                <a:latin typeface="Arial" panose="020B0604020202020204" pitchFamily="34" charset="0"/>
                <a:ea typeface="MS PGothic" pitchFamily="34" charset="-128"/>
                <a:cs typeface="Arial" panose="020B0604020202020204" pitchFamily="34" charset="0"/>
              </a:defRPr>
            </a:lvl1pPr>
            <a:lvl2pPr marL="781326" indent="0" algn="l" rtl="0" eaLnBrk="0" fontAlgn="base" hangingPunct="0">
              <a:lnSpc>
                <a:spcPct val="119000"/>
              </a:lnSpc>
              <a:spcBef>
                <a:spcPct val="20000"/>
              </a:spcBef>
              <a:spcAft>
                <a:spcPct val="0"/>
              </a:spcAft>
              <a:buClr>
                <a:schemeClr val="accent1"/>
              </a:buClr>
              <a:buFont typeface="Verdana" pitchFamily="34" charset="0"/>
              <a:buNone/>
              <a:defRPr lang="en-US" altLang="en-US" sz="1800">
                <a:solidFill>
                  <a:srgbClr val="8197A6"/>
                </a:solidFill>
                <a:latin typeface="Arial" panose="020B0604020202020204" pitchFamily="34" charset="0"/>
                <a:ea typeface="MS PGothic" pitchFamily="34" charset="-128"/>
                <a:cs typeface="Arial" panose="020B0604020202020204" pitchFamily="34" charset="0"/>
              </a:defRPr>
            </a:lvl2pPr>
            <a:lvl3pPr marL="1357771" indent="0" algn="l" rtl="0" eaLnBrk="0" fontAlgn="base" hangingPunct="0">
              <a:lnSpc>
                <a:spcPct val="119000"/>
              </a:lnSpc>
              <a:spcBef>
                <a:spcPct val="20000"/>
              </a:spcBef>
              <a:spcAft>
                <a:spcPct val="0"/>
              </a:spcAft>
              <a:buClr>
                <a:schemeClr val="accent1"/>
              </a:buClr>
              <a:buFont typeface="Verdana" pitchFamily="34" charset="0"/>
              <a:buNone/>
              <a:defRPr lang="en-US" altLang="en-US" sz="1800">
                <a:solidFill>
                  <a:srgbClr val="8197A6"/>
                </a:solidFill>
                <a:latin typeface="Arial" panose="020B0604020202020204" pitchFamily="34" charset="0"/>
                <a:ea typeface="MS PGothic" pitchFamily="34" charset="-128"/>
                <a:cs typeface="Arial" panose="020B0604020202020204" pitchFamily="34" charset="0"/>
              </a:defRPr>
            </a:lvl3pPr>
            <a:lvl4pPr marL="1934216" indent="0" algn="l" rtl="0" eaLnBrk="0" fontAlgn="base" hangingPunct="0">
              <a:lnSpc>
                <a:spcPct val="119000"/>
              </a:lnSpc>
              <a:spcBef>
                <a:spcPct val="20000"/>
              </a:spcBef>
              <a:spcAft>
                <a:spcPct val="0"/>
              </a:spcAft>
              <a:buClr>
                <a:schemeClr val="accent1"/>
              </a:buClr>
              <a:buFont typeface="Verdana" pitchFamily="34" charset="0"/>
              <a:buNone/>
              <a:defRPr lang="en-US" altLang="en-US" sz="1800">
                <a:solidFill>
                  <a:srgbClr val="8197A6"/>
                </a:solidFill>
                <a:latin typeface="Arial" charset="0"/>
                <a:ea typeface="MS PGothic" pitchFamily="34" charset="-128"/>
                <a:cs typeface="Arial" charset="0"/>
              </a:defRPr>
            </a:lvl4pPr>
            <a:lvl5pPr marL="2510661" indent="0" algn="l" rtl="0" eaLnBrk="0" fontAlgn="base" hangingPunct="0">
              <a:lnSpc>
                <a:spcPct val="119000"/>
              </a:lnSpc>
              <a:spcBef>
                <a:spcPct val="20000"/>
              </a:spcBef>
              <a:spcAft>
                <a:spcPct val="0"/>
              </a:spcAft>
              <a:buClr>
                <a:schemeClr val="accent1"/>
              </a:buClr>
              <a:buFont typeface="Verdana" pitchFamily="34" charset="0"/>
              <a:buNone/>
              <a:defRPr lang="en-GB" altLang="en-US" sz="1800">
                <a:solidFill>
                  <a:srgbClr val="8197A6"/>
                </a:solidFill>
                <a:latin typeface="Arial" charset="0"/>
                <a:ea typeface="MS PGothic" pitchFamily="34" charset="-128"/>
                <a:cs typeface="Arial" charset="0"/>
              </a:defRPr>
            </a:lvl5pPr>
            <a:lvl6pPr marL="3356615" indent="-404264" algn="l" rtl="0" fontAlgn="base">
              <a:lnSpc>
                <a:spcPct val="119000"/>
              </a:lnSpc>
              <a:spcBef>
                <a:spcPct val="20000"/>
              </a:spcBef>
              <a:spcAft>
                <a:spcPct val="0"/>
              </a:spcAft>
              <a:buClr>
                <a:schemeClr val="accent1"/>
              </a:buClr>
              <a:buFont typeface="Verdana" pitchFamily="34" charset="0"/>
              <a:buChar char="–"/>
              <a:defRPr sz="1543">
                <a:solidFill>
                  <a:schemeClr val="bg2"/>
                </a:solidFill>
                <a:latin typeface="+mn-lt"/>
              </a:defRPr>
            </a:lvl6pPr>
            <a:lvl7pPr marL="3797630" indent="-404264" algn="l" rtl="0" fontAlgn="base">
              <a:lnSpc>
                <a:spcPct val="119000"/>
              </a:lnSpc>
              <a:spcBef>
                <a:spcPct val="20000"/>
              </a:spcBef>
              <a:spcAft>
                <a:spcPct val="0"/>
              </a:spcAft>
              <a:buClr>
                <a:schemeClr val="accent1"/>
              </a:buClr>
              <a:buFont typeface="Verdana" pitchFamily="34" charset="0"/>
              <a:buChar char="–"/>
              <a:defRPr sz="1543">
                <a:solidFill>
                  <a:schemeClr val="bg2"/>
                </a:solidFill>
                <a:latin typeface="+mn-lt"/>
              </a:defRPr>
            </a:lvl7pPr>
            <a:lvl8pPr marL="4238645" indent="-404264" algn="l" rtl="0" fontAlgn="base">
              <a:lnSpc>
                <a:spcPct val="119000"/>
              </a:lnSpc>
              <a:spcBef>
                <a:spcPct val="20000"/>
              </a:spcBef>
              <a:spcAft>
                <a:spcPct val="0"/>
              </a:spcAft>
              <a:buClr>
                <a:schemeClr val="accent1"/>
              </a:buClr>
              <a:buFont typeface="Verdana" pitchFamily="34" charset="0"/>
              <a:buChar char="–"/>
              <a:defRPr sz="1543">
                <a:solidFill>
                  <a:schemeClr val="bg2"/>
                </a:solidFill>
                <a:latin typeface="+mn-lt"/>
              </a:defRPr>
            </a:lvl8pPr>
            <a:lvl9pPr marL="4679660" indent="-404264" algn="l" rtl="0" fontAlgn="base">
              <a:lnSpc>
                <a:spcPct val="119000"/>
              </a:lnSpc>
              <a:spcBef>
                <a:spcPct val="20000"/>
              </a:spcBef>
              <a:spcAft>
                <a:spcPct val="0"/>
              </a:spcAft>
              <a:buClr>
                <a:schemeClr val="accent1"/>
              </a:buClr>
              <a:buFont typeface="Verdana" pitchFamily="34" charset="0"/>
              <a:buChar char="–"/>
              <a:defRPr sz="1543">
                <a:solidFill>
                  <a:schemeClr val="bg2"/>
                </a:solidFill>
                <a:latin typeface="+mn-lt"/>
              </a:defRPr>
            </a:lvl9pPr>
          </a:lstStyle>
          <a:p>
            <a:pPr marL="359998" indent="-359998">
              <a:spcBef>
                <a:spcPts val="0"/>
              </a:spcBef>
              <a:spcAft>
                <a:spcPts val="1792"/>
              </a:spcAft>
              <a:buFont typeface="+mj-lt"/>
              <a:buAutoNum type="arabicPeriod"/>
            </a:pPr>
            <a:r>
              <a:rPr lang="en-GB" sz="2188" b="1" kern="0" dirty="0">
                <a:solidFill>
                  <a:srgbClr val="C00000"/>
                </a:solidFill>
              </a:rPr>
              <a:t>Detection of emitting hot spots</a:t>
            </a:r>
            <a:r>
              <a:rPr lang="en-GB" sz="2188" b="1" kern="0" dirty="0">
                <a:solidFill>
                  <a:schemeClr val="accent2"/>
                </a:solidFill>
              </a:rPr>
              <a:t> </a:t>
            </a:r>
            <a:br>
              <a:rPr lang="en-GB" sz="2188" b="1" kern="0" dirty="0">
                <a:solidFill>
                  <a:schemeClr val="accent2"/>
                </a:solidFill>
              </a:rPr>
            </a:br>
            <a:r>
              <a:rPr lang="en-GB" sz="2188" kern="0" dirty="0">
                <a:solidFill>
                  <a:srgbClr val="002060"/>
                </a:solidFill>
              </a:rPr>
              <a:t>such as megacities or power plants</a:t>
            </a:r>
          </a:p>
          <a:p>
            <a:pPr marL="359998" indent="-359998">
              <a:spcBef>
                <a:spcPts val="0"/>
              </a:spcBef>
              <a:spcAft>
                <a:spcPts val="1792"/>
              </a:spcAft>
              <a:buFont typeface="+mj-lt"/>
              <a:buAutoNum type="arabicPeriod"/>
            </a:pPr>
            <a:r>
              <a:rPr lang="en-GB" sz="2188" b="1" kern="0" dirty="0">
                <a:solidFill>
                  <a:srgbClr val="C00000"/>
                </a:solidFill>
              </a:rPr>
              <a:t>Monitoring the hot spot emissions </a:t>
            </a:r>
            <a:br>
              <a:rPr lang="en-GB" sz="2188" b="1" kern="0" dirty="0">
                <a:solidFill>
                  <a:srgbClr val="002060"/>
                </a:solidFill>
              </a:rPr>
            </a:br>
            <a:r>
              <a:rPr lang="en-GB" sz="2188" kern="0" dirty="0">
                <a:solidFill>
                  <a:srgbClr val="002060"/>
                </a:solidFill>
              </a:rPr>
              <a:t>to assess </a:t>
            </a:r>
            <a:r>
              <a:rPr lang="en-GB" sz="2188" kern="0" dirty="0">
                <a:solidFill>
                  <a:srgbClr val="00468C"/>
                </a:solidFill>
              </a:rPr>
              <a:t>reductions or increase in </a:t>
            </a:r>
            <a:r>
              <a:rPr lang="en-GB" sz="2188" kern="0" dirty="0">
                <a:solidFill>
                  <a:srgbClr val="002060"/>
                </a:solidFill>
              </a:rPr>
              <a:t>emission</a:t>
            </a:r>
            <a:r>
              <a:rPr lang="en-GB" sz="2188" kern="0" dirty="0">
                <a:solidFill>
                  <a:srgbClr val="00468C"/>
                </a:solidFill>
              </a:rPr>
              <a:t>s</a:t>
            </a:r>
          </a:p>
          <a:p>
            <a:pPr marL="359998" indent="-359998">
              <a:spcBef>
                <a:spcPts val="0"/>
              </a:spcBef>
              <a:spcAft>
                <a:spcPts val="1792"/>
              </a:spcAft>
              <a:buFont typeface="+mj-lt"/>
              <a:buAutoNum type="arabicPeriod"/>
            </a:pPr>
            <a:r>
              <a:rPr lang="en-GB" sz="2188" b="1" kern="0" dirty="0">
                <a:solidFill>
                  <a:srgbClr val="C00000"/>
                </a:solidFill>
              </a:rPr>
              <a:t>Assessing emission changes against local reduction targets</a:t>
            </a:r>
            <a:r>
              <a:rPr lang="en-GB" sz="2188" b="1" kern="0" dirty="0">
                <a:solidFill>
                  <a:schemeClr val="accent2"/>
                </a:solidFill>
              </a:rPr>
              <a:t> </a:t>
            </a:r>
            <a:br>
              <a:rPr lang="en-GB" sz="2188" b="1" kern="0" dirty="0">
                <a:solidFill>
                  <a:srgbClr val="002060"/>
                </a:solidFill>
              </a:rPr>
            </a:br>
            <a:r>
              <a:rPr lang="en-GB" sz="2188" kern="0" dirty="0">
                <a:solidFill>
                  <a:srgbClr val="002060"/>
                </a:solidFill>
              </a:rPr>
              <a:t>to</a:t>
            </a:r>
            <a:r>
              <a:rPr lang="en-GB" sz="2188" kern="0" dirty="0">
                <a:solidFill>
                  <a:srgbClr val="00468C"/>
                </a:solidFill>
              </a:rPr>
              <a:t> monitor </a:t>
            </a:r>
            <a:r>
              <a:rPr lang="en-GB" sz="2188" kern="0" dirty="0">
                <a:solidFill>
                  <a:srgbClr val="002060"/>
                </a:solidFill>
              </a:rPr>
              <a:t>impacts</a:t>
            </a:r>
            <a:r>
              <a:rPr lang="en-GB" sz="2188" kern="0" dirty="0">
                <a:solidFill>
                  <a:srgbClr val="00468C"/>
                </a:solidFill>
              </a:rPr>
              <a:t> of the Nationally Determined Contributions</a:t>
            </a:r>
          </a:p>
          <a:p>
            <a:pPr marL="359998" indent="-359998">
              <a:spcBef>
                <a:spcPts val="0"/>
              </a:spcBef>
              <a:spcAft>
                <a:spcPts val="1792"/>
              </a:spcAft>
              <a:buFont typeface="+mj-lt"/>
              <a:buAutoNum type="arabicPeriod"/>
            </a:pPr>
            <a:r>
              <a:rPr lang="en-GB" sz="2188" b="1" kern="0" dirty="0">
                <a:solidFill>
                  <a:srgbClr val="C00000"/>
                </a:solidFill>
              </a:rPr>
              <a:t>Assessing the national emissions and changes</a:t>
            </a:r>
            <a:r>
              <a:rPr lang="en-GB" sz="2188" b="1" kern="0" dirty="0">
                <a:solidFill>
                  <a:schemeClr val="accent2"/>
                </a:solidFill>
              </a:rPr>
              <a:t> </a:t>
            </a:r>
            <a:br>
              <a:rPr lang="en-GB" sz="2188" b="1" kern="0" dirty="0">
                <a:solidFill>
                  <a:srgbClr val="002060"/>
                </a:solidFill>
              </a:rPr>
            </a:br>
            <a:r>
              <a:rPr lang="en-GB" sz="2188" kern="0" dirty="0">
                <a:solidFill>
                  <a:srgbClr val="00468C"/>
                </a:solidFill>
              </a:rPr>
              <a:t>in 5-year time steps to estimate the Global Stock Take</a:t>
            </a:r>
            <a:br>
              <a:rPr lang="en-GB" sz="2188" kern="0" dirty="0">
                <a:solidFill>
                  <a:srgbClr val="00468C"/>
                </a:solidFill>
              </a:rPr>
            </a:br>
            <a:endParaRPr lang="en-GB" sz="2188" kern="0" dirty="0">
              <a:solidFill>
                <a:srgbClr val="00468C"/>
              </a:solidFill>
            </a:endParaRPr>
          </a:p>
          <a:p>
            <a:pPr marL="359998" indent="-359998">
              <a:spcBef>
                <a:spcPts val="0"/>
              </a:spcBef>
              <a:spcAft>
                <a:spcPts val="1194"/>
              </a:spcAft>
              <a:buFont typeface="+mj-lt"/>
              <a:buAutoNum type="arabicPeriod"/>
            </a:pPr>
            <a:endParaRPr lang="en-GB" sz="2188" kern="0" dirty="0">
              <a:solidFill>
                <a:srgbClr val="00468C"/>
              </a:solidFill>
            </a:endParaRPr>
          </a:p>
        </p:txBody>
      </p:sp>
      <p:pic>
        <p:nvPicPr>
          <p:cNvPr id="5" name="Picture 4">
            <a:extLst>
              <a:ext uri="{FF2B5EF4-FFF2-40B4-BE49-F238E27FC236}">
                <a16:creationId xmlns:a16="http://schemas.microsoft.com/office/drawing/2014/main" id="{33950281-3177-E444-A618-1E10DEF63CB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626010">
            <a:off x="10040499" y="3067646"/>
            <a:ext cx="963712" cy="1364270"/>
          </a:xfrm>
          <a:prstGeom prst="rect">
            <a:avLst/>
          </a:prstGeom>
          <a:effectLst>
            <a:outerShdw blurRad="76200" dir="18900000" sy="23000" kx="-1200000" algn="bl" rotWithShape="0">
              <a:prstClr val="black">
                <a:alpha val="20000"/>
              </a:prstClr>
            </a:outerShdw>
          </a:effectLst>
        </p:spPr>
      </p:pic>
      <p:pic>
        <p:nvPicPr>
          <p:cNvPr id="6" name="Picture 5">
            <a:extLst>
              <a:ext uri="{FF2B5EF4-FFF2-40B4-BE49-F238E27FC236}">
                <a16:creationId xmlns:a16="http://schemas.microsoft.com/office/drawing/2014/main" id="{EF10FD57-C819-D345-BF4A-0A7DD3F91920}"/>
              </a:ext>
            </a:extLst>
          </p:cNvPr>
          <p:cNvPicPr>
            <a:picLocks noChangeAspect="1"/>
          </p:cNvPicPr>
          <p:nvPr/>
        </p:nvPicPr>
        <p:blipFill rotWithShape="1">
          <a:blip r:embed="rId3">
            <a:extLst>
              <a:ext uri="{28A0092B-C50C-407E-A947-70E740481C1C}">
                <a14:useLocalDpi xmlns:a14="http://schemas.microsoft.com/office/drawing/2010/main" val="0"/>
              </a:ext>
            </a:extLst>
          </a:blip>
          <a:srcRect l="49228"/>
          <a:stretch/>
        </p:blipFill>
        <p:spPr>
          <a:xfrm rot="1479466">
            <a:off x="10025304" y="4703321"/>
            <a:ext cx="994105" cy="1364270"/>
          </a:xfrm>
          <a:prstGeom prst="rect">
            <a:avLst/>
          </a:prstGeom>
          <a:effectLst>
            <a:outerShdw blurRad="76200" dir="18900000" sy="23000" kx="-1200000" algn="bl" rotWithShape="0">
              <a:prstClr val="black">
                <a:alpha val="20000"/>
              </a:prstClr>
            </a:outerShdw>
          </a:effectLst>
        </p:spPr>
      </p:pic>
      <p:pic>
        <p:nvPicPr>
          <p:cNvPr id="7" name="Image 1">
            <a:extLst>
              <a:ext uri="{FF2B5EF4-FFF2-40B4-BE49-F238E27FC236}">
                <a16:creationId xmlns:a16="http://schemas.microsoft.com/office/drawing/2014/main" id="{A5E298A1-1EAB-D449-A875-12E8F593A5B7}"/>
              </a:ext>
            </a:extLst>
          </p:cNvPr>
          <p:cNvPicPr>
            <a:picLocks noChangeAspect="1"/>
          </p:cNvPicPr>
          <p:nvPr/>
        </p:nvPicPr>
        <p:blipFill>
          <a:blip r:embed="rId4"/>
          <a:stretch>
            <a:fillRect/>
          </a:stretch>
        </p:blipFill>
        <p:spPr>
          <a:xfrm rot="1626010">
            <a:off x="10024982" y="1407071"/>
            <a:ext cx="994746" cy="1364270"/>
          </a:xfrm>
          <a:prstGeom prst="rect">
            <a:avLst/>
          </a:prstGeom>
          <a:effectLst>
            <a:outerShdw blurRad="76200" dir="18900000" sy="23000" kx="-1200000" algn="bl" rotWithShape="0">
              <a:prstClr val="black">
                <a:alpha val="20000"/>
              </a:prstClr>
            </a:outerShdw>
          </a:effectLst>
        </p:spPr>
      </p:pic>
      <p:pic>
        <p:nvPicPr>
          <p:cNvPr id="8" name="Picture 7">
            <a:extLst>
              <a:ext uri="{FF2B5EF4-FFF2-40B4-BE49-F238E27FC236}">
                <a16:creationId xmlns:a16="http://schemas.microsoft.com/office/drawing/2014/main" id="{B79F98C7-79C6-7345-9CA7-942FA6EBF6B7}"/>
              </a:ext>
            </a:extLst>
          </p:cNvPr>
          <p:cNvPicPr>
            <a:picLocks noChangeAspect="1"/>
          </p:cNvPicPr>
          <p:nvPr/>
        </p:nvPicPr>
        <p:blipFill>
          <a:blip r:embed="rId5"/>
          <a:stretch>
            <a:fillRect/>
          </a:stretch>
        </p:blipFill>
        <p:spPr>
          <a:xfrm>
            <a:off x="9211723" y="164653"/>
            <a:ext cx="1418471" cy="517063"/>
          </a:xfrm>
          <a:prstGeom prst="rect">
            <a:avLst/>
          </a:prstGeom>
        </p:spPr>
      </p:pic>
    </p:spTree>
    <p:extLst>
      <p:ext uri="{BB962C8B-B14F-4D97-AF65-F5344CB8AC3E}">
        <p14:creationId xmlns:p14="http://schemas.microsoft.com/office/powerpoint/2010/main" val="31276551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10922F-4F88-F94E-98D5-42408776BA43}"/>
              </a:ext>
            </a:extLst>
          </p:cNvPr>
          <p:cNvSpPr>
            <a:spLocks noGrp="1"/>
          </p:cNvSpPr>
          <p:nvPr>
            <p:ph type="title"/>
          </p:nvPr>
        </p:nvSpPr>
        <p:spPr>
          <a:xfrm>
            <a:off x="215411" y="-14848"/>
            <a:ext cx="10081234" cy="920812"/>
          </a:xfrm>
        </p:spPr>
        <p:txBody>
          <a:bodyPr>
            <a:normAutofit fontScale="90000"/>
          </a:bodyPr>
          <a:lstStyle/>
          <a:p>
            <a:r>
              <a:rPr lang="en-GB" dirty="0"/>
              <a:t>Monitoring &amp; Verification Support Capacity</a:t>
            </a:r>
            <a:br>
              <a:rPr lang="en-GB" dirty="0"/>
            </a:br>
            <a:r>
              <a:rPr lang="en-GB" sz="2394" dirty="0">
                <a:solidFill>
                  <a:srgbClr val="C00000"/>
                </a:solidFill>
              </a:rPr>
              <a:t>System requirements </a:t>
            </a:r>
            <a:r>
              <a:rPr lang="en-GB" sz="2394" dirty="0"/>
              <a:t>&amp; </a:t>
            </a:r>
            <a:r>
              <a:rPr lang="en-GB" sz="2394" dirty="0">
                <a:solidFill>
                  <a:srgbClr val="00B050"/>
                </a:solidFill>
              </a:rPr>
              <a:t>impact on satellite requirements</a:t>
            </a:r>
            <a:endParaRPr lang="en-NL" dirty="0"/>
          </a:p>
        </p:txBody>
      </p:sp>
      <p:sp>
        <p:nvSpPr>
          <p:cNvPr id="4" name="Content Placeholder 2">
            <a:extLst>
              <a:ext uri="{FF2B5EF4-FFF2-40B4-BE49-F238E27FC236}">
                <a16:creationId xmlns:a16="http://schemas.microsoft.com/office/drawing/2014/main" id="{A1589608-8E3B-B846-917D-E09B0B509206}"/>
              </a:ext>
            </a:extLst>
          </p:cNvPr>
          <p:cNvSpPr txBox="1">
            <a:spLocks/>
          </p:cNvSpPr>
          <p:nvPr/>
        </p:nvSpPr>
        <p:spPr bwMode="auto">
          <a:xfrm>
            <a:off x="351006" y="1089048"/>
            <a:ext cx="9736372" cy="527356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0942" tIns="45471" rIns="90942" bIns="45471" numCol="1" anchor="t" anchorCtr="0" compatLnSpc="1">
            <a:prstTxWarp prst="textNoShape">
              <a:avLst/>
            </a:prstTxWarp>
          </a:bodyPr>
          <a:lstStyle>
            <a:lvl1pPr marL="0" indent="0" algn="l" rtl="0" eaLnBrk="0" fontAlgn="base" hangingPunct="0">
              <a:lnSpc>
                <a:spcPct val="119000"/>
              </a:lnSpc>
              <a:spcBef>
                <a:spcPct val="20000"/>
              </a:spcBef>
              <a:spcAft>
                <a:spcPct val="0"/>
              </a:spcAft>
              <a:buClr>
                <a:srgbClr val="8197A6"/>
              </a:buClr>
              <a:buFont typeface="Arial" panose="020B0604020202020204" pitchFamily="34" charset="0"/>
              <a:buNone/>
              <a:defRPr lang="en-US" altLang="en-US" sz="1800">
                <a:solidFill>
                  <a:srgbClr val="8197A6"/>
                </a:solidFill>
                <a:latin typeface="Arial" panose="020B0604020202020204" pitchFamily="34" charset="0"/>
                <a:ea typeface="MS PGothic" pitchFamily="34" charset="-128"/>
                <a:cs typeface="Arial" panose="020B0604020202020204" pitchFamily="34" charset="0"/>
              </a:defRPr>
            </a:lvl1pPr>
            <a:lvl2pPr marL="781326" indent="0" algn="l" rtl="0" eaLnBrk="0" fontAlgn="base" hangingPunct="0">
              <a:lnSpc>
                <a:spcPct val="119000"/>
              </a:lnSpc>
              <a:spcBef>
                <a:spcPct val="20000"/>
              </a:spcBef>
              <a:spcAft>
                <a:spcPct val="0"/>
              </a:spcAft>
              <a:buClr>
                <a:schemeClr val="accent1"/>
              </a:buClr>
              <a:buFont typeface="Verdana" pitchFamily="34" charset="0"/>
              <a:buNone/>
              <a:defRPr lang="en-US" altLang="en-US" sz="1800">
                <a:solidFill>
                  <a:srgbClr val="8197A6"/>
                </a:solidFill>
                <a:latin typeface="Arial" panose="020B0604020202020204" pitchFamily="34" charset="0"/>
                <a:ea typeface="MS PGothic" pitchFamily="34" charset="-128"/>
                <a:cs typeface="Arial" panose="020B0604020202020204" pitchFamily="34" charset="0"/>
              </a:defRPr>
            </a:lvl2pPr>
            <a:lvl3pPr marL="1357771" indent="0" algn="l" rtl="0" eaLnBrk="0" fontAlgn="base" hangingPunct="0">
              <a:lnSpc>
                <a:spcPct val="119000"/>
              </a:lnSpc>
              <a:spcBef>
                <a:spcPct val="20000"/>
              </a:spcBef>
              <a:spcAft>
                <a:spcPct val="0"/>
              </a:spcAft>
              <a:buClr>
                <a:schemeClr val="accent1"/>
              </a:buClr>
              <a:buFont typeface="Verdana" pitchFamily="34" charset="0"/>
              <a:buNone/>
              <a:defRPr lang="en-US" altLang="en-US" sz="1800">
                <a:solidFill>
                  <a:srgbClr val="8197A6"/>
                </a:solidFill>
                <a:latin typeface="Arial" panose="020B0604020202020204" pitchFamily="34" charset="0"/>
                <a:ea typeface="MS PGothic" pitchFamily="34" charset="-128"/>
                <a:cs typeface="Arial" panose="020B0604020202020204" pitchFamily="34" charset="0"/>
              </a:defRPr>
            </a:lvl3pPr>
            <a:lvl4pPr marL="1934216" indent="0" algn="l" rtl="0" eaLnBrk="0" fontAlgn="base" hangingPunct="0">
              <a:lnSpc>
                <a:spcPct val="119000"/>
              </a:lnSpc>
              <a:spcBef>
                <a:spcPct val="20000"/>
              </a:spcBef>
              <a:spcAft>
                <a:spcPct val="0"/>
              </a:spcAft>
              <a:buClr>
                <a:schemeClr val="accent1"/>
              </a:buClr>
              <a:buFont typeface="Verdana" pitchFamily="34" charset="0"/>
              <a:buNone/>
              <a:defRPr lang="en-US" altLang="en-US" sz="1800">
                <a:solidFill>
                  <a:srgbClr val="8197A6"/>
                </a:solidFill>
                <a:latin typeface="Arial" charset="0"/>
                <a:ea typeface="MS PGothic" pitchFamily="34" charset="-128"/>
                <a:cs typeface="Arial" charset="0"/>
              </a:defRPr>
            </a:lvl4pPr>
            <a:lvl5pPr marL="2510661" indent="0" algn="l" rtl="0" eaLnBrk="0" fontAlgn="base" hangingPunct="0">
              <a:lnSpc>
                <a:spcPct val="119000"/>
              </a:lnSpc>
              <a:spcBef>
                <a:spcPct val="20000"/>
              </a:spcBef>
              <a:spcAft>
                <a:spcPct val="0"/>
              </a:spcAft>
              <a:buClr>
                <a:schemeClr val="accent1"/>
              </a:buClr>
              <a:buFont typeface="Verdana" pitchFamily="34" charset="0"/>
              <a:buNone/>
              <a:defRPr lang="en-GB" altLang="en-US" sz="1800">
                <a:solidFill>
                  <a:srgbClr val="8197A6"/>
                </a:solidFill>
                <a:latin typeface="Arial" charset="0"/>
                <a:ea typeface="MS PGothic" pitchFamily="34" charset="-128"/>
                <a:cs typeface="Arial" charset="0"/>
              </a:defRPr>
            </a:lvl5pPr>
            <a:lvl6pPr marL="3356615" indent="-404264" algn="l" rtl="0" fontAlgn="base">
              <a:lnSpc>
                <a:spcPct val="119000"/>
              </a:lnSpc>
              <a:spcBef>
                <a:spcPct val="20000"/>
              </a:spcBef>
              <a:spcAft>
                <a:spcPct val="0"/>
              </a:spcAft>
              <a:buClr>
                <a:schemeClr val="accent1"/>
              </a:buClr>
              <a:buFont typeface="Verdana" pitchFamily="34" charset="0"/>
              <a:buChar char="–"/>
              <a:defRPr sz="1543">
                <a:solidFill>
                  <a:schemeClr val="bg2"/>
                </a:solidFill>
                <a:latin typeface="+mn-lt"/>
              </a:defRPr>
            </a:lvl6pPr>
            <a:lvl7pPr marL="3797630" indent="-404264" algn="l" rtl="0" fontAlgn="base">
              <a:lnSpc>
                <a:spcPct val="119000"/>
              </a:lnSpc>
              <a:spcBef>
                <a:spcPct val="20000"/>
              </a:spcBef>
              <a:spcAft>
                <a:spcPct val="0"/>
              </a:spcAft>
              <a:buClr>
                <a:schemeClr val="accent1"/>
              </a:buClr>
              <a:buFont typeface="Verdana" pitchFamily="34" charset="0"/>
              <a:buChar char="–"/>
              <a:defRPr sz="1543">
                <a:solidFill>
                  <a:schemeClr val="bg2"/>
                </a:solidFill>
                <a:latin typeface="+mn-lt"/>
              </a:defRPr>
            </a:lvl7pPr>
            <a:lvl8pPr marL="4238645" indent="-404264" algn="l" rtl="0" fontAlgn="base">
              <a:lnSpc>
                <a:spcPct val="119000"/>
              </a:lnSpc>
              <a:spcBef>
                <a:spcPct val="20000"/>
              </a:spcBef>
              <a:spcAft>
                <a:spcPct val="0"/>
              </a:spcAft>
              <a:buClr>
                <a:schemeClr val="accent1"/>
              </a:buClr>
              <a:buFont typeface="Verdana" pitchFamily="34" charset="0"/>
              <a:buChar char="–"/>
              <a:defRPr sz="1543">
                <a:solidFill>
                  <a:schemeClr val="bg2"/>
                </a:solidFill>
                <a:latin typeface="+mn-lt"/>
              </a:defRPr>
            </a:lvl8pPr>
            <a:lvl9pPr marL="4679660" indent="-404264" algn="l" rtl="0" fontAlgn="base">
              <a:lnSpc>
                <a:spcPct val="119000"/>
              </a:lnSpc>
              <a:spcBef>
                <a:spcPct val="20000"/>
              </a:spcBef>
              <a:spcAft>
                <a:spcPct val="0"/>
              </a:spcAft>
              <a:buClr>
                <a:schemeClr val="accent1"/>
              </a:buClr>
              <a:buFont typeface="Verdana" pitchFamily="34" charset="0"/>
              <a:buChar char="–"/>
              <a:defRPr sz="1543">
                <a:solidFill>
                  <a:schemeClr val="bg2"/>
                </a:solidFill>
                <a:latin typeface="+mn-lt"/>
              </a:defRPr>
            </a:lvl9pPr>
          </a:lstStyle>
          <a:p>
            <a:pPr marL="359998" indent="-359998">
              <a:spcBef>
                <a:spcPts val="0"/>
              </a:spcBef>
              <a:spcAft>
                <a:spcPts val="1194"/>
              </a:spcAft>
              <a:buFont typeface="+mj-lt"/>
              <a:buAutoNum type="arabicPeriod"/>
            </a:pPr>
            <a:r>
              <a:rPr lang="en-GB" sz="2188" b="1" kern="0" dirty="0">
                <a:solidFill>
                  <a:srgbClr val="C00000"/>
                </a:solidFill>
              </a:rPr>
              <a:t>Detection of emitting hot spots</a:t>
            </a:r>
            <a:r>
              <a:rPr lang="en-GB" sz="2188" b="1" kern="0" dirty="0">
                <a:solidFill>
                  <a:schemeClr val="accent2"/>
                </a:solidFill>
              </a:rPr>
              <a:t> </a:t>
            </a:r>
            <a:r>
              <a:rPr lang="en-GB" sz="2188" kern="0" dirty="0">
                <a:solidFill>
                  <a:srgbClr val="002060"/>
                </a:solidFill>
              </a:rPr>
              <a:t>such as megacities or power plants</a:t>
            </a:r>
            <a:br>
              <a:rPr lang="en-GB" sz="2188" kern="0" dirty="0">
                <a:solidFill>
                  <a:srgbClr val="002060"/>
                </a:solidFill>
              </a:rPr>
            </a:br>
            <a:r>
              <a:rPr lang="en-GB" sz="2188" b="1" kern="0" dirty="0">
                <a:solidFill>
                  <a:srgbClr val="00B050"/>
                </a:solidFill>
                <a:sym typeface="Wingdings" panose="05000000000000000000" pitchFamily="2" charset="2"/>
              </a:rPr>
              <a:t> high precision CO</a:t>
            </a:r>
            <a:r>
              <a:rPr lang="en-GB" sz="2188" b="1" kern="0" baseline="-25000" dirty="0">
                <a:solidFill>
                  <a:srgbClr val="00B050"/>
                </a:solidFill>
                <a:sym typeface="Wingdings" panose="05000000000000000000" pitchFamily="2" charset="2"/>
              </a:rPr>
              <a:t>2</a:t>
            </a:r>
            <a:r>
              <a:rPr lang="en-GB" sz="2188" b="1" kern="0" dirty="0">
                <a:solidFill>
                  <a:srgbClr val="00B050"/>
                </a:solidFill>
                <a:sym typeface="Wingdings" panose="05000000000000000000" pitchFamily="2" charset="2"/>
              </a:rPr>
              <a:t> data, high spatial resolution, no local biases</a:t>
            </a:r>
            <a:endParaRPr lang="en-GB" sz="2188" b="1" kern="0" dirty="0">
              <a:solidFill>
                <a:srgbClr val="00B050"/>
              </a:solidFill>
            </a:endParaRPr>
          </a:p>
          <a:p>
            <a:pPr marL="359998" indent="-359998">
              <a:spcBef>
                <a:spcPts val="0"/>
              </a:spcBef>
              <a:spcAft>
                <a:spcPts val="1194"/>
              </a:spcAft>
              <a:buFont typeface="+mj-lt"/>
              <a:buAutoNum type="arabicPeriod"/>
            </a:pPr>
            <a:r>
              <a:rPr lang="en-GB" sz="2188" b="1" kern="0" dirty="0">
                <a:solidFill>
                  <a:srgbClr val="C00000"/>
                </a:solidFill>
              </a:rPr>
              <a:t>Monitoring the hot spot emissions </a:t>
            </a:r>
            <a:br>
              <a:rPr lang="en-GB" sz="2188" b="1" kern="0" dirty="0">
                <a:solidFill>
                  <a:srgbClr val="002060"/>
                </a:solidFill>
              </a:rPr>
            </a:br>
            <a:r>
              <a:rPr lang="en-GB" sz="2188" kern="0" dirty="0">
                <a:solidFill>
                  <a:srgbClr val="002060"/>
                </a:solidFill>
              </a:rPr>
              <a:t>to assess </a:t>
            </a:r>
            <a:r>
              <a:rPr lang="en-GB" sz="2188" kern="0" dirty="0">
                <a:solidFill>
                  <a:srgbClr val="00468C"/>
                </a:solidFill>
              </a:rPr>
              <a:t>reductions or increase in </a:t>
            </a:r>
            <a:r>
              <a:rPr lang="en-GB" sz="2188" kern="0" dirty="0">
                <a:solidFill>
                  <a:srgbClr val="002060"/>
                </a:solidFill>
              </a:rPr>
              <a:t>emission</a:t>
            </a:r>
            <a:r>
              <a:rPr lang="en-GB" sz="2188" kern="0" dirty="0">
                <a:solidFill>
                  <a:srgbClr val="00468C"/>
                </a:solidFill>
              </a:rPr>
              <a:t>s</a:t>
            </a:r>
            <a:br>
              <a:rPr lang="en-GB" sz="2188" kern="0" dirty="0">
                <a:solidFill>
                  <a:srgbClr val="00468C"/>
                </a:solidFill>
              </a:rPr>
            </a:br>
            <a:r>
              <a:rPr lang="en-GB" sz="2188" b="1" kern="0" dirty="0">
                <a:solidFill>
                  <a:srgbClr val="00B050"/>
                </a:solidFill>
                <a:sym typeface="Wingdings" panose="05000000000000000000" pitchFamily="2" charset="2"/>
              </a:rPr>
              <a:t> quantify emissions (plume info), frequent revisit</a:t>
            </a:r>
            <a:endParaRPr lang="en-GB" sz="2188" b="1" kern="0" dirty="0">
              <a:solidFill>
                <a:srgbClr val="C00000"/>
              </a:solidFill>
            </a:endParaRPr>
          </a:p>
          <a:p>
            <a:pPr marL="359998" indent="-359998">
              <a:spcBef>
                <a:spcPts val="0"/>
              </a:spcBef>
              <a:spcAft>
                <a:spcPts val="1194"/>
              </a:spcAft>
              <a:buFont typeface="+mj-lt"/>
              <a:buAutoNum type="arabicPeriod"/>
            </a:pPr>
            <a:r>
              <a:rPr lang="en-GB" sz="2188" b="1" kern="0" dirty="0">
                <a:solidFill>
                  <a:srgbClr val="C00000"/>
                </a:solidFill>
              </a:rPr>
              <a:t>Assessing emission changes against local reduction targets</a:t>
            </a:r>
            <a:r>
              <a:rPr lang="en-GB" sz="2188" b="1" kern="0" dirty="0">
                <a:solidFill>
                  <a:schemeClr val="accent2"/>
                </a:solidFill>
              </a:rPr>
              <a:t> </a:t>
            </a:r>
            <a:br>
              <a:rPr lang="en-GB" sz="2188" b="1" kern="0" dirty="0">
                <a:solidFill>
                  <a:srgbClr val="002060"/>
                </a:solidFill>
              </a:rPr>
            </a:br>
            <a:r>
              <a:rPr lang="en-GB" sz="2188" kern="0" dirty="0">
                <a:solidFill>
                  <a:srgbClr val="002060"/>
                </a:solidFill>
              </a:rPr>
              <a:t>to</a:t>
            </a:r>
            <a:r>
              <a:rPr lang="en-GB" sz="2188" kern="0" dirty="0">
                <a:solidFill>
                  <a:srgbClr val="00468C"/>
                </a:solidFill>
              </a:rPr>
              <a:t> monitor </a:t>
            </a:r>
            <a:r>
              <a:rPr lang="en-GB" sz="2188" kern="0" dirty="0">
                <a:solidFill>
                  <a:srgbClr val="002060"/>
                </a:solidFill>
              </a:rPr>
              <a:t>impacts</a:t>
            </a:r>
            <a:r>
              <a:rPr lang="en-GB" sz="2188" kern="0" dirty="0">
                <a:solidFill>
                  <a:srgbClr val="00468C"/>
                </a:solidFill>
              </a:rPr>
              <a:t> of the Nationally Determined Contributions</a:t>
            </a:r>
            <a:br>
              <a:rPr lang="en-GB" sz="2188" kern="0" dirty="0">
                <a:solidFill>
                  <a:srgbClr val="00468C"/>
                </a:solidFill>
              </a:rPr>
            </a:br>
            <a:r>
              <a:rPr lang="en-GB" sz="2188" b="1" kern="0" dirty="0">
                <a:solidFill>
                  <a:srgbClr val="00B050"/>
                </a:solidFill>
                <a:sym typeface="Wingdings" panose="05000000000000000000" pitchFamily="2" charset="2"/>
              </a:rPr>
              <a:t> no regional biases, separate biogenic from anthropogenic</a:t>
            </a:r>
            <a:endParaRPr lang="en-GB" sz="2188" b="1" kern="0" dirty="0">
              <a:solidFill>
                <a:srgbClr val="C00000"/>
              </a:solidFill>
            </a:endParaRPr>
          </a:p>
          <a:p>
            <a:pPr marL="359998" indent="-359998">
              <a:spcBef>
                <a:spcPts val="0"/>
              </a:spcBef>
              <a:spcAft>
                <a:spcPts val="1194"/>
              </a:spcAft>
              <a:buFont typeface="+mj-lt"/>
              <a:buAutoNum type="arabicPeriod"/>
            </a:pPr>
            <a:r>
              <a:rPr lang="en-GB" sz="2188" b="1" kern="0" dirty="0">
                <a:solidFill>
                  <a:srgbClr val="C00000"/>
                </a:solidFill>
              </a:rPr>
              <a:t>Assessing the national emissions and changes</a:t>
            </a:r>
            <a:r>
              <a:rPr lang="en-GB" sz="2188" b="1" kern="0" dirty="0">
                <a:solidFill>
                  <a:schemeClr val="accent2"/>
                </a:solidFill>
              </a:rPr>
              <a:t> </a:t>
            </a:r>
            <a:br>
              <a:rPr lang="en-GB" sz="2188" b="1" kern="0" dirty="0">
                <a:solidFill>
                  <a:srgbClr val="002060"/>
                </a:solidFill>
              </a:rPr>
            </a:br>
            <a:r>
              <a:rPr lang="en-GB" sz="2188" kern="0" dirty="0">
                <a:solidFill>
                  <a:srgbClr val="00468C"/>
                </a:solidFill>
              </a:rPr>
              <a:t>in 5-year time steps to estimate the Global Stock Take</a:t>
            </a:r>
            <a:br>
              <a:rPr lang="en-GB" sz="2188" kern="0" dirty="0">
                <a:solidFill>
                  <a:srgbClr val="00468C"/>
                </a:solidFill>
              </a:rPr>
            </a:br>
            <a:r>
              <a:rPr lang="en-GB" sz="2188" b="1" kern="0" dirty="0">
                <a:solidFill>
                  <a:srgbClr val="00B050"/>
                </a:solidFill>
                <a:sym typeface="Wingdings" panose="05000000000000000000" pitchFamily="2" charset="2"/>
              </a:rPr>
              <a:t> no long-term drifts, high accuracy data, inter-calibrated</a:t>
            </a:r>
            <a:endParaRPr lang="en-GB" sz="2188" b="1" kern="0" dirty="0">
              <a:solidFill>
                <a:srgbClr val="00B050"/>
              </a:solidFill>
            </a:endParaRPr>
          </a:p>
          <a:p>
            <a:pPr marL="359998" indent="-359998">
              <a:spcBef>
                <a:spcPts val="0"/>
              </a:spcBef>
              <a:spcAft>
                <a:spcPts val="1194"/>
              </a:spcAft>
              <a:buFont typeface="+mj-lt"/>
              <a:buAutoNum type="arabicPeriod"/>
            </a:pPr>
            <a:endParaRPr lang="en-GB" sz="2188" kern="0" dirty="0">
              <a:solidFill>
                <a:srgbClr val="00468C"/>
              </a:solidFill>
            </a:endParaRPr>
          </a:p>
          <a:p>
            <a:pPr marL="359998" indent="-359998">
              <a:spcBef>
                <a:spcPts val="0"/>
              </a:spcBef>
              <a:spcAft>
                <a:spcPts val="1194"/>
              </a:spcAft>
              <a:buFont typeface="+mj-lt"/>
              <a:buAutoNum type="arabicPeriod"/>
            </a:pPr>
            <a:endParaRPr lang="en-GB" sz="2188" kern="0" dirty="0">
              <a:solidFill>
                <a:srgbClr val="00468C"/>
              </a:solidFill>
            </a:endParaRPr>
          </a:p>
        </p:txBody>
      </p:sp>
      <p:pic>
        <p:nvPicPr>
          <p:cNvPr id="5" name="Picture 4">
            <a:extLst>
              <a:ext uri="{FF2B5EF4-FFF2-40B4-BE49-F238E27FC236}">
                <a16:creationId xmlns:a16="http://schemas.microsoft.com/office/drawing/2014/main" id="{33950281-3177-E444-A618-1E10DEF63CB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626010">
            <a:off x="10040499" y="3067646"/>
            <a:ext cx="963712" cy="1364270"/>
          </a:xfrm>
          <a:prstGeom prst="rect">
            <a:avLst/>
          </a:prstGeom>
          <a:effectLst>
            <a:outerShdw blurRad="76200" dir="18900000" sy="23000" kx="-1200000" algn="bl" rotWithShape="0">
              <a:prstClr val="black">
                <a:alpha val="20000"/>
              </a:prstClr>
            </a:outerShdw>
          </a:effectLst>
        </p:spPr>
      </p:pic>
      <p:pic>
        <p:nvPicPr>
          <p:cNvPr id="6" name="Picture 5">
            <a:extLst>
              <a:ext uri="{FF2B5EF4-FFF2-40B4-BE49-F238E27FC236}">
                <a16:creationId xmlns:a16="http://schemas.microsoft.com/office/drawing/2014/main" id="{EF10FD57-C819-D345-BF4A-0A7DD3F91920}"/>
              </a:ext>
            </a:extLst>
          </p:cNvPr>
          <p:cNvPicPr>
            <a:picLocks noChangeAspect="1"/>
          </p:cNvPicPr>
          <p:nvPr/>
        </p:nvPicPr>
        <p:blipFill rotWithShape="1">
          <a:blip r:embed="rId3">
            <a:extLst>
              <a:ext uri="{28A0092B-C50C-407E-A947-70E740481C1C}">
                <a14:useLocalDpi xmlns:a14="http://schemas.microsoft.com/office/drawing/2010/main" val="0"/>
              </a:ext>
            </a:extLst>
          </a:blip>
          <a:srcRect l="49228"/>
          <a:stretch/>
        </p:blipFill>
        <p:spPr>
          <a:xfrm rot="1479466">
            <a:off x="10025304" y="4703321"/>
            <a:ext cx="994105" cy="1364270"/>
          </a:xfrm>
          <a:prstGeom prst="rect">
            <a:avLst/>
          </a:prstGeom>
          <a:effectLst>
            <a:outerShdw blurRad="76200" dir="18900000" sy="23000" kx="-1200000" algn="bl" rotWithShape="0">
              <a:prstClr val="black">
                <a:alpha val="20000"/>
              </a:prstClr>
            </a:outerShdw>
          </a:effectLst>
        </p:spPr>
      </p:pic>
      <p:pic>
        <p:nvPicPr>
          <p:cNvPr id="7" name="Image 1">
            <a:extLst>
              <a:ext uri="{FF2B5EF4-FFF2-40B4-BE49-F238E27FC236}">
                <a16:creationId xmlns:a16="http://schemas.microsoft.com/office/drawing/2014/main" id="{A5E298A1-1EAB-D449-A875-12E8F593A5B7}"/>
              </a:ext>
            </a:extLst>
          </p:cNvPr>
          <p:cNvPicPr>
            <a:picLocks noChangeAspect="1"/>
          </p:cNvPicPr>
          <p:nvPr/>
        </p:nvPicPr>
        <p:blipFill>
          <a:blip r:embed="rId4"/>
          <a:stretch>
            <a:fillRect/>
          </a:stretch>
        </p:blipFill>
        <p:spPr>
          <a:xfrm rot="1626010">
            <a:off x="10024982" y="1407071"/>
            <a:ext cx="994746" cy="1364270"/>
          </a:xfrm>
          <a:prstGeom prst="rect">
            <a:avLst/>
          </a:prstGeom>
          <a:effectLst>
            <a:outerShdw blurRad="76200" dir="18900000" sy="23000" kx="-1200000" algn="bl" rotWithShape="0">
              <a:prstClr val="black">
                <a:alpha val="20000"/>
              </a:prstClr>
            </a:outerShdw>
          </a:effectLst>
        </p:spPr>
      </p:pic>
      <p:pic>
        <p:nvPicPr>
          <p:cNvPr id="8" name="Picture 7">
            <a:extLst>
              <a:ext uri="{FF2B5EF4-FFF2-40B4-BE49-F238E27FC236}">
                <a16:creationId xmlns:a16="http://schemas.microsoft.com/office/drawing/2014/main" id="{B79F98C7-79C6-7345-9CA7-942FA6EBF6B7}"/>
              </a:ext>
            </a:extLst>
          </p:cNvPr>
          <p:cNvPicPr>
            <a:picLocks noChangeAspect="1"/>
          </p:cNvPicPr>
          <p:nvPr/>
        </p:nvPicPr>
        <p:blipFill>
          <a:blip r:embed="rId5"/>
          <a:stretch>
            <a:fillRect/>
          </a:stretch>
        </p:blipFill>
        <p:spPr>
          <a:xfrm>
            <a:off x="9211723" y="164653"/>
            <a:ext cx="1418471" cy="517063"/>
          </a:xfrm>
          <a:prstGeom prst="rect">
            <a:avLst/>
          </a:prstGeom>
        </p:spPr>
      </p:pic>
    </p:spTree>
    <p:extLst>
      <p:ext uri="{BB962C8B-B14F-4D97-AF65-F5344CB8AC3E}">
        <p14:creationId xmlns:p14="http://schemas.microsoft.com/office/powerpoint/2010/main" val="4530094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A7B71DC-28BD-4E2F-9E89-C4253A80D80A}"/>
              </a:ext>
            </a:extLst>
          </p:cNvPr>
          <p:cNvSpPr>
            <a:spLocks noGrp="1"/>
          </p:cNvSpPr>
          <p:nvPr>
            <p:ph type="title"/>
          </p:nvPr>
        </p:nvSpPr>
        <p:spPr>
          <a:xfrm>
            <a:off x="215411" y="-60888"/>
            <a:ext cx="10081234" cy="1012893"/>
          </a:xfrm>
        </p:spPr>
        <p:txBody>
          <a:bodyPr>
            <a:normAutofit fontScale="90000"/>
          </a:bodyPr>
          <a:lstStyle/>
          <a:p>
            <a:r>
              <a:rPr lang="en-GB" dirty="0"/>
              <a:t>An Operational  Anthropogenic CO2 Emissions </a:t>
            </a:r>
            <a:br>
              <a:rPr lang="en-GB" dirty="0"/>
            </a:br>
            <a:r>
              <a:rPr lang="en-GB" dirty="0"/>
              <a:t>Monitoring &amp; Verification Support Capacity</a:t>
            </a:r>
          </a:p>
        </p:txBody>
      </p:sp>
      <p:pic>
        <p:nvPicPr>
          <p:cNvPr id="4" name="Picture 3">
            <a:extLst>
              <a:ext uri="{FF2B5EF4-FFF2-40B4-BE49-F238E27FC236}">
                <a16:creationId xmlns:a16="http://schemas.microsoft.com/office/drawing/2014/main" id="{30941DD1-F05F-DE4D-9307-6CD4544E3F3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29337" y="4916220"/>
            <a:ext cx="1581563" cy="443806"/>
          </a:xfrm>
          <a:prstGeom prst="rect">
            <a:avLst/>
          </a:prstGeom>
        </p:spPr>
      </p:pic>
      <p:pic>
        <p:nvPicPr>
          <p:cNvPr id="5" name="Picture 4">
            <a:extLst>
              <a:ext uri="{FF2B5EF4-FFF2-40B4-BE49-F238E27FC236}">
                <a16:creationId xmlns:a16="http://schemas.microsoft.com/office/drawing/2014/main" id="{8C79E219-85EE-A749-9B32-4A0BCDB0D866}"/>
              </a:ext>
            </a:extLst>
          </p:cNvPr>
          <p:cNvPicPr>
            <a:picLocks noChangeAspect="1"/>
          </p:cNvPicPr>
          <p:nvPr/>
        </p:nvPicPr>
        <p:blipFill>
          <a:blip r:embed="rId3"/>
          <a:stretch>
            <a:fillRect/>
          </a:stretch>
        </p:blipFill>
        <p:spPr>
          <a:xfrm>
            <a:off x="9806767" y="5429634"/>
            <a:ext cx="1826703" cy="337940"/>
          </a:xfrm>
          <a:prstGeom prst="rect">
            <a:avLst/>
          </a:prstGeom>
        </p:spPr>
      </p:pic>
      <p:pic>
        <p:nvPicPr>
          <p:cNvPr id="7" name="Picture 6">
            <a:extLst>
              <a:ext uri="{FF2B5EF4-FFF2-40B4-BE49-F238E27FC236}">
                <a16:creationId xmlns:a16="http://schemas.microsoft.com/office/drawing/2014/main" id="{8D8861F1-F96C-BF47-9B27-02C674412626}"/>
              </a:ext>
            </a:extLst>
          </p:cNvPr>
          <p:cNvPicPr>
            <a:picLocks/>
          </p:cNvPicPr>
          <p:nvPr/>
        </p:nvPicPr>
        <p:blipFill rotWithShape="1">
          <a:blip r:embed="rId4" cstate="email">
            <a:extLst>
              <a:ext uri="{28A0092B-C50C-407E-A947-70E740481C1C}">
                <a14:useLocalDpi xmlns:a14="http://schemas.microsoft.com/office/drawing/2010/main"/>
              </a:ext>
            </a:extLst>
          </a:blip>
          <a:srcRect l="16062" t="28674" r="15241" b="30088"/>
          <a:stretch/>
        </p:blipFill>
        <p:spPr>
          <a:xfrm>
            <a:off x="9929337" y="4306223"/>
            <a:ext cx="1378016" cy="540388"/>
          </a:xfrm>
          <a:prstGeom prst="rect">
            <a:avLst/>
          </a:prstGeom>
        </p:spPr>
      </p:pic>
      <p:pic>
        <p:nvPicPr>
          <p:cNvPr id="8" name="Picture 7">
            <a:extLst>
              <a:ext uri="{FF2B5EF4-FFF2-40B4-BE49-F238E27FC236}">
                <a16:creationId xmlns:a16="http://schemas.microsoft.com/office/drawing/2014/main" id="{5B411367-3719-AC40-8E7A-2EC50BCD6E3C}"/>
              </a:ext>
            </a:extLst>
          </p:cNvPr>
          <p:cNvPicPr>
            <a:picLocks noChangeAspect="1"/>
          </p:cNvPicPr>
          <p:nvPr/>
        </p:nvPicPr>
        <p:blipFill>
          <a:blip r:embed="rId5"/>
          <a:stretch>
            <a:fillRect/>
          </a:stretch>
        </p:blipFill>
        <p:spPr>
          <a:xfrm>
            <a:off x="10106370" y="3319395"/>
            <a:ext cx="1348537" cy="934494"/>
          </a:xfrm>
          <a:prstGeom prst="rect">
            <a:avLst/>
          </a:prstGeom>
        </p:spPr>
      </p:pic>
      <p:pic>
        <p:nvPicPr>
          <p:cNvPr id="9" name="Picture 8" descr="A picture containing text, screenshot, sign, post&#10;&#10;Description automatically generated">
            <a:extLst>
              <a:ext uri="{FF2B5EF4-FFF2-40B4-BE49-F238E27FC236}">
                <a16:creationId xmlns:a16="http://schemas.microsoft.com/office/drawing/2014/main" id="{885ECD97-1F1D-A443-93CD-050F43EDE3D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86436" y="1046504"/>
            <a:ext cx="8825286" cy="5253147"/>
          </a:xfrm>
          <a:prstGeom prst="rect">
            <a:avLst/>
          </a:prstGeom>
        </p:spPr>
      </p:pic>
      <p:pic>
        <p:nvPicPr>
          <p:cNvPr id="10" name="Picture 9">
            <a:extLst>
              <a:ext uri="{FF2B5EF4-FFF2-40B4-BE49-F238E27FC236}">
                <a16:creationId xmlns:a16="http://schemas.microsoft.com/office/drawing/2014/main" id="{094A3A33-B384-1141-AD1B-D9A969F9FB12}"/>
              </a:ext>
            </a:extLst>
          </p:cNvPr>
          <p:cNvPicPr>
            <a:picLocks noChangeAspect="1"/>
          </p:cNvPicPr>
          <p:nvPr/>
        </p:nvPicPr>
        <p:blipFill>
          <a:blip r:embed="rId7"/>
          <a:stretch>
            <a:fillRect/>
          </a:stretch>
        </p:blipFill>
        <p:spPr>
          <a:xfrm>
            <a:off x="9211723" y="164653"/>
            <a:ext cx="1418471" cy="517063"/>
          </a:xfrm>
          <a:prstGeom prst="rect">
            <a:avLst/>
          </a:prstGeom>
        </p:spPr>
      </p:pic>
    </p:spTree>
    <p:extLst>
      <p:ext uri="{BB962C8B-B14F-4D97-AF65-F5344CB8AC3E}">
        <p14:creationId xmlns:p14="http://schemas.microsoft.com/office/powerpoint/2010/main" val="2621810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90DFF1-9D87-074C-AC7E-C12375DDB664}"/>
              </a:ext>
            </a:extLst>
          </p:cNvPr>
          <p:cNvSpPr>
            <a:spLocks noGrp="1"/>
          </p:cNvSpPr>
          <p:nvPr>
            <p:ph type="title"/>
          </p:nvPr>
        </p:nvSpPr>
        <p:spPr/>
        <p:txBody>
          <a:bodyPr/>
          <a:lstStyle/>
          <a:p>
            <a:r>
              <a:rPr lang="en-GB" dirty="0"/>
              <a:t>Copernicus CO2M Mission – Status</a:t>
            </a:r>
            <a:endParaRPr lang="en-NL" dirty="0"/>
          </a:p>
        </p:txBody>
      </p:sp>
      <p:pic>
        <p:nvPicPr>
          <p:cNvPr id="4" name="Picture 3">
            <a:extLst>
              <a:ext uri="{FF2B5EF4-FFF2-40B4-BE49-F238E27FC236}">
                <a16:creationId xmlns:a16="http://schemas.microsoft.com/office/drawing/2014/main" id="{C206708D-1906-8F48-A25D-ED65A7B1A810}"/>
              </a:ext>
            </a:extLst>
          </p:cNvPr>
          <p:cNvPicPr>
            <a:picLocks noChangeAspect="1"/>
          </p:cNvPicPr>
          <p:nvPr/>
        </p:nvPicPr>
        <p:blipFill>
          <a:blip r:embed="rId2"/>
          <a:stretch>
            <a:fillRect/>
          </a:stretch>
        </p:blipFill>
        <p:spPr>
          <a:xfrm>
            <a:off x="9211723" y="164653"/>
            <a:ext cx="1418471" cy="517063"/>
          </a:xfrm>
          <a:prstGeom prst="rect">
            <a:avLst/>
          </a:prstGeom>
        </p:spPr>
      </p:pic>
      <p:sp>
        <p:nvSpPr>
          <p:cNvPr id="5" name="TextBox 4">
            <a:extLst>
              <a:ext uri="{FF2B5EF4-FFF2-40B4-BE49-F238E27FC236}">
                <a16:creationId xmlns:a16="http://schemas.microsoft.com/office/drawing/2014/main" id="{3ED10E4E-9AE8-9E4B-ABD6-F9F10BC12801}"/>
              </a:ext>
            </a:extLst>
          </p:cNvPr>
          <p:cNvSpPr txBox="1"/>
          <p:nvPr/>
        </p:nvSpPr>
        <p:spPr>
          <a:xfrm>
            <a:off x="215411" y="1018466"/>
            <a:ext cx="5742311" cy="2056480"/>
          </a:xfrm>
          <a:prstGeom prst="rect">
            <a:avLst/>
          </a:prstGeom>
          <a:noFill/>
        </p:spPr>
        <p:txBody>
          <a:bodyPr wrap="square" rtlCol="0">
            <a:spAutoFit/>
          </a:bodyPr>
          <a:lstStyle/>
          <a:p>
            <a:pPr eaLnBrk="0" hangingPunct="0">
              <a:spcBef>
                <a:spcPts val="598"/>
              </a:spcBef>
              <a:buClr>
                <a:srgbClr val="00B0F0"/>
              </a:buClr>
              <a:defRPr/>
            </a:pPr>
            <a:r>
              <a:rPr lang="en-US" sz="1795" b="1" dirty="0">
                <a:solidFill>
                  <a:srgbClr val="335E6E"/>
                </a:solidFill>
                <a:latin typeface="Verdana" charset="0"/>
                <a:ea typeface="MS PGothic" charset="-128"/>
              </a:rPr>
              <a:t>Project status:</a:t>
            </a:r>
          </a:p>
          <a:p>
            <a:pPr marL="284978" indent="-284978" eaLnBrk="0" hangingPunct="0">
              <a:spcBef>
                <a:spcPts val="598"/>
              </a:spcBef>
              <a:buClr>
                <a:srgbClr val="00B0F0"/>
              </a:buClr>
              <a:buFont typeface="Arial" panose="020B0604020202020204" pitchFamily="34" charset="0"/>
              <a:buChar char="•"/>
              <a:defRPr/>
            </a:pPr>
            <a:r>
              <a:rPr lang="en-US" sz="1795" b="1" dirty="0">
                <a:solidFill>
                  <a:srgbClr val="00B050"/>
                </a:solidFill>
                <a:latin typeface="Verdana" charset="0"/>
                <a:ea typeface="MS PGothic" charset="-128"/>
              </a:rPr>
              <a:t>Constellation</a:t>
            </a:r>
            <a:r>
              <a:rPr lang="en-US" sz="1795" dirty="0">
                <a:solidFill>
                  <a:srgbClr val="335E6E"/>
                </a:solidFill>
                <a:latin typeface="Verdana" charset="0"/>
                <a:ea typeface="MS PGothic" charset="-128"/>
              </a:rPr>
              <a:t> of satellites </a:t>
            </a:r>
          </a:p>
          <a:p>
            <a:pPr marL="284978" indent="-284978" eaLnBrk="0" hangingPunct="0">
              <a:spcBef>
                <a:spcPts val="598"/>
              </a:spcBef>
              <a:buClr>
                <a:srgbClr val="00B0F0"/>
              </a:buClr>
              <a:buFont typeface="Arial" panose="020B0604020202020204" pitchFamily="34" charset="0"/>
              <a:buChar char="•"/>
              <a:defRPr/>
            </a:pPr>
            <a:r>
              <a:rPr lang="en-US" sz="1795" dirty="0">
                <a:solidFill>
                  <a:srgbClr val="335E6E"/>
                </a:solidFill>
                <a:latin typeface="Verdana" charset="0"/>
                <a:ea typeface="MS PGothic" charset="-128"/>
              </a:rPr>
              <a:t>Each satellite </a:t>
            </a:r>
            <a:r>
              <a:rPr lang="en-US" sz="1795" b="1" dirty="0">
                <a:solidFill>
                  <a:srgbClr val="00B050"/>
                </a:solidFill>
                <a:latin typeface="Verdana" charset="0"/>
                <a:ea typeface="MS PGothic" charset="-128"/>
              </a:rPr>
              <a:t>&gt;250 km swath</a:t>
            </a:r>
            <a:endParaRPr lang="en-US" sz="1795" b="1" dirty="0">
              <a:solidFill>
                <a:srgbClr val="335E6E"/>
              </a:solidFill>
              <a:latin typeface="Verdana" charset="0"/>
              <a:ea typeface="MS PGothic" charset="-128"/>
            </a:endParaRPr>
          </a:p>
          <a:p>
            <a:pPr marL="284978" indent="-284978" eaLnBrk="0" hangingPunct="0">
              <a:spcBef>
                <a:spcPts val="598"/>
              </a:spcBef>
              <a:buClr>
                <a:srgbClr val="00B0F0"/>
              </a:buClr>
              <a:buFont typeface="Arial" panose="020B0604020202020204" pitchFamily="34" charset="0"/>
              <a:buChar char="•"/>
              <a:defRPr/>
            </a:pPr>
            <a:r>
              <a:rPr lang="en-US" sz="1795" dirty="0">
                <a:solidFill>
                  <a:srgbClr val="335E6E"/>
                </a:solidFill>
                <a:latin typeface="Verdana" charset="0"/>
                <a:ea typeface="MS PGothic" charset="-128"/>
              </a:rPr>
              <a:t>First and second satellite will have their </a:t>
            </a:r>
            <a:br>
              <a:rPr lang="en-US" sz="1795" dirty="0">
                <a:solidFill>
                  <a:srgbClr val="335E6E"/>
                </a:solidFill>
                <a:latin typeface="Verdana" charset="0"/>
                <a:ea typeface="MS PGothic" charset="-128"/>
              </a:rPr>
            </a:br>
            <a:r>
              <a:rPr lang="en-US" sz="1795" dirty="0">
                <a:solidFill>
                  <a:srgbClr val="335E6E"/>
                </a:solidFill>
                <a:latin typeface="Verdana" charset="0"/>
                <a:ea typeface="MS PGothic" charset="-128"/>
              </a:rPr>
              <a:t>Flight Acceptance expected </a:t>
            </a:r>
            <a:r>
              <a:rPr lang="en-US" sz="1795" b="1" dirty="0">
                <a:solidFill>
                  <a:srgbClr val="00B050"/>
                </a:solidFill>
                <a:latin typeface="Verdana" charset="0"/>
                <a:ea typeface="MS PGothic" charset="-128"/>
              </a:rPr>
              <a:t>early 2026</a:t>
            </a:r>
          </a:p>
          <a:p>
            <a:pPr marL="284978" indent="-284978" eaLnBrk="0" hangingPunct="0">
              <a:spcBef>
                <a:spcPts val="598"/>
              </a:spcBef>
              <a:buClr>
                <a:srgbClr val="00B0F0"/>
              </a:buClr>
              <a:buFont typeface="Arial" panose="020B0604020202020204" pitchFamily="34" charset="0"/>
              <a:buChar char="•"/>
              <a:defRPr/>
            </a:pPr>
            <a:r>
              <a:rPr lang="en-US" sz="1795" dirty="0">
                <a:solidFill>
                  <a:srgbClr val="335E6E"/>
                </a:solidFill>
                <a:latin typeface="Verdana" charset="0"/>
                <a:ea typeface="MS PGothic" charset="-128"/>
              </a:rPr>
              <a:t>Possible </a:t>
            </a:r>
            <a:r>
              <a:rPr lang="en-US" sz="1795" b="1" dirty="0">
                <a:solidFill>
                  <a:srgbClr val="00B050"/>
                </a:solidFill>
                <a:latin typeface="Verdana" charset="0"/>
                <a:ea typeface="MS PGothic" charset="-128"/>
              </a:rPr>
              <a:t>3rd satellite </a:t>
            </a:r>
            <a:r>
              <a:rPr lang="en-US" sz="1795" dirty="0">
                <a:solidFill>
                  <a:srgbClr val="335E6E"/>
                </a:solidFill>
                <a:latin typeface="Verdana" charset="0"/>
                <a:ea typeface="MS PGothic" charset="-128"/>
              </a:rPr>
              <a:t>pending EC decision</a:t>
            </a:r>
          </a:p>
        </p:txBody>
      </p:sp>
      <p:sp>
        <p:nvSpPr>
          <p:cNvPr id="13" name="TextBox 12">
            <a:extLst>
              <a:ext uri="{FF2B5EF4-FFF2-40B4-BE49-F238E27FC236}">
                <a16:creationId xmlns:a16="http://schemas.microsoft.com/office/drawing/2014/main" id="{6B029D01-90E7-7B48-9252-AAC4AB1FFE31}"/>
              </a:ext>
            </a:extLst>
          </p:cNvPr>
          <p:cNvSpPr txBox="1"/>
          <p:nvPr/>
        </p:nvSpPr>
        <p:spPr>
          <a:xfrm>
            <a:off x="10050437" y="6090665"/>
            <a:ext cx="1649859" cy="260897"/>
          </a:xfrm>
          <a:prstGeom prst="rect">
            <a:avLst/>
          </a:prstGeom>
          <a:noFill/>
        </p:spPr>
        <p:txBody>
          <a:bodyPr wrap="square" lIns="0" rtlCol="0">
            <a:spAutoFit/>
          </a:bodyPr>
          <a:lstStyle/>
          <a:p>
            <a:pPr algn="r"/>
            <a:r>
              <a:rPr lang="en-US" sz="1097" dirty="0"/>
              <a:t>Credits: EMPA</a:t>
            </a:r>
            <a:endParaRPr lang="en-US" sz="1197" dirty="0"/>
          </a:p>
        </p:txBody>
      </p:sp>
      <p:pic>
        <p:nvPicPr>
          <p:cNvPr id="14" name="Picture 13">
            <a:extLst>
              <a:ext uri="{FF2B5EF4-FFF2-40B4-BE49-F238E27FC236}">
                <a16:creationId xmlns:a16="http://schemas.microsoft.com/office/drawing/2014/main" id="{AAD0925A-F9C4-EA4F-B36A-BDECD2FBCAA6}"/>
              </a:ext>
            </a:extLst>
          </p:cNvPr>
          <p:cNvPicPr>
            <a:picLocks noChangeAspect="1"/>
          </p:cNvPicPr>
          <p:nvPr/>
        </p:nvPicPr>
        <p:blipFill>
          <a:blip r:embed="rId3"/>
          <a:stretch>
            <a:fillRect/>
          </a:stretch>
        </p:blipFill>
        <p:spPr>
          <a:xfrm>
            <a:off x="215411" y="4276883"/>
            <a:ext cx="2468639" cy="456698"/>
          </a:xfrm>
          <a:prstGeom prst="rect">
            <a:avLst/>
          </a:prstGeom>
        </p:spPr>
      </p:pic>
      <p:sp>
        <p:nvSpPr>
          <p:cNvPr id="15" name="Rectangle 14">
            <a:extLst>
              <a:ext uri="{FF2B5EF4-FFF2-40B4-BE49-F238E27FC236}">
                <a16:creationId xmlns:a16="http://schemas.microsoft.com/office/drawing/2014/main" id="{4F6EEFCC-F7D8-F24D-B755-035C9EE188C8}"/>
              </a:ext>
            </a:extLst>
          </p:cNvPr>
          <p:cNvSpPr/>
          <p:nvPr/>
        </p:nvSpPr>
        <p:spPr>
          <a:xfrm>
            <a:off x="215411" y="3074946"/>
            <a:ext cx="6422513" cy="1197056"/>
          </a:xfrm>
          <a:prstGeom prst="rect">
            <a:avLst/>
          </a:prstGeom>
        </p:spPr>
        <p:txBody>
          <a:bodyPr wrap="square">
            <a:spAutoFit/>
          </a:bodyPr>
          <a:lstStyle/>
          <a:p>
            <a:r>
              <a:rPr lang="en-GB" sz="1795" b="1" dirty="0">
                <a:solidFill>
                  <a:schemeClr val="tx2"/>
                </a:solidFill>
              </a:rPr>
              <a:t>Copernicus data </a:t>
            </a:r>
            <a:r>
              <a:rPr lang="en-GB" sz="1795" dirty="0">
                <a:solidFill>
                  <a:schemeClr val="tx2"/>
                </a:solidFill>
              </a:rPr>
              <a:t>is made freely available</a:t>
            </a:r>
            <a:br>
              <a:rPr lang="en-GB" sz="1795" dirty="0">
                <a:solidFill>
                  <a:schemeClr val="tx2"/>
                </a:solidFill>
              </a:rPr>
            </a:br>
            <a:r>
              <a:rPr lang="en-GB" sz="1795" dirty="0">
                <a:solidFill>
                  <a:schemeClr val="tx2"/>
                </a:solidFill>
              </a:rPr>
              <a:t> to any person and organisation around the world</a:t>
            </a:r>
            <a:endParaRPr lang="en-NL" sz="1795" dirty="0">
              <a:solidFill>
                <a:schemeClr val="tx2"/>
              </a:solidFill>
            </a:endParaRPr>
          </a:p>
          <a:p>
            <a:endParaRPr lang="en-GB" sz="1795" b="1" dirty="0">
              <a:solidFill>
                <a:schemeClr val="tx2"/>
              </a:solidFill>
            </a:endParaRPr>
          </a:p>
          <a:p>
            <a:r>
              <a:rPr lang="en-GB" sz="1795" b="1" dirty="0">
                <a:solidFill>
                  <a:schemeClr val="tx2"/>
                </a:solidFill>
              </a:rPr>
              <a:t>EUMETSAT</a:t>
            </a:r>
            <a:r>
              <a:rPr lang="en-GB" sz="1795" dirty="0">
                <a:solidFill>
                  <a:schemeClr val="tx2"/>
                </a:solidFill>
              </a:rPr>
              <a:t> performs operational data processing</a:t>
            </a:r>
          </a:p>
        </p:txBody>
      </p:sp>
      <p:graphicFrame>
        <p:nvGraphicFramePr>
          <p:cNvPr id="3" name="Content Placeholder 6">
            <a:extLst>
              <a:ext uri="{FF2B5EF4-FFF2-40B4-BE49-F238E27FC236}">
                <a16:creationId xmlns:a16="http://schemas.microsoft.com/office/drawing/2014/main" id="{C3DDFAEC-8178-28B1-AD32-1CA5E0BC7B3A}"/>
              </a:ext>
            </a:extLst>
          </p:cNvPr>
          <p:cNvGraphicFramePr>
            <a:graphicFrameLocks/>
          </p:cNvGraphicFramePr>
          <p:nvPr/>
        </p:nvGraphicFramePr>
        <p:xfrm>
          <a:off x="6430442" y="962038"/>
          <a:ext cx="5546148" cy="2442794"/>
        </p:xfrm>
        <a:graphic>
          <a:graphicData uri="http://schemas.openxmlformats.org/drawingml/2006/table">
            <a:tbl>
              <a:tblPr firstRow="1" firstCol="1" bandRow="1">
                <a:tableStyleId>{5C22544A-7EE6-4342-B048-85BDC9FD1C3A}</a:tableStyleId>
              </a:tblPr>
              <a:tblGrid>
                <a:gridCol w="2004783">
                  <a:extLst>
                    <a:ext uri="{9D8B030D-6E8A-4147-A177-3AD203B41FA5}">
                      <a16:colId xmlns:a16="http://schemas.microsoft.com/office/drawing/2014/main" val="20000"/>
                    </a:ext>
                  </a:extLst>
                </a:gridCol>
                <a:gridCol w="1148784">
                  <a:extLst>
                    <a:ext uri="{9D8B030D-6E8A-4147-A177-3AD203B41FA5}">
                      <a16:colId xmlns:a16="http://schemas.microsoft.com/office/drawing/2014/main" val="20001"/>
                    </a:ext>
                  </a:extLst>
                </a:gridCol>
                <a:gridCol w="2392581">
                  <a:extLst>
                    <a:ext uri="{9D8B030D-6E8A-4147-A177-3AD203B41FA5}">
                      <a16:colId xmlns:a16="http://schemas.microsoft.com/office/drawing/2014/main" val="2913718302"/>
                    </a:ext>
                  </a:extLst>
                </a:gridCol>
              </a:tblGrid>
              <a:tr h="466675">
                <a:tc>
                  <a:txBody>
                    <a:bodyPr/>
                    <a:lstStyle/>
                    <a:p>
                      <a:pPr>
                        <a:spcAft>
                          <a:spcPts val="0"/>
                        </a:spcAft>
                      </a:pPr>
                      <a:r>
                        <a:rPr lang="en-GB" sz="1800" noProof="0" dirty="0">
                          <a:effectLst/>
                        </a:rPr>
                        <a:t>Product</a:t>
                      </a:r>
                      <a:endParaRPr lang="en-GB" sz="1800" noProof="0" dirty="0">
                        <a:effectLst/>
                        <a:latin typeface="Calibri" charset="0"/>
                        <a:ea typeface="Calibri" charset="0"/>
                        <a:cs typeface="Times New Roman" charset="0"/>
                      </a:endParaRPr>
                    </a:p>
                  </a:txBody>
                  <a:tcPr marL="135601" marR="135601" marT="0" marB="0">
                    <a:solidFill>
                      <a:schemeClr val="accent1">
                        <a:lumMod val="75000"/>
                      </a:schemeClr>
                    </a:solidFill>
                  </a:tcPr>
                </a:tc>
                <a:tc>
                  <a:txBody>
                    <a:bodyPr/>
                    <a:lstStyle/>
                    <a:p>
                      <a:pPr>
                        <a:spcAft>
                          <a:spcPts val="0"/>
                        </a:spcAft>
                      </a:pPr>
                      <a:r>
                        <a:rPr lang="en-GB" sz="1900" b="1" kern="1200" noProof="0" dirty="0">
                          <a:solidFill>
                            <a:schemeClr val="lt1"/>
                          </a:solidFill>
                          <a:effectLst/>
                          <a:latin typeface="+mn-lt"/>
                          <a:ea typeface="+mn-ea"/>
                          <a:cs typeface="+mn-cs"/>
                        </a:rPr>
                        <a:t>Spatial</a:t>
                      </a:r>
                    </a:p>
                  </a:txBody>
                  <a:tcPr marL="135601" marR="135601" marT="0" marB="0">
                    <a:solidFill>
                      <a:schemeClr val="accent1">
                        <a:lumMod val="75000"/>
                      </a:schemeClr>
                    </a:solidFill>
                  </a:tcPr>
                </a:tc>
                <a:tc>
                  <a:txBody>
                    <a:bodyPr/>
                    <a:lstStyle/>
                    <a:p>
                      <a:pPr>
                        <a:spcAft>
                          <a:spcPts val="0"/>
                        </a:spcAft>
                      </a:pPr>
                      <a:r>
                        <a:rPr lang="en-US" sz="1900" b="1" noProof="0" dirty="0">
                          <a:effectLst/>
                          <a:latin typeface="+mn-lt"/>
                          <a:ea typeface="Calibri" charset="0"/>
                          <a:cs typeface="Times New Roman" charset="0"/>
                        </a:rPr>
                        <a:t>Precision</a:t>
                      </a:r>
                      <a:endParaRPr lang="en-GB" sz="1900" b="1" noProof="0" dirty="0">
                        <a:effectLst/>
                        <a:latin typeface="+mn-lt"/>
                        <a:ea typeface="Calibri" charset="0"/>
                        <a:cs typeface="Times New Roman" charset="0"/>
                      </a:endParaRPr>
                    </a:p>
                  </a:txBody>
                  <a:tcPr marL="135601" marR="135601" marT="0" marB="0">
                    <a:solidFill>
                      <a:schemeClr val="accent1">
                        <a:lumMod val="75000"/>
                      </a:schemeClr>
                    </a:solidFill>
                  </a:tcPr>
                </a:tc>
                <a:extLst>
                  <a:ext uri="{0D108BD9-81ED-4DB2-BD59-A6C34878D82A}">
                    <a16:rowId xmlns:a16="http://schemas.microsoft.com/office/drawing/2014/main" val="10000"/>
                  </a:ext>
                </a:extLst>
              </a:tr>
              <a:tr h="3816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noProof="0" dirty="0">
                          <a:effectLst/>
                        </a:rPr>
                        <a:t>CO</a:t>
                      </a:r>
                      <a:r>
                        <a:rPr lang="en-GB" sz="1600" baseline="-25000" noProof="0" dirty="0">
                          <a:effectLst/>
                        </a:rPr>
                        <a:t>2</a:t>
                      </a:r>
                      <a:endParaRPr lang="en-GB" sz="1600" noProof="0" dirty="0">
                        <a:effectLst/>
                        <a:latin typeface="Calibri" charset="0"/>
                        <a:ea typeface="Calibri" charset="0"/>
                        <a:cs typeface="Times New Roman" charset="0"/>
                      </a:endParaRPr>
                    </a:p>
                  </a:txBody>
                  <a:tcPr marL="135601" marR="135601" marT="0" marB="0">
                    <a:solidFill>
                      <a:schemeClr val="accent1">
                        <a:lumMod val="75000"/>
                      </a:schemeClr>
                    </a:solidFill>
                  </a:tcPr>
                </a:tc>
                <a:tc>
                  <a:txBody>
                    <a:bodyPr/>
                    <a:lstStyle/>
                    <a:p>
                      <a:pPr algn="ctr">
                        <a:spcAft>
                          <a:spcPts val="0"/>
                        </a:spcAft>
                      </a:pPr>
                      <a:r>
                        <a:rPr lang="en-GB" sz="1700" kern="1200" noProof="0" dirty="0">
                          <a:solidFill>
                            <a:schemeClr val="dk1"/>
                          </a:solidFill>
                          <a:effectLst/>
                          <a:latin typeface="+mn-lt"/>
                          <a:ea typeface="+mn-ea"/>
                          <a:cs typeface="+mn-cs"/>
                        </a:rPr>
                        <a:t>4 km</a:t>
                      </a:r>
                      <a:r>
                        <a:rPr lang="en-GB" sz="1700" kern="1200" baseline="30000" noProof="0" dirty="0">
                          <a:solidFill>
                            <a:schemeClr val="dk1"/>
                          </a:solidFill>
                          <a:effectLst/>
                          <a:latin typeface="+mn-lt"/>
                          <a:ea typeface="+mn-ea"/>
                          <a:cs typeface="+mn-cs"/>
                        </a:rPr>
                        <a:t>2</a:t>
                      </a:r>
                    </a:p>
                  </a:txBody>
                  <a:tcPr marL="135601" marR="135601" marT="0" marB="0"/>
                </a:tc>
                <a:tc>
                  <a:txBody>
                    <a:bodyPr/>
                    <a:lstStyle/>
                    <a:p>
                      <a:pPr algn="ctr">
                        <a:spcAft>
                          <a:spcPts val="0"/>
                        </a:spcAft>
                      </a:pPr>
                      <a:r>
                        <a:rPr lang="en-US" sz="1700" kern="1200" baseline="0" noProof="0" dirty="0">
                          <a:solidFill>
                            <a:schemeClr val="dk1"/>
                          </a:solidFill>
                          <a:effectLst/>
                          <a:latin typeface="+mn-lt"/>
                          <a:ea typeface="+mn-ea"/>
                          <a:cs typeface="+mn-cs"/>
                        </a:rPr>
                        <a:t>0.7 ppm</a:t>
                      </a:r>
                      <a:endParaRPr lang="en-GB" sz="1700" kern="1200" baseline="0" noProof="0" dirty="0">
                        <a:solidFill>
                          <a:schemeClr val="dk1"/>
                        </a:solidFill>
                        <a:effectLst/>
                        <a:latin typeface="+mn-lt"/>
                        <a:ea typeface="+mn-ea"/>
                        <a:cs typeface="+mn-cs"/>
                      </a:endParaRPr>
                    </a:p>
                  </a:txBody>
                  <a:tcPr marL="135601" marR="135601" marT="0" marB="0"/>
                </a:tc>
                <a:extLst>
                  <a:ext uri="{0D108BD9-81ED-4DB2-BD59-A6C34878D82A}">
                    <a16:rowId xmlns:a16="http://schemas.microsoft.com/office/drawing/2014/main" val="10001"/>
                  </a:ext>
                </a:extLst>
              </a:tr>
              <a:tr h="3263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noProof="0" dirty="0">
                          <a:effectLst/>
                        </a:rPr>
                        <a:t>CH</a:t>
                      </a:r>
                      <a:r>
                        <a:rPr lang="en-GB" sz="1600" baseline="-25000" noProof="0" dirty="0">
                          <a:effectLst/>
                        </a:rPr>
                        <a:t>4</a:t>
                      </a:r>
                      <a:endParaRPr lang="en-GB" sz="1600" noProof="0" dirty="0">
                        <a:effectLst/>
                        <a:latin typeface="Calibri" charset="0"/>
                        <a:ea typeface="Calibri" charset="0"/>
                        <a:cs typeface="Times New Roman" charset="0"/>
                      </a:endParaRPr>
                    </a:p>
                  </a:txBody>
                  <a:tcPr marL="135601" marR="135601" marT="0" marB="0">
                    <a:solidFill>
                      <a:schemeClr val="accent1">
                        <a:lumMod val="75000"/>
                      </a:schemeClr>
                    </a:solidFill>
                  </a:tcPr>
                </a:tc>
                <a:tc>
                  <a:txBody>
                    <a:bodyPr/>
                    <a:lstStyle/>
                    <a:p>
                      <a:pPr algn="ctr">
                        <a:spcAft>
                          <a:spcPts val="0"/>
                        </a:spcAft>
                      </a:pPr>
                      <a:r>
                        <a:rPr lang="en-GB" sz="1700" kern="1200" noProof="0" dirty="0">
                          <a:solidFill>
                            <a:schemeClr val="dk1"/>
                          </a:solidFill>
                          <a:effectLst/>
                          <a:latin typeface="+mn-lt"/>
                          <a:ea typeface="+mn-ea"/>
                          <a:cs typeface="+mn-cs"/>
                        </a:rPr>
                        <a:t>4 km</a:t>
                      </a:r>
                      <a:r>
                        <a:rPr lang="en-GB" sz="1700" kern="1200" baseline="30000" noProof="0" dirty="0">
                          <a:solidFill>
                            <a:schemeClr val="dk1"/>
                          </a:solidFill>
                          <a:effectLst/>
                          <a:latin typeface="+mn-lt"/>
                          <a:ea typeface="+mn-ea"/>
                          <a:cs typeface="+mn-cs"/>
                        </a:rPr>
                        <a:t>2</a:t>
                      </a:r>
                    </a:p>
                  </a:txBody>
                  <a:tcPr marL="135601" marR="135601" marT="0" marB="0"/>
                </a:tc>
                <a:tc>
                  <a:txBody>
                    <a:bodyPr/>
                    <a:lstStyle/>
                    <a:p>
                      <a:pPr algn="ctr">
                        <a:spcAft>
                          <a:spcPts val="0"/>
                        </a:spcAft>
                      </a:pPr>
                      <a:r>
                        <a:rPr lang="en-US" sz="1700" kern="1200" baseline="0" noProof="0" dirty="0">
                          <a:solidFill>
                            <a:schemeClr val="dk1"/>
                          </a:solidFill>
                          <a:effectLst/>
                          <a:latin typeface="+mn-lt"/>
                          <a:ea typeface="+mn-ea"/>
                          <a:cs typeface="+mn-cs"/>
                        </a:rPr>
                        <a:t>10 ppb</a:t>
                      </a:r>
                      <a:endParaRPr lang="en-GB" sz="1700" kern="1200" baseline="0" noProof="0" dirty="0">
                        <a:solidFill>
                          <a:schemeClr val="dk1"/>
                        </a:solidFill>
                        <a:effectLst/>
                        <a:latin typeface="+mn-lt"/>
                        <a:ea typeface="+mn-ea"/>
                        <a:cs typeface="+mn-cs"/>
                      </a:endParaRPr>
                    </a:p>
                  </a:txBody>
                  <a:tcPr marL="135601" marR="135601" marT="0" marB="0"/>
                </a:tc>
                <a:extLst>
                  <a:ext uri="{0D108BD9-81ED-4DB2-BD59-A6C34878D82A}">
                    <a16:rowId xmlns:a16="http://schemas.microsoft.com/office/drawing/2014/main" val="10002"/>
                  </a:ext>
                </a:extLst>
              </a:tr>
              <a:tr h="326391">
                <a:tc>
                  <a:txBody>
                    <a:bodyPr/>
                    <a:lstStyle/>
                    <a:p>
                      <a:pPr>
                        <a:spcAft>
                          <a:spcPts val="0"/>
                        </a:spcAft>
                      </a:pPr>
                      <a:r>
                        <a:rPr lang="en-GB" sz="1600" noProof="0" dirty="0">
                          <a:effectLst/>
                        </a:rPr>
                        <a:t>NO</a:t>
                      </a:r>
                      <a:r>
                        <a:rPr lang="en-GB" sz="1600" baseline="-25000" noProof="0" dirty="0">
                          <a:effectLst/>
                        </a:rPr>
                        <a:t>2</a:t>
                      </a:r>
                      <a:endParaRPr lang="en-GB" sz="1600" baseline="0" noProof="0" dirty="0">
                        <a:effectLst/>
                        <a:latin typeface="Calibri" charset="0"/>
                        <a:ea typeface="Calibri" charset="0"/>
                        <a:cs typeface="Times New Roman" charset="0"/>
                      </a:endParaRPr>
                    </a:p>
                  </a:txBody>
                  <a:tcPr marL="135601" marR="135601" marT="0" marB="0">
                    <a:solidFill>
                      <a:schemeClr val="accent1">
                        <a:lumMod val="75000"/>
                      </a:schemeClr>
                    </a:solidFill>
                  </a:tcPr>
                </a:tc>
                <a:tc>
                  <a:txBody>
                    <a:bodyPr/>
                    <a:lstStyle/>
                    <a:p>
                      <a:pPr algn="ctr">
                        <a:spcAft>
                          <a:spcPts val="0"/>
                        </a:spcAft>
                      </a:pPr>
                      <a:r>
                        <a:rPr lang="en-GB" sz="1700" kern="1200" noProof="0" dirty="0">
                          <a:solidFill>
                            <a:schemeClr val="dk1"/>
                          </a:solidFill>
                          <a:effectLst/>
                          <a:latin typeface="+mn-lt"/>
                          <a:ea typeface="+mn-ea"/>
                          <a:cs typeface="+mn-cs"/>
                        </a:rPr>
                        <a:t>4 km</a:t>
                      </a:r>
                      <a:r>
                        <a:rPr lang="en-GB" sz="1700" kern="1200" baseline="30000" noProof="0" dirty="0">
                          <a:solidFill>
                            <a:schemeClr val="dk1"/>
                          </a:solidFill>
                          <a:effectLst/>
                          <a:latin typeface="+mn-lt"/>
                          <a:ea typeface="+mn-ea"/>
                          <a:cs typeface="+mn-cs"/>
                        </a:rPr>
                        <a:t>2</a:t>
                      </a:r>
                      <a:endParaRPr lang="en-GB" sz="1700" noProof="0" dirty="0">
                        <a:effectLst/>
                        <a:latin typeface="Calibri" charset="0"/>
                        <a:ea typeface="Calibri" charset="0"/>
                        <a:cs typeface="Times New Roman" charset="0"/>
                      </a:endParaRPr>
                    </a:p>
                  </a:txBody>
                  <a:tcPr marL="135601" marR="135601" marT="0" marB="0"/>
                </a:tc>
                <a:tc>
                  <a:txBody>
                    <a:bodyPr/>
                    <a:lstStyle/>
                    <a:p>
                      <a:pPr algn="ctr">
                        <a:spcAft>
                          <a:spcPts val="0"/>
                        </a:spcAft>
                      </a:pPr>
                      <a:r>
                        <a:rPr lang="en-US" sz="1700" kern="1200" baseline="0" noProof="0" dirty="0">
                          <a:solidFill>
                            <a:schemeClr val="dk1"/>
                          </a:solidFill>
                          <a:effectLst/>
                          <a:latin typeface="+mn-lt"/>
                          <a:ea typeface="+mn-ea"/>
                          <a:cs typeface="+mn-cs"/>
                        </a:rPr>
                        <a:t>1.5 10</a:t>
                      </a:r>
                      <a:r>
                        <a:rPr lang="en-US" sz="1700" kern="1200" baseline="30000" noProof="0" dirty="0">
                          <a:solidFill>
                            <a:schemeClr val="dk1"/>
                          </a:solidFill>
                          <a:effectLst/>
                          <a:latin typeface="+mn-lt"/>
                          <a:ea typeface="+mn-ea"/>
                          <a:cs typeface="+mn-cs"/>
                        </a:rPr>
                        <a:t>15 </a:t>
                      </a:r>
                      <a:r>
                        <a:rPr lang="en-GB" sz="1400" baseline="0" noProof="0" dirty="0">
                          <a:effectLst/>
                        </a:rPr>
                        <a:t>molecules cm</a:t>
                      </a:r>
                      <a:r>
                        <a:rPr lang="en-GB" sz="1400" baseline="30000" noProof="0" dirty="0">
                          <a:effectLst/>
                        </a:rPr>
                        <a:t>-2</a:t>
                      </a:r>
                      <a:endParaRPr lang="en-GB" sz="1700" kern="1200" baseline="30000" noProof="0" dirty="0">
                        <a:solidFill>
                          <a:schemeClr val="dk1"/>
                        </a:solidFill>
                        <a:effectLst/>
                        <a:latin typeface="+mn-lt"/>
                        <a:ea typeface="+mn-ea"/>
                        <a:cs typeface="+mn-cs"/>
                      </a:endParaRPr>
                    </a:p>
                  </a:txBody>
                  <a:tcPr marL="135601" marR="135601" marT="0" marB="0"/>
                </a:tc>
                <a:extLst>
                  <a:ext uri="{0D108BD9-81ED-4DB2-BD59-A6C34878D82A}">
                    <a16:rowId xmlns:a16="http://schemas.microsoft.com/office/drawing/2014/main" val="10005"/>
                  </a:ext>
                </a:extLst>
              </a:tr>
              <a:tr h="3138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kern="1200" noProof="0" dirty="0">
                          <a:solidFill>
                            <a:schemeClr val="lt1"/>
                          </a:solidFill>
                          <a:effectLst/>
                          <a:latin typeface="+mn-lt"/>
                          <a:ea typeface="+mn-ea"/>
                          <a:cs typeface="+mn-cs"/>
                        </a:rPr>
                        <a:t>Vegetation </a:t>
                      </a:r>
                      <a:r>
                        <a:rPr lang="en-GB" sz="1600" noProof="0" dirty="0">
                          <a:effectLst/>
                          <a:latin typeface="+mn-lt"/>
                          <a:ea typeface="+mn-ea"/>
                          <a:cs typeface="+mn-cs"/>
                        </a:rPr>
                        <a:t>SIF</a:t>
                      </a:r>
                      <a:endParaRPr lang="en-GB" sz="1600" noProof="0" dirty="0">
                        <a:effectLst/>
                        <a:latin typeface="Calibri" charset="0"/>
                        <a:ea typeface="Calibri" charset="0"/>
                        <a:cs typeface="Times New Roman" charset="0"/>
                      </a:endParaRPr>
                    </a:p>
                  </a:txBody>
                  <a:tcPr marL="135601" marR="135601" marT="0" marB="0">
                    <a:solidFill>
                      <a:schemeClr val="accent1">
                        <a:lumMod val="75000"/>
                      </a:schemeClr>
                    </a:solidFill>
                  </a:tcPr>
                </a:tc>
                <a:tc>
                  <a:txBody>
                    <a:bodyPr/>
                    <a:lstStyle/>
                    <a:p>
                      <a:pPr algn="ctr">
                        <a:spcAft>
                          <a:spcPts val="0"/>
                        </a:spcAft>
                      </a:pPr>
                      <a:r>
                        <a:rPr lang="en-GB" sz="1700" kern="1200" noProof="0" dirty="0">
                          <a:solidFill>
                            <a:schemeClr val="dk1"/>
                          </a:solidFill>
                          <a:effectLst/>
                          <a:latin typeface="+mn-lt"/>
                          <a:ea typeface="+mn-ea"/>
                          <a:cs typeface="+mn-cs"/>
                        </a:rPr>
                        <a:t>4 km</a:t>
                      </a:r>
                      <a:r>
                        <a:rPr lang="en-GB" sz="1700" kern="1200" baseline="30000" noProof="0" dirty="0">
                          <a:solidFill>
                            <a:schemeClr val="dk1"/>
                          </a:solidFill>
                          <a:effectLst/>
                          <a:latin typeface="+mn-lt"/>
                          <a:ea typeface="+mn-ea"/>
                          <a:cs typeface="+mn-cs"/>
                        </a:rPr>
                        <a:t>2</a:t>
                      </a:r>
                    </a:p>
                  </a:txBody>
                  <a:tcPr marL="135601" marR="135601" marT="0" marB="0"/>
                </a:tc>
                <a:tc>
                  <a:txBody>
                    <a:bodyPr/>
                    <a:lstStyle/>
                    <a:p>
                      <a:pPr algn="ctr">
                        <a:spcAft>
                          <a:spcPts val="0"/>
                        </a:spcAft>
                      </a:pPr>
                      <a:r>
                        <a:rPr lang="en-GB" sz="1700" kern="1200" baseline="0" noProof="0" dirty="0">
                          <a:solidFill>
                            <a:schemeClr val="dk1"/>
                          </a:solidFill>
                          <a:effectLst/>
                          <a:latin typeface="+mn-lt"/>
                          <a:ea typeface="+mn-ea"/>
                          <a:cs typeface="+mn-cs"/>
                        </a:rPr>
                        <a:t>0.7 </a:t>
                      </a:r>
                      <a:r>
                        <a:rPr lang="en-GB" sz="1400" kern="1200" baseline="0" noProof="0" dirty="0" err="1">
                          <a:solidFill>
                            <a:schemeClr val="dk1"/>
                          </a:solidFill>
                          <a:effectLst/>
                          <a:latin typeface="+mn-lt"/>
                          <a:ea typeface="+mn-ea"/>
                          <a:cs typeface="+mn-cs"/>
                        </a:rPr>
                        <a:t>mW</a:t>
                      </a:r>
                      <a:r>
                        <a:rPr lang="en-GB" sz="1400" kern="1200" baseline="0" noProof="0" dirty="0">
                          <a:solidFill>
                            <a:schemeClr val="dk1"/>
                          </a:solidFill>
                          <a:effectLst/>
                          <a:latin typeface="+mn-lt"/>
                          <a:ea typeface="+mn-ea"/>
                          <a:cs typeface="+mn-cs"/>
                        </a:rPr>
                        <a:t> m</a:t>
                      </a:r>
                      <a:r>
                        <a:rPr lang="en-GB" sz="1400" kern="1200" baseline="30000" noProof="0" dirty="0">
                          <a:solidFill>
                            <a:schemeClr val="dk1"/>
                          </a:solidFill>
                          <a:effectLst/>
                          <a:latin typeface="+mn-lt"/>
                          <a:ea typeface="+mn-ea"/>
                          <a:cs typeface="+mn-cs"/>
                        </a:rPr>
                        <a:t>-2</a:t>
                      </a:r>
                      <a:r>
                        <a:rPr lang="en-GB" sz="1400" kern="1200" baseline="0" noProof="0" dirty="0">
                          <a:solidFill>
                            <a:schemeClr val="dk1"/>
                          </a:solidFill>
                          <a:effectLst/>
                          <a:latin typeface="+mn-lt"/>
                          <a:ea typeface="+mn-ea"/>
                          <a:cs typeface="+mn-cs"/>
                        </a:rPr>
                        <a:t> sr</a:t>
                      </a:r>
                      <a:r>
                        <a:rPr lang="en-GB" sz="1400" kern="1200" baseline="30000" noProof="0" dirty="0">
                          <a:solidFill>
                            <a:schemeClr val="dk1"/>
                          </a:solidFill>
                          <a:effectLst/>
                          <a:latin typeface="+mn-lt"/>
                          <a:ea typeface="+mn-ea"/>
                          <a:cs typeface="+mn-cs"/>
                        </a:rPr>
                        <a:t>-1 </a:t>
                      </a:r>
                      <a:r>
                        <a:rPr lang="en-GB" sz="1400" kern="1200" baseline="0" noProof="0" dirty="0">
                          <a:solidFill>
                            <a:schemeClr val="dk1"/>
                          </a:solidFill>
                          <a:effectLst/>
                          <a:latin typeface="+mn-lt"/>
                          <a:ea typeface="+mn-ea"/>
                          <a:cs typeface="+mn-cs"/>
                        </a:rPr>
                        <a:t>nm</a:t>
                      </a:r>
                      <a:r>
                        <a:rPr lang="en-GB" sz="1700" kern="1200" baseline="30000" noProof="0" dirty="0">
                          <a:solidFill>
                            <a:schemeClr val="dk1"/>
                          </a:solidFill>
                          <a:effectLst/>
                          <a:latin typeface="+mn-lt"/>
                          <a:ea typeface="+mn-ea"/>
                          <a:cs typeface="+mn-cs"/>
                        </a:rPr>
                        <a:t>-1</a:t>
                      </a:r>
                    </a:p>
                  </a:txBody>
                  <a:tcPr marL="135601" marR="135601" marT="0" marB="0"/>
                </a:tc>
                <a:extLst>
                  <a:ext uri="{0D108BD9-81ED-4DB2-BD59-A6C34878D82A}">
                    <a16:rowId xmlns:a16="http://schemas.microsoft.com/office/drawing/2014/main" val="10006"/>
                  </a:ext>
                </a:extLst>
              </a:tr>
              <a:tr h="3138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kern="1200" noProof="0" dirty="0">
                          <a:solidFill>
                            <a:schemeClr val="lt1"/>
                          </a:solidFill>
                          <a:effectLst/>
                          <a:latin typeface="+mn-lt"/>
                          <a:ea typeface="+mn-ea"/>
                          <a:cs typeface="+mn-cs"/>
                        </a:rPr>
                        <a:t>Aerosol </a:t>
                      </a:r>
                      <a:r>
                        <a:rPr lang="en-US" sz="1600" b="1" kern="1200" noProof="0" dirty="0" err="1">
                          <a:solidFill>
                            <a:schemeClr val="lt1"/>
                          </a:solidFill>
                          <a:effectLst/>
                          <a:latin typeface="+mn-lt"/>
                          <a:ea typeface="+mn-ea"/>
                          <a:cs typeface="+mn-cs"/>
                        </a:rPr>
                        <a:t>params</a:t>
                      </a:r>
                      <a:endParaRPr lang="en-GB" sz="1600" b="1" kern="1200" noProof="0" dirty="0">
                        <a:solidFill>
                          <a:schemeClr val="lt1"/>
                        </a:solidFill>
                        <a:effectLst/>
                        <a:latin typeface="+mn-lt"/>
                        <a:ea typeface="+mn-ea"/>
                        <a:cs typeface="+mn-cs"/>
                      </a:endParaRPr>
                    </a:p>
                  </a:txBody>
                  <a:tcPr marL="135601" marR="135601" marT="0" marB="0">
                    <a:solidFill>
                      <a:schemeClr val="accent1">
                        <a:lumMod val="75000"/>
                      </a:schemeClr>
                    </a:solidFill>
                  </a:tcPr>
                </a:tc>
                <a:tc>
                  <a:txBody>
                    <a:bodyPr/>
                    <a:lstStyle/>
                    <a:p>
                      <a:pPr algn="ctr">
                        <a:spcAft>
                          <a:spcPts val="0"/>
                        </a:spcAft>
                      </a:pPr>
                      <a:r>
                        <a:rPr lang="en-GB" sz="1700" kern="1200" noProof="0" dirty="0">
                          <a:solidFill>
                            <a:schemeClr val="dk1"/>
                          </a:solidFill>
                          <a:effectLst/>
                          <a:latin typeface="+mn-lt"/>
                          <a:ea typeface="+mn-ea"/>
                          <a:cs typeface="+mn-cs"/>
                        </a:rPr>
                        <a:t>16 km</a:t>
                      </a:r>
                      <a:r>
                        <a:rPr lang="en-GB" sz="1700" kern="1200" baseline="30000" noProof="0" dirty="0">
                          <a:solidFill>
                            <a:schemeClr val="dk1"/>
                          </a:solidFill>
                          <a:effectLst/>
                          <a:latin typeface="+mn-lt"/>
                          <a:ea typeface="+mn-ea"/>
                          <a:cs typeface="+mn-cs"/>
                        </a:rPr>
                        <a:t>2</a:t>
                      </a:r>
                    </a:p>
                  </a:txBody>
                  <a:tcPr marL="135601" marR="135601" marT="0" marB="0"/>
                </a:tc>
                <a:tc>
                  <a:txBody>
                    <a:bodyPr/>
                    <a:lstStyle/>
                    <a:p>
                      <a:pPr algn="ctr">
                        <a:spcAft>
                          <a:spcPts val="0"/>
                        </a:spcAft>
                      </a:pPr>
                      <a:r>
                        <a:rPr lang="en-US" sz="1700" kern="1200" baseline="0" noProof="0" dirty="0">
                          <a:solidFill>
                            <a:schemeClr val="dk1"/>
                          </a:solidFill>
                          <a:effectLst/>
                          <a:latin typeface="+mn-lt"/>
                          <a:ea typeface="+mn-ea"/>
                          <a:cs typeface="+mn-cs"/>
                        </a:rPr>
                        <a:t>0.05 AOD, 500 m LH</a:t>
                      </a:r>
                      <a:endParaRPr lang="en-GB" sz="1700" kern="1200" baseline="0" noProof="0" dirty="0">
                        <a:solidFill>
                          <a:schemeClr val="dk1"/>
                        </a:solidFill>
                        <a:effectLst/>
                        <a:latin typeface="+mn-lt"/>
                        <a:ea typeface="+mn-ea"/>
                        <a:cs typeface="+mn-cs"/>
                      </a:endParaRPr>
                    </a:p>
                  </a:txBody>
                  <a:tcPr marL="135601" marR="135601" marT="0" marB="0"/>
                </a:tc>
                <a:extLst>
                  <a:ext uri="{0D108BD9-81ED-4DB2-BD59-A6C34878D82A}">
                    <a16:rowId xmlns:a16="http://schemas.microsoft.com/office/drawing/2014/main" val="2962595184"/>
                  </a:ext>
                </a:extLst>
              </a:tr>
              <a:tr h="3138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kern="1200" noProof="0" dirty="0">
                          <a:solidFill>
                            <a:schemeClr val="lt1"/>
                          </a:solidFill>
                          <a:effectLst/>
                          <a:latin typeface="+mn-lt"/>
                          <a:ea typeface="+mn-ea"/>
                          <a:cs typeface="+mn-cs"/>
                        </a:rPr>
                        <a:t>Cloud fraction</a:t>
                      </a:r>
                      <a:endParaRPr lang="en-GB" sz="1600" b="1" kern="1200" noProof="0" dirty="0">
                        <a:solidFill>
                          <a:schemeClr val="lt1"/>
                        </a:solidFill>
                        <a:effectLst/>
                        <a:latin typeface="+mn-lt"/>
                        <a:ea typeface="+mn-ea"/>
                        <a:cs typeface="+mn-cs"/>
                      </a:endParaRPr>
                    </a:p>
                  </a:txBody>
                  <a:tcPr marL="135601" marR="135601" marT="0" marB="0">
                    <a:solidFill>
                      <a:schemeClr val="accent1">
                        <a:lumMod val="75000"/>
                      </a:schemeClr>
                    </a:solidFill>
                  </a:tcPr>
                </a:tc>
                <a:tc>
                  <a:txBody>
                    <a:bodyPr/>
                    <a:lstStyle/>
                    <a:p>
                      <a:pPr algn="ctr">
                        <a:spcAft>
                          <a:spcPts val="0"/>
                        </a:spcAft>
                      </a:pPr>
                      <a:r>
                        <a:rPr lang="en-US" sz="1700" kern="1200" baseline="0" noProof="0" dirty="0">
                          <a:solidFill>
                            <a:schemeClr val="dk1"/>
                          </a:solidFill>
                          <a:effectLst/>
                          <a:latin typeface="+mn-lt"/>
                          <a:ea typeface="+mn-ea"/>
                          <a:cs typeface="+mn-cs"/>
                        </a:rPr>
                        <a:t>1%</a:t>
                      </a:r>
                      <a:endParaRPr lang="en-GB" sz="1700" kern="1200" baseline="0" noProof="0" dirty="0">
                        <a:solidFill>
                          <a:schemeClr val="dk1"/>
                        </a:solidFill>
                        <a:effectLst/>
                        <a:latin typeface="+mn-lt"/>
                        <a:ea typeface="+mn-ea"/>
                        <a:cs typeface="+mn-cs"/>
                      </a:endParaRPr>
                    </a:p>
                  </a:txBody>
                  <a:tcPr marL="135601" marR="135601" marT="0" marB="0"/>
                </a:tc>
                <a:tc>
                  <a:txBody>
                    <a:bodyPr/>
                    <a:lstStyle/>
                    <a:p>
                      <a:pPr algn="ctr">
                        <a:spcAft>
                          <a:spcPts val="0"/>
                        </a:spcAft>
                      </a:pPr>
                      <a:r>
                        <a:rPr lang="en-US" sz="1700" kern="1200" baseline="0" noProof="0" dirty="0">
                          <a:solidFill>
                            <a:schemeClr val="dk1"/>
                          </a:solidFill>
                          <a:effectLst/>
                          <a:latin typeface="+mn-lt"/>
                          <a:ea typeface="+mn-ea"/>
                          <a:cs typeface="+mn-cs"/>
                        </a:rPr>
                        <a:t>Water clouds &amp; cirrus</a:t>
                      </a:r>
                      <a:endParaRPr lang="en-GB" sz="1700" kern="1200" baseline="0" noProof="0" dirty="0">
                        <a:solidFill>
                          <a:schemeClr val="dk1"/>
                        </a:solidFill>
                        <a:effectLst/>
                        <a:latin typeface="+mn-lt"/>
                        <a:ea typeface="+mn-ea"/>
                        <a:cs typeface="+mn-cs"/>
                      </a:endParaRPr>
                    </a:p>
                  </a:txBody>
                  <a:tcPr marL="135601" marR="135601" marT="0" marB="0"/>
                </a:tc>
                <a:extLst>
                  <a:ext uri="{0D108BD9-81ED-4DB2-BD59-A6C34878D82A}">
                    <a16:rowId xmlns:a16="http://schemas.microsoft.com/office/drawing/2014/main" val="479787669"/>
                  </a:ext>
                </a:extLst>
              </a:tr>
            </a:tbl>
          </a:graphicData>
        </a:graphic>
      </p:graphicFrame>
      <p:pic>
        <p:nvPicPr>
          <p:cNvPr id="6" name="Picture 5">
            <a:extLst>
              <a:ext uri="{FF2B5EF4-FFF2-40B4-BE49-F238E27FC236}">
                <a16:creationId xmlns:a16="http://schemas.microsoft.com/office/drawing/2014/main" id="{FC34E119-EF83-E4CD-B917-0A55B412D1CA}"/>
              </a:ext>
            </a:extLst>
          </p:cNvPr>
          <p:cNvPicPr>
            <a:picLocks noChangeAspect="1"/>
          </p:cNvPicPr>
          <p:nvPr/>
        </p:nvPicPr>
        <p:blipFill>
          <a:blip r:embed="rId4"/>
          <a:srcRect l="3334" r="3334"/>
          <a:stretch/>
        </p:blipFill>
        <p:spPr>
          <a:xfrm>
            <a:off x="2843103" y="4313539"/>
            <a:ext cx="4071115" cy="2014942"/>
          </a:xfrm>
          <a:prstGeom prst="rect">
            <a:avLst/>
          </a:prstGeom>
        </p:spPr>
      </p:pic>
      <p:pic>
        <p:nvPicPr>
          <p:cNvPr id="9" name="Picture 8" descr="A green planet with different colors&#10;&#10;Description automatically generated">
            <a:extLst>
              <a:ext uri="{FF2B5EF4-FFF2-40B4-BE49-F238E27FC236}">
                <a16:creationId xmlns:a16="http://schemas.microsoft.com/office/drawing/2014/main" id="{724C6949-0C7C-5CE0-CE4A-01C97838B60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05943" y="3501686"/>
            <a:ext cx="4602628" cy="2588979"/>
          </a:xfrm>
          <a:prstGeom prst="rect">
            <a:avLst/>
          </a:prstGeom>
        </p:spPr>
      </p:pic>
    </p:spTree>
    <p:extLst>
      <p:ext uri="{BB962C8B-B14F-4D97-AF65-F5344CB8AC3E}">
        <p14:creationId xmlns:p14="http://schemas.microsoft.com/office/powerpoint/2010/main" val="30188751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99"/>
        <p:cNvGrpSpPr/>
        <p:nvPr/>
      </p:nvGrpSpPr>
      <p:grpSpPr>
        <a:xfrm>
          <a:off x="0" y="0"/>
          <a:ext cx="0" cy="0"/>
          <a:chOff x="0" y="0"/>
          <a:chExt cx="0" cy="0"/>
        </a:xfrm>
      </p:grpSpPr>
      <p:sp>
        <p:nvSpPr>
          <p:cNvPr id="100" name="Google Shape;100;p14"/>
          <p:cNvSpPr txBox="1">
            <a:spLocks noGrp="1"/>
          </p:cNvSpPr>
          <p:nvPr>
            <p:ph type="body" idx="1"/>
          </p:nvPr>
        </p:nvSpPr>
        <p:spPr>
          <a:xfrm>
            <a:off x="192191" y="1078626"/>
            <a:ext cx="11464053" cy="4836963"/>
          </a:xfrm>
          <a:prstGeom prst="rect">
            <a:avLst/>
          </a:prstGeom>
        </p:spPr>
        <p:txBody>
          <a:bodyPr spcFirstLastPara="1" vert="horz" wrap="square" lIns="91176" tIns="45575" rIns="91176" bIns="45575" rtlCol="0" anchor="t" anchorCtr="0">
            <a:noAutofit/>
          </a:bodyPr>
          <a:lstStyle/>
          <a:p>
            <a:r>
              <a:rPr lang="en-GB" sz="2394" dirty="0"/>
              <a:t>Working Group on Climate jointly with CGMS</a:t>
            </a:r>
            <a:endParaRPr sz="2394" dirty="0"/>
          </a:p>
          <a:p>
            <a:pPr lvl="1">
              <a:spcBef>
                <a:spcPts val="997"/>
              </a:spcBef>
            </a:pPr>
            <a:r>
              <a:rPr lang="en-GB" sz="1995" dirty="0"/>
              <a:t>Focal point for UNFCCC Engagement</a:t>
            </a:r>
            <a:endParaRPr sz="1995" dirty="0"/>
          </a:p>
          <a:p>
            <a:pPr lvl="1">
              <a:spcBef>
                <a:spcPts val="997"/>
              </a:spcBef>
            </a:pPr>
            <a:r>
              <a:rPr lang="en-GB" sz="1995" u="sng" dirty="0">
                <a:solidFill>
                  <a:schemeClr val="hlink"/>
                </a:solidFill>
                <a:hlinkClick r:id="rId3"/>
              </a:rPr>
              <a:t>ECV Inventory</a:t>
            </a:r>
            <a:endParaRPr sz="1995" dirty="0"/>
          </a:p>
          <a:p>
            <a:pPr lvl="1">
              <a:spcBef>
                <a:spcPts val="997"/>
              </a:spcBef>
            </a:pPr>
            <a:r>
              <a:rPr lang="en-GB" sz="1995" dirty="0"/>
              <a:t>CEOS responses to the GCOS IP</a:t>
            </a:r>
            <a:endParaRPr sz="1995" dirty="0"/>
          </a:p>
          <a:p>
            <a:r>
              <a:rPr lang="en-GB" sz="2394" dirty="0"/>
              <a:t>Roadmaps of CEOS on</a:t>
            </a:r>
          </a:p>
          <a:p>
            <a:pPr lvl="1">
              <a:spcBef>
                <a:spcPts val="997"/>
              </a:spcBef>
            </a:pPr>
            <a:r>
              <a:rPr lang="en-GB" sz="1995" u="sng" dirty="0">
                <a:solidFill>
                  <a:schemeClr val="hlink"/>
                </a:solidFill>
                <a:hlinkClick r:id="rId4"/>
              </a:rPr>
              <a:t>GHG</a:t>
            </a:r>
            <a:endParaRPr lang="en-GB" sz="1995" dirty="0"/>
          </a:p>
          <a:p>
            <a:pPr lvl="1">
              <a:spcBef>
                <a:spcPts val="997"/>
              </a:spcBef>
            </a:pPr>
            <a:r>
              <a:rPr lang="en-GB" sz="1995" dirty="0"/>
              <a:t>AFOLU</a:t>
            </a:r>
          </a:p>
          <a:p>
            <a:pPr lvl="1">
              <a:spcBef>
                <a:spcPts val="997"/>
              </a:spcBef>
            </a:pPr>
            <a:r>
              <a:rPr lang="en-GB" sz="1995" dirty="0"/>
              <a:t>Aquatic Carbon (TBD) </a:t>
            </a:r>
          </a:p>
          <a:p>
            <a:r>
              <a:rPr lang="en-GB" sz="2394" dirty="0"/>
              <a:t>GHG Task Team (lead Yasjka </a:t>
            </a:r>
            <a:r>
              <a:rPr lang="en-GB" sz="2394" dirty="0" err="1"/>
              <a:t>meijer</a:t>
            </a:r>
            <a:r>
              <a:rPr lang="en-GB" sz="2394" dirty="0"/>
              <a:t>)</a:t>
            </a:r>
          </a:p>
          <a:p>
            <a:pPr lvl="1"/>
            <a:r>
              <a:rPr lang="en-GB" sz="1995" dirty="0"/>
              <a:t>Interface with all relevant CEOS WGs</a:t>
            </a:r>
          </a:p>
          <a:p>
            <a:pPr lvl="1"/>
            <a:r>
              <a:rPr lang="en-GB" sz="1995" dirty="0"/>
              <a:t>Responsible for implementing GHG Roadmap</a:t>
            </a:r>
          </a:p>
          <a:p>
            <a:pPr lvl="1">
              <a:spcBef>
                <a:spcPts val="997"/>
              </a:spcBef>
            </a:pPr>
            <a:endParaRPr lang="en-GB" sz="1995" dirty="0"/>
          </a:p>
        </p:txBody>
      </p:sp>
      <p:sp>
        <p:nvSpPr>
          <p:cNvPr id="101" name="Google Shape;101;p14"/>
          <p:cNvSpPr txBox="1">
            <a:spLocks noGrp="1"/>
          </p:cNvSpPr>
          <p:nvPr>
            <p:ph type="title"/>
          </p:nvPr>
        </p:nvSpPr>
        <p:spPr>
          <a:xfrm>
            <a:off x="192191" y="184810"/>
            <a:ext cx="9361402" cy="776975"/>
          </a:xfrm>
          <a:prstGeom prst="rect">
            <a:avLst/>
          </a:prstGeom>
        </p:spPr>
        <p:txBody>
          <a:bodyPr spcFirstLastPara="1" vert="horz" wrap="square" lIns="91176" tIns="45575" rIns="91176" bIns="45575" rtlCol="0" anchor="t" anchorCtr="0">
            <a:noAutofit/>
          </a:bodyPr>
          <a:lstStyle/>
          <a:p>
            <a:r>
              <a:rPr lang="en-GB" sz="3590" dirty="0">
                <a:latin typeface="+mn-lt"/>
              </a:rPr>
              <a:t>Committee on Earth Observation Satellites</a:t>
            </a:r>
            <a:endParaRPr sz="3590" dirty="0"/>
          </a:p>
        </p:txBody>
      </p:sp>
      <p:pic>
        <p:nvPicPr>
          <p:cNvPr id="102" name="Google Shape;102;p14"/>
          <p:cNvPicPr preferRelativeResize="0"/>
          <p:nvPr/>
        </p:nvPicPr>
        <p:blipFill>
          <a:blip r:embed="rId5">
            <a:alphaModFix/>
          </a:blip>
          <a:stretch>
            <a:fillRect/>
          </a:stretch>
        </p:blipFill>
        <p:spPr>
          <a:xfrm>
            <a:off x="9551514" y="3653244"/>
            <a:ext cx="2322407" cy="2572780"/>
          </a:xfrm>
          <a:prstGeom prst="rect">
            <a:avLst/>
          </a:prstGeom>
          <a:noFill/>
          <a:ln>
            <a:noFill/>
          </a:ln>
        </p:spPr>
      </p:pic>
      <p:pic>
        <p:nvPicPr>
          <p:cNvPr id="103" name="Google Shape;103;p14"/>
          <p:cNvPicPr preferRelativeResize="0"/>
          <p:nvPr/>
        </p:nvPicPr>
        <p:blipFill>
          <a:blip r:embed="rId6">
            <a:alphaModFix/>
          </a:blip>
          <a:stretch>
            <a:fillRect/>
          </a:stretch>
        </p:blipFill>
        <p:spPr>
          <a:xfrm>
            <a:off x="7882132" y="942413"/>
            <a:ext cx="2322407" cy="2572780"/>
          </a:xfrm>
          <a:prstGeom prst="rect">
            <a:avLst/>
          </a:prstGeom>
          <a:noFill/>
          <a:ln>
            <a:noFill/>
          </a:ln>
        </p:spPr>
      </p:pic>
      <p:pic>
        <p:nvPicPr>
          <p:cNvPr id="104" name="Google Shape;104;p14"/>
          <p:cNvPicPr preferRelativeResize="0"/>
          <p:nvPr/>
        </p:nvPicPr>
        <p:blipFill>
          <a:blip r:embed="rId7">
            <a:alphaModFix/>
          </a:blip>
          <a:stretch>
            <a:fillRect/>
          </a:stretch>
        </p:blipFill>
        <p:spPr>
          <a:xfrm>
            <a:off x="9769188" y="1433753"/>
            <a:ext cx="2322407" cy="2572780"/>
          </a:xfrm>
          <a:prstGeom prst="rect">
            <a:avLst/>
          </a:prstGeom>
          <a:noFill/>
          <a:ln>
            <a:noFill/>
          </a:ln>
        </p:spPr>
      </p:pic>
      <p:pic>
        <p:nvPicPr>
          <p:cNvPr id="105" name="Google Shape;105;p14"/>
          <p:cNvPicPr preferRelativeResize="0"/>
          <p:nvPr/>
        </p:nvPicPr>
        <p:blipFill>
          <a:blip r:embed="rId8">
            <a:alphaModFix/>
          </a:blip>
          <a:stretch>
            <a:fillRect/>
          </a:stretch>
        </p:blipFill>
        <p:spPr>
          <a:xfrm>
            <a:off x="6274947" y="2323412"/>
            <a:ext cx="1684171" cy="2383558"/>
          </a:xfrm>
          <a:prstGeom prst="rect">
            <a:avLst/>
          </a:prstGeom>
          <a:noFill/>
          <a:ln>
            <a:noFill/>
          </a:ln>
        </p:spPr>
      </p:pic>
      <p:pic>
        <p:nvPicPr>
          <p:cNvPr id="2" name="Picture 1">
            <a:extLst>
              <a:ext uri="{FF2B5EF4-FFF2-40B4-BE49-F238E27FC236}">
                <a16:creationId xmlns:a16="http://schemas.microsoft.com/office/drawing/2014/main" id="{FFE9DFD0-860E-6054-EC64-34EF5162463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751756" y="3112094"/>
            <a:ext cx="1846564" cy="2616718"/>
          </a:xfrm>
          <a:prstGeom prst="rect">
            <a:avLst/>
          </a:prstGeom>
          <a:ln>
            <a:solidFill>
              <a:schemeClr val="tx1"/>
            </a:solidFill>
          </a:ln>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59"/>
        <p:cNvGrpSpPr/>
        <p:nvPr/>
      </p:nvGrpSpPr>
      <p:grpSpPr>
        <a:xfrm>
          <a:off x="0" y="0"/>
          <a:ext cx="0" cy="0"/>
          <a:chOff x="0" y="0"/>
          <a:chExt cx="0" cy="0"/>
        </a:xfrm>
      </p:grpSpPr>
      <p:sp>
        <p:nvSpPr>
          <p:cNvPr id="160" name="Google Shape;160;p17"/>
          <p:cNvSpPr txBox="1">
            <a:spLocks noGrp="1"/>
          </p:cNvSpPr>
          <p:nvPr>
            <p:ph type="body" idx="1"/>
          </p:nvPr>
        </p:nvSpPr>
        <p:spPr>
          <a:xfrm>
            <a:off x="192191" y="1562571"/>
            <a:ext cx="5732326" cy="3997774"/>
          </a:xfrm>
          <a:prstGeom prst="rect">
            <a:avLst/>
          </a:prstGeom>
        </p:spPr>
        <p:txBody>
          <a:bodyPr spcFirstLastPara="1" vert="horz" wrap="square" lIns="91176" tIns="45575" rIns="91176" bIns="45575" rtlCol="0" anchor="t" anchorCtr="0">
            <a:noAutofit/>
          </a:bodyPr>
          <a:lstStyle/>
          <a:p>
            <a:pPr marL="0" indent="0">
              <a:buNone/>
            </a:pPr>
            <a:r>
              <a:rPr lang="en-GB" sz="2394" dirty="0"/>
              <a:t>Coordinated set of capabilities from different partners focusing on observing a particular parameter</a:t>
            </a:r>
          </a:p>
          <a:p>
            <a:pPr marL="0" indent="0">
              <a:buNone/>
            </a:pPr>
            <a:endParaRPr lang="en-GB" sz="2394" dirty="0"/>
          </a:p>
          <a:p>
            <a:pPr marL="0" indent="0">
              <a:buNone/>
            </a:pPr>
            <a:r>
              <a:rPr lang="en-GB" sz="2394" dirty="0"/>
              <a:t>GHGs are covered under AC-VC, </a:t>
            </a:r>
            <a:br>
              <a:rPr lang="en-GB" sz="2394" dirty="0"/>
            </a:br>
            <a:r>
              <a:rPr lang="en-GB" sz="2394" dirty="0"/>
              <a:t>which is led by John Worden (NASA)</a:t>
            </a:r>
          </a:p>
          <a:p>
            <a:pPr marL="0" indent="0">
              <a:buNone/>
            </a:pPr>
            <a:endParaRPr lang="en-GB" sz="2394" dirty="0"/>
          </a:p>
        </p:txBody>
      </p:sp>
      <p:sp>
        <p:nvSpPr>
          <p:cNvPr id="161" name="Google Shape;161;p17"/>
          <p:cNvSpPr txBox="1">
            <a:spLocks noGrp="1"/>
          </p:cNvSpPr>
          <p:nvPr>
            <p:ph type="title"/>
          </p:nvPr>
        </p:nvSpPr>
        <p:spPr>
          <a:xfrm>
            <a:off x="192191" y="184810"/>
            <a:ext cx="9361402" cy="776975"/>
          </a:xfrm>
          <a:prstGeom prst="rect">
            <a:avLst/>
          </a:prstGeom>
        </p:spPr>
        <p:txBody>
          <a:bodyPr spcFirstLastPara="1" vert="horz" wrap="square" lIns="91176" tIns="45575" rIns="91176" bIns="45575" rtlCol="0" anchor="t" anchorCtr="0">
            <a:noAutofit/>
          </a:bodyPr>
          <a:lstStyle/>
          <a:p>
            <a:r>
              <a:rPr lang="en-GB" dirty="0"/>
              <a:t>CEOS Virtual Constellations</a:t>
            </a:r>
            <a:endParaRPr dirty="0"/>
          </a:p>
        </p:txBody>
      </p:sp>
      <p:sp>
        <p:nvSpPr>
          <p:cNvPr id="162" name="Google Shape;162;p17"/>
          <p:cNvSpPr/>
          <p:nvPr/>
        </p:nvSpPr>
        <p:spPr>
          <a:xfrm>
            <a:off x="6095869" y="1562571"/>
            <a:ext cx="6096131" cy="3780373"/>
          </a:xfrm>
          <a:prstGeom prst="rect">
            <a:avLst/>
          </a:prstGeom>
          <a:solidFill>
            <a:schemeClr val="accent1"/>
          </a:solidFill>
          <a:ln>
            <a:noFill/>
          </a:ln>
        </p:spPr>
        <p:txBody>
          <a:bodyPr spcFirstLastPara="1" wrap="square" lIns="91176" tIns="91176" rIns="91176" bIns="91176" anchor="ctr" anchorCtr="0">
            <a:noAutofit/>
          </a:bodyPr>
          <a:lstStyle/>
          <a:p>
            <a:pPr>
              <a:buClr>
                <a:srgbClr val="000000"/>
              </a:buClr>
              <a:buSzPts val="1100"/>
            </a:pPr>
            <a:r>
              <a:rPr lang="en-GB" sz="1795">
                <a:solidFill>
                  <a:srgbClr val="000000"/>
                </a:solidFill>
                <a:latin typeface="Arial"/>
              </a:rPr>
              <a:t> </a:t>
            </a:r>
            <a:endParaRPr sz="1795">
              <a:solidFill>
                <a:srgbClr val="000000"/>
              </a:solidFill>
              <a:latin typeface="Arial"/>
            </a:endParaRPr>
          </a:p>
          <a:p>
            <a:pPr>
              <a:buClr>
                <a:srgbClr val="000000"/>
              </a:buClr>
              <a:buSzPts val="1100"/>
            </a:pPr>
            <a:endParaRPr sz="1795">
              <a:solidFill>
                <a:srgbClr val="000000"/>
              </a:solidFill>
              <a:latin typeface="Arial"/>
            </a:endParaRPr>
          </a:p>
        </p:txBody>
      </p:sp>
      <p:sp>
        <p:nvSpPr>
          <p:cNvPr id="163" name="Google Shape;163;p17"/>
          <p:cNvSpPr txBox="1">
            <a:spLocks noGrp="1"/>
          </p:cNvSpPr>
          <p:nvPr>
            <p:ph type="body" idx="1"/>
          </p:nvPr>
        </p:nvSpPr>
        <p:spPr>
          <a:xfrm>
            <a:off x="5593127" y="1756553"/>
            <a:ext cx="6406682" cy="3344895"/>
          </a:xfrm>
          <a:prstGeom prst="rect">
            <a:avLst/>
          </a:prstGeom>
        </p:spPr>
        <p:txBody>
          <a:bodyPr spcFirstLastPara="1" vert="horz" wrap="square" lIns="91176" tIns="45575" rIns="91176" bIns="45575" rtlCol="0" anchor="t" anchorCtr="0">
            <a:noAutofit/>
          </a:bodyPr>
          <a:lstStyle/>
          <a:p>
            <a:pPr marL="1367897" indent="-354640">
              <a:buClr>
                <a:srgbClr val="00FF00"/>
              </a:buClr>
              <a:buSzPts val="2000"/>
            </a:pPr>
            <a:r>
              <a:rPr lang="en-GB" sz="1995" b="1" dirty="0">
                <a:solidFill>
                  <a:srgbClr val="00FF00"/>
                </a:solidFill>
              </a:rPr>
              <a:t>Atmospheric Composition (AC-VC)</a:t>
            </a:r>
            <a:endParaRPr sz="1995" b="1" dirty="0">
              <a:solidFill>
                <a:srgbClr val="00FF00"/>
              </a:solidFill>
            </a:endParaRPr>
          </a:p>
          <a:p>
            <a:pPr marL="1367897" indent="-354640">
              <a:spcBef>
                <a:spcPts val="1496"/>
              </a:spcBef>
              <a:buClr>
                <a:schemeClr val="lt1"/>
              </a:buClr>
              <a:buSzPts val="2000"/>
            </a:pPr>
            <a:r>
              <a:rPr lang="en-GB" sz="1995" dirty="0">
                <a:solidFill>
                  <a:schemeClr val="lt1"/>
                </a:solidFill>
              </a:rPr>
              <a:t>Land Surface Imaging (LSI-VC)</a:t>
            </a:r>
            <a:endParaRPr sz="1995" dirty="0">
              <a:solidFill>
                <a:schemeClr val="lt1"/>
              </a:solidFill>
            </a:endParaRPr>
          </a:p>
          <a:p>
            <a:pPr marL="1367897" indent="-354640">
              <a:spcBef>
                <a:spcPts val="1496"/>
              </a:spcBef>
              <a:buClr>
                <a:schemeClr val="lt1"/>
              </a:buClr>
              <a:buSzPts val="2000"/>
            </a:pPr>
            <a:r>
              <a:rPr lang="en-GB" sz="1995" dirty="0">
                <a:solidFill>
                  <a:schemeClr val="lt1"/>
                </a:solidFill>
              </a:rPr>
              <a:t>Ocean Colour Radiometry (OCR-VC)</a:t>
            </a:r>
            <a:endParaRPr sz="1995" dirty="0">
              <a:solidFill>
                <a:schemeClr val="lt1"/>
              </a:solidFill>
            </a:endParaRPr>
          </a:p>
          <a:p>
            <a:pPr marL="1367897" indent="-354640">
              <a:spcBef>
                <a:spcPts val="1496"/>
              </a:spcBef>
              <a:buClr>
                <a:schemeClr val="lt1"/>
              </a:buClr>
              <a:buSzPts val="2000"/>
            </a:pPr>
            <a:r>
              <a:rPr lang="en-GB" sz="1995" dirty="0">
                <a:solidFill>
                  <a:schemeClr val="lt1"/>
                </a:solidFill>
              </a:rPr>
              <a:t>Ocean Surface Topography (OST-VC)</a:t>
            </a:r>
            <a:endParaRPr sz="1995" dirty="0">
              <a:solidFill>
                <a:schemeClr val="lt1"/>
              </a:solidFill>
            </a:endParaRPr>
          </a:p>
          <a:p>
            <a:pPr marL="1367897" indent="-354640">
              <a:spcBef>
                <a:spcPts val="1496"/>
              </a:spcBef>
              <a:buClr>
                <a:schemeClr val="lt1"/>
              </a:buClr>
              <a:buSzPts val="2000"/>
            </a:pPr>
            <a:r>
              <a:rPr lang="en-GB" sz="1995" dirty="0">
                <a:solidFill>
                  <a:schemeClr val="lt1"/>
                </a:solidFill>
              </a:rPr>
              <a:t>Ocean Surface Vector Wind (OSVW-VC)</a:t>
            </a:r>
            <a:endParaRPr sz="1995" dirty="0">
              <a:solidFill>
                <a:schemeClr val="lt1"/>
              </a:solidFill>
            </a:endParaRPr>
          </a:p>
          <a:p>
            <a:pPr marL="1367897" indent="-354640">
              <a:spcBef>
                <a:spcPts val="1496"/>
              </a:spcBef>
              <a:buClr>
                <a:schemeClr val="lt1"/>
              </a:buClr>
              <a:buSzPts val="2000"/>
            </a:pPr>
            <a:r>
              <a:rPr lang="en-GB" sz="1995" dirty="0">
                <a:solidFill>
                  <a:schemeClr val="lt1"/>
                </a:solidFill>
              </a:rPr>
              <a:t>Precipitation (P-VC)</a:t>
            </a:r>
            <a:endParaRPr sz="1995" dirty="0">
              <a:solidFill>
                <a:schemeClr val="lt1"/>
              </a:solidFill>
            </a:endParaRPr>
          </a:p>
          <a:p>
            <a:pPr marL="1367897" indent="-354640">
              <a:spcBef>
                <a:spcPts val="1496"/>
              </a:spcBef>
              <a:spcAft>
                <a:spcPts val="1496"/>
              </a:spcAft>
              <a:buClr>
                <a:schemeClr val="lt1"/>
              </a:buClr>
              <a:buSzPts val="2000"/>
            </a:pPr>
            <a:r>
              <a:rPr lang="en-GB" sz="1995" dirty="0">
                <a:solidFill>
                  <a:schemeClr val="lt1"/>
                </a:solidFill>
              </a:rPr>
              <a:t>Sea Surface Temperature (SST-VC)</a:t>
            </a:r>
            <a:endParaRPr sz="1995" dirty="0">
              <a:solidFill>
                <a:schemeClr val="lt1"/>
              </a:solidFill>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16B8714-A886-06B1-ECBC-F088392F9984}"/>
              </a:ext>
            </a:extLst>
          </p:cNvPr>
          <p:cNvSpPr>
            <a:spLocks noGrp="1"/>
          </p:cNvSpPr>
          <p:nvPr>
            <p:ph type="body" idx="1"/>
          </p:nvPr>
        </p:nvSpPr>
        <p:spPr>
          <a:xfrm>
            <a:off x="339972" y="1116035"/>
            <a:ext cx="10389340" cy="5097756"/>
          </a:xfrm>
        </p:spPr>
        <p:txBody>
          <a:bodyPr/>
          <a:lstStyle/>
          <a:p>
            <a:r>
              <a:rPr lang="en-GB" sz="2394" dirty="0"/>
              <a:t>In development, </a:t>
            </a:r>
            <a:r>
              <a:rPr lang="en-GB" sz="2394" u="sng" dirty="0"/>
              <a:t>CEOS GHG Satellite Missions Portal</a:t>
            </a:r>
          </a:p>
          <a:p>
            <a:endParaRPr lang="en-GB" altLang="en-US" sz="1995" dirty="0">
              <a:solidFill>
                <a:srgbClr val="335E6E"/>
              </a:solidFill>
              <a:latin typeface="Arial" panose="020B0604020202020204" pitchFamily="34" charset="0"/>
              <a:ea typeface="MS PGothic" pitchFamily="34" charset="-128"/>
              <a:cs typeface="Arial" panose="020B0604020202020204" pitchFamily="34" charset="0"/>
            </a:endParaRPr>
          </a:p>
          <a:p>
            <a:endParaRPr lang="en-NL" altLang="en-US" sz="1995" dirty="0">
              <a:solidFill>
                <a:srgbClr val="335E6E"/>
              </a:solidFill>
              <a:latin typeface="Arial" panose="020B0604020202020204" pitchFamily="34" charset="0"/>
              <a:ea typeface="MS PGothic" pitchFamily="34" charset="-128"/>
              <a:cs typeface="Arial" panose="020B0604020202020204" pitchFamily="34" charset="0"/>
            </a:endParaRPr>
          </a:p>
        </p:txBody>
      </p:sp>
      <p:sp>
        <p:nvSpPr>
          <p:cNvPr id="3" name="Title 2">
            <a:extLst>
              <a:ext uri="{FF2B5EF4-FFF2-40B4-BE49-F238E27FC236}">
                <a16:creationId xmlns:a16="http://schemas.microsoft.com/office/drawing/2014/main" id="{5934EC78-9CAC-10BE-E6C2-A97747230FAE}"/>
              </a:ext>
            </a:extLst>
          </p:cNvPr>
          <p:cNvSpPr>
            <a:spLocks noGrp="1"/>
          </p:cNvSpPr>
          <p:nvPr>
            <p:ph type="title"/>
          </p:nvPr>
        </p:nvSpPr>
        <p:spPr/>
        <p:txBody>
          <a:bodyPr/>
          <a:lstStyle/>
          <a:p>
            <a:r>
              <a:rPr lang="en-NL" dirty="0"/>
              <a:t>AC-VC of GHG observations</a:t>
            </a:r>
          </a:p>
        </p:txBody>
      </p:sp>
      <p:pic>
        <p:nvPicPr>
          <p:cNvPr id="4" name="Picture 3">
            <a:extLst>
              <a:ext uri="{FF2B5EF4-FFF2-40B4-BE49-F238E27FC236}">
                <a16:creationId xmlns:a16="http://schemas.microsoft.com/office/drawing/2014/main" id="{CF6128E7-FF5B-D8FD-AC66-5FFE9BAEF337}"/>
              </a:ext>
            </a:extLst>
          </p:cNvPr>
          <p:cNvPicPr>
            <a:picLocks noChangeAspect="1"/>
          </p:cNvPicPr>
          <p:nvPr/>
        </p:nvPicPr>
        <p:blipFill>
          <a:blip r:embed="rId3"/>
          <a:stretch>
            <a:fillRect/>
          </a:stretch>
        </p:blipFill>
        <p:spPr>
          <a:xfrm>
            <a:off x="8951504" y="1011095"/>
            <a:ext cx="3223873" cy="2417905"/>
          </a:xfrm>
          <a:prstGeom prst="rect">
            <a:avLst/>
          </a:prstGeom>
        </p:spPr>
      </p:pic>
      <p:pic>
        <p:nvPicPr>
          <p:cNvPr id="5" name="Picture 4">
            <a:extLst>
              <a:ext uri="{FF2B5EF4-FFF2-40B4-BE49-F238E27FC236}">
                <a16:creationId xmlns:a16="http://schemas.microsoft.com/office/drawing/2014/main" id="{CA6EB608-9F33-4E88-D565-FF9933C72383}"/>
              </a:ext>
            </a:extLst>
          </p:cNvPr>
          <p:cNvPicPr>
            <a:picLocks noChangeAspect="1"/>
          </p:cNvPicPr>
          <p:nvPr/>
        </p:nvPicPr>
        <p:blipFill>
          <a:blip r:embed="rId4"/>
          <a:stretch>
            <a:fillRect/>
          </a:stretch>
        </p:blipFill>
        <p:spPr>
          <a:xfrm>
            <a:off x="8951506" y="3900825"/>
            <a:ext cx="3223872" cy="2417904"/>
          </a:xfrm>
          <a:prstGeom prst="rect">
            <a:avLst/>
          </a:prstGeom>
        </p:spPr>
      </p:pic>
      <p:pic>
        <p:nvPicPr>
          <p:cNvPr id="8" name="Picture 7" descr="A graph showing a bar chart&#10;&#10;Description automatically generated">
            <a:extLst>
              <a:ext uri="{FF2B5EF4-FFF2-40B4-BE49-F238E27FC236}">
                <a16:creationId xmlns:a16="http://schemas.microsoft.com/office/drawing/2014/main" id="{26790794-92E0-3D2E-878C-8337CBACC71A}"/>
              </a:ext>
            </a:extLst>
          </p:cNvPr>
          <p:cNvPicPr>
            <a:picLocks noChangeAspect="1"/>
          </p:cNvPicPr>
          <p:nvPr/>
        </p:nvPicPr>
        <p:blipFill>
          <a:blip r:embed="rId5"/>
          <a:stretch>
            <a:fillRect/>
          </a:stretch>
        </p:blipFill>
        <p:spPr>
          <a:xfrm>
            <a:off x="77321" y="2137368"/>
            <a:ext cx="8444211" cy="3403005"/>
          </a:xfrm>
          <a:prstGeom prst="rect">
            <a:avLst/>
          </a:prstGeom>
        </p:spPr>
      </p:pic>
      <p:pic>
        <p:nvPicPr>
          <p:cNvPr id="6" name="Picture 5">
            <a:extLst>
              <a:ext uri="{FF2B5EF4-FFF2-40B4-BE49-F238E27FC236}">
                <a16:creationId xmlns:a16="http://schemas.microsoft.com/office/drawing/2014/main" id="{845EC13E-ADE4-4A82-2384-CB38399341BD}"/>
              </a:ext>
            </a:extLst>
          </p:cNvPr>
          <p:cNvPicPr>
            <a:picLocks noChangeAspect="1"/>
          </p:cNvPicPr>
          <p:nvPr/>
        </p:nvPicPr>
        <p:blipFill>
          <a:blip r:embed="rId6"/>
          <a:stretch>
            <a:fillRect/>
          </a:stretch>
        </p:blipFill>
        <p:spPr>
          <a:xfrm>
            <a:off x="272936" y="2137368"/>
            <a:ext cx="8248595" cy="3824887"/>
          </a:xfrm>
          <a:prstGeom prst="rect">
            <a:avLst/>
          </a:prstGeom>
        </p:spPr>
      </p:pic>
      <mc:AlternateContent xmlns:mc="http://schemas.openxmlformats.org/markup-compatibility/2006">
        <mc:Choice xmlns:p14="http://schemas.microsoft.com/office/powerpoint/2010/main" Requires="p14">
          <p:contentPart p14:bwMode="auto" r:id="rId7">
            <p14:nvContentPartPr>
              <p14:cNvPr id="13" name="Ink 12">
                <a:extLst>
                  <a:ext uri="{FF2B5EF4-FFF2-40B4-BE49-F238E27FC236}">
                    <a16:creationId xmlns:a16="http://schemas.microsoft.com/office/drawing/2014/main" id="{1D114CAB-CF89-D111-307D-65D9686D6D2F}"/>
                  </a:ext>
                </a:extLst>
              </p14:cNvPr>
              <p14:cNvContentPartPr/>
              <p14:nvPr/>
            </p14:nvContentPartPr>
            <p14:xfrm>
              <a:off x="1494841" y="5586734"/>
              <a:ext cx="702240" cy="24413"/>
            </p14:xfrm>
          </p:contentPart>
        </mc:Choice>
        <mc:Fallback>
          <p:pic>
            <p:nvPicPr>
              <p:cNvPr id="13" name="Ink 12">
                <a:extLst>
                  <a:ext uri="{FF2B5EF4-FFF2-40B4-BE49-F238E27FC236}">
                    <a16:creationId xmlns:a16="http://schemas.microsoft.com/office/drawing/2014/main" id="{1D114CAB-CF89-D111-307D-65D9686D6D2F}"/>
                  </a:ext>
                </a:extLst>
              </p:cNvPr>
              <p:cNvPicPr/>
              <p:nvPr/>
            </p:nvPicPr>
            <p:blipFill>
              <a:blip r:embed="rId8"/>
              <a:stretch>
                <a:fillRect/>
              </a:stretch>
            </p:blipFill>
            <p:spPr>
              <a:xfrm>
                <a:off x="1485847" y="5577759"/>
                <a:ext cx="719868" cy="42005"/>
              </a:xfrm>
              <a:prstGeom prst="rect">
                <a:avLst/>
              </a:prstGeom>
            </p:spPr>
          </p:pic>
        </mc:Fallback>
      </mc:AlternateContent>
    </p:spTree>
    <p:extLst>
      <p:ext uri="{BB962C8B-B14F-4D97-AF65-F5344CB8AC3E}">
        <p14:creationId xmlns:p14="http://schemas.microsoft.com/office/powerpoint/2010/main" val="3966689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par>
                                <p:cTn id="8" presetID="1" presetClass="exit" presetSubtype="0" fill="hold" nodeType="withEffect">
                                  <p:stCondLst>
                                    <p:cond delay="0"/>
                                  </p:stCondLst>
                                  <p:childTnLst>
                                    <p:set>
                                      <p:cBhvr>
                                        <p:cTn id="9" dur="1" fill="hold">
                                          <p:stCondLst>
                                            <p:cond delay="0"/>
                                          </p:stCondLst>
                                        </p:cTn>
                                        <p:tgtEl>
                                          <p:spTgt spid="8"/>
                                        </p:tgtEl>
                                        <p:attrNameLst>
                                          <p:attrName>style.visibility</p:attrName>
                                        </p:attrNameLst>
                                      </p:cBhvr>
                                      <p:to>
                                        <p:strVal val="hidden"/>
                                      </p:to>
                                    </p:set>
                                  </p:childTnLst>
                                </p:cTn>
                              </p:par>
                            </p:childTnLst>
                          </p:cTn>
                        </p:par>
                        <p:par>
                          <p:cTn id="10" fill="hold">
                            <p:stCondLst>
                              <p:cond delay="500"/>
                            </p:stCondLst>
                            <p:childTnLst>
                              <p:par>
                                <p:cTn id="11" presetID="1" presetClass="entr" presetSubtype="0" fill="hold" nodeType="afterEffect">
                                  <p:stCondLst>
                                    <p:cond delay="200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map of the earth&#10;&#10;Description automatically generated">
            <a:extLst>
              <a:ext uri="{FF2B5EF4-FFF2-40B4-BE49-F238E27FC236}">
                <a16:creationId xmlns:a16="http://schemas.microsoft.com/office/drawing/2014/main" id="{D98F07A4-AF68-5490-3207-4705144924DF}"/>
              </a:ext>
            </a:extLst>
          </p:cNvPr>
          <p:cNvPicPr>
            <a:picLocks noChangeAspect="1"/>
          </p:cNvPicPr>
          <p:nvPr/>
        </p:nvPicPr>
        <p:blipFill rotWithShape="1">
          <a:blip r:embed="rId2">
            <a:alphaModFix amt="50000"/>
          </a:blip>
          <a:srcRect b="13414"/>
          <a:stretch/>
        </p:blipFill>
        <p:spPr>
          <a:xfrm>
            <a:off x="0" y="1615903"/>
            <a:ext cx="12192000" cy="5242097"/>
          </a:xfrm>
          <a:prstGeom prst="rect">
            <a:avLst/>
          </a:prstGeom>
        </p:spPr>
      </p:pic>
      <p:pic>
        <p:nvPicPr>
          <p:cNvPr id="7" name="Picture 6" descr="A blue and white logo&#10;&#10;Description automatically generated">
            <a:extLst>
              <a:ext uri="{FF2B5EF4-FFF2-40B4-BE49-F238E27FC236}">
                <a16:creationId xmlns:a16="http://schemas.microsoft.com/office/drawing/2014/main" id="{3EEC12FF-5A05-DE26-A852-D4C56C384E79}"/>
              </a:ext>
            </a:extLst>
          </p:cNvPr>
          <p:cNvPicPr>
            <a:picLocks noChangeAspect="1"/>
          </p:cNvPicPr>
          <p:nvPr/>
        </p:nvPicPr>
        <p:blipFill>
          <a:blip r:embed="rId3"/>
          <a:stretch>
            <a:fillRect/>
          </a:stretch>
        </p:blipFill>
        <p:spPr>
          <a:xfrm>
            <a:off x="0" y="0"/>
            <a:ext cx="12192000" cy="1629674"/>
          </a:xfrm>
          <a:prstGeom prst="rect">
            <a:avLst/>
          </a:prstGeom>
        </p:spPr>
      </p:pic>
      <p:pic>
        <p:nvPicPr>
          <p:cNvPr id="8" name="Picture 7">
            <a:extLst>
              <a:ext uri="{FF2B5EF4-FFF2-40B4-BE49-F238E27FC236}">
                <a16:creationId xmlns:a16="http://schemas.microsoft.com/office/drawing/2014/main" id="{77099513-CA8E-4A24-E14C-6E6D258DBAF2}"/>
              </a:ext>
            </a:extLst>
          </p:cNvPr>
          <p:cNvPicPr>
            <a:picLocks noChangeAspect="1"/>
          </p:cNvPicPr>
          <p:nvPr/>
        </p:nvPicPr>
        <p:blipFill>
          <a:blip r:embed="rId4"/>
          <a:stretch>
            <a:fillRect/>
          </a:stretch>
        </p:blipFill>
        <p:spPr>
          <a:xfrm>
            <a:off x="9436100" y="1308100"/>
            <a:ext cx="2755900" cy="292100"/>
          </a:xfrm>
          <a:prstGeom prst="rect">
            <a:avLst/>
          </a:prstGeom>
        </p:spPr>
      </p:pic>
      <p:pic>
        <p:nvPicPr>
          <p:cNvPr id="10" name="Picture 9" descr="A black and white text&#10;&#10;Description automatically generated">
            <a:extLst>
              <a:ext uri="{FF2B5EF4-FFF2-40B4-BE49-F238E27FC236}">
                <a16:creationId xmlns:a16="http://schemas.microsoft.com/office/drawing/2014/main" id="{7E3478DC-6DB3-EE99-440C-BE3E5C756A35}"/>
              </a:ext>
            </a:extLst>
          </p:cNvPr>
          <p:cNvPicPr>
            <a:picLocks noChangeAspect="1"/>
          </p:cNvPicPr>
          <p:nvPr/>
        </p:nvPicPr>
        <p:blipFill>
          <a:blip r:embed="rId5"/>
          <a:stretch>
            <a:fillRect/>
          </a:stretch>
        </p:blipFill>
        <p:spPr>
          <a:xfrm>
            <a:off x="139016" y="1879991"/>
            <a:ext cx="3926547" cy="1016817"/>
          </a:xfrm>
          <a:prstGeom prst="rect">
            <a:avLst/>
          </a:prstGeom>
        </p:spPr>
      </p:pic>
      <p:sp>
        <p:nvSpPr>
          <p:cNvPr id="12" name="TextBox 11">
            <a:extLst>
              <a:ext uri="{FF2B5EF4-FFF2-40B4-BE49-F238E27FC236}">
                <a16:creationId xmlns:a16="http://schemas.microsoft.com/office/drawing/2014/main" id="{093E5175-D94C-7BE9-9B8F-8FBDF6CAE678}"/>
              </a:ext>
            </a:extLst>
          </p:cNvPr>
          <p:cNvSpPr txBox="1"/>
          <p:nvPr/>
        </p:nvSpPr>
        <p:spPr>
          <a:xfrm>
            <a:off x="0" y="3774047"/>
            <a:ext cx="4784676" cy="1477328"/>
          </a:xfrm>
          <a:prstGeom prst="rect">
            <a:avLst/>
          </a:prstGeom>
          <a:noFill/>
        </p:spPr>
        <p:txBody>
          <a:bodyPr wrap="square">
            <a:spAutoFit/>
          </a:bodyPr>
          <a:lstStyle/>
          <a:p>
            <a:r>
              <a:rPr lang="en-US" b="1" i="1" dirty="0">
                <a:solidFill>
                  <a:schemeClr val="bg1"/>
                </a:solidFill>
                <a:effectLst/>
              </a:rPr>
              <a:t>Article 14 of the Paris Agreement provides that the CMA shall periodically take stock of the implementation of the Paris Agreement to assess collective progress towards achieving its purpose and long-term goals</a:t>
            </a:r>
            <a:r>
              <a:rPr lang="en-US" b="1" i="1" dirty="0">
                <a:solidFill>
                  <a:schemeClr val="bg1"/>
                </a:solidFill>
              </a:rPr>
              <a:t>…</a:t>
            </a:r>
            <a:endParaRPr lang="en-US" b="1" i="1" dirty="0">
              <a:solidFill>
                <a:schemeClr val="bg1"/>
              </a:solidFill>
              <a:effectLst/>
            </a:endParaRPr>
          </a:p>
        </p:txBody>
      </p:sp>
      <p:pic>
        <p:nvPicPr>
          <p:cNvPr id="14" name="Picture 13" descr="A graph showing the growth of the global emission&#10;&#10;Description automatically generated with medium confidence">
            <a:extLst>
              <a:ext uri="{FF2B5EF4-FFF2-40B4-BE49-F238E27FC236}">
                <a16:creationId xmlns:a16="http://schemas.microsoft.com/office/drawing/2014/main" id="{6E8A2ECD-77AA-8DF4-30A1-A46F69E5BCA0}"/>
              </a:ext>
            </a:extLst>
          </p:cNvPr>
          <p:cNvPicPr>
            <a:picLocks noChangeAspect="1"/>
          </p:cNvPicPr>
          <p:nvPr/>
        </p:nvPicPr>
        <p:blipFill>
          <a:blip r:embed="rId6"/>
          <a:stretch>
            <a:fillRect/>
          </a:stretch>
        </p:blipFill>
        <p:spPr>
          <a:xfrm>
            <a:off x="4651615" y="1879991"/>
            <a:ext cx="7443573" cy="4793714"/>
          </a:xfrm>
          <a:prstGeom prst="rect">
            <a:avLst/>
          </a:prstGeom>
        </p:spPr>
      </p:pic>
    </p:spTree>
    <p:extLst>
      <p:ext uri="{BB962C8B-B14F-4D97-AF65-F5344CB8AC3E}">
        <p14:creationId xmlns:p14="http://schemas.microsoft.com/office/powerpoint/2010/main" val="22578716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16B8714-A886-06B1-ECBC-F088392F9984}"/>
              </a:ext>
            </a:extLst>
          </p:cNvPr>
          <p:cNvSpPr>
            <a:spLocks noGrp="1"/>
          </p:cNvSpPr>
          <p:nvPr>
            <p:ph type="body" idx="1"/>
          </p:nvPr>
        </p:nvSpPr>
        <p:spPr>
          <a:xfrm>
            <a:off x="282377" y="1116034"/>
            <a:ext cx="10389340" cy="4220771"/>
          </a:xfrm>
        </p:spPr>
        <p:txBody>
          <a:bodyPr/>
          <a:lstStyle/>
          <a:p>
            <a:r>
              <a:rPr lang="en-GB" altLang="en-US" sz="2394" dirty="0">
                <a:solidFill>
                  <a:srgbClr val="335E6E"/>
                </a:solidFill>
                <a:latin typeface="Arial" panose="020B0604020202020204" pitchFamily="34" charset="0"/>
                <a:ea typeface="MS PGothic" pitchFamily="34" charset="-128"/>
                <a:cs typeface="Arial" panose="020B0604020202020204" pitchFamily="34" charset="0"/>
              </a:rPr>
              <a:t>Besides column-averaged mixing ratios of CO</a:t>
            </a:r>
            <a:r>
              <a:rPr lang="en-GB" altLang="en-US" sz="2394" baseline="-25000" dirty="0">
                <a:solidFill>
                  <a:srgbClr val="335E6E"/>
                </a:solidFill>
                <a:latin typeface="Arial" panose="020B0604020202020204" pitchFamily="34" charset="0"/>
                <a:ea typeface="MS PGothic" pitchFamily="34" charset="-128"/>
                <a:cs typeface="Arial" panose="020B0604020202020204" pitchFamily="34" charset="0"/>
              </a:rPr>
              <a:t>2</a:t>
            </a:r>
            <a:r>
              <a:rPr lang="en-GB" altLang="en-US" sz="2394" dirty="0">
                <a:solidFill>
                  <a:srgbClr val="335E6E"/>
                </a:solidFill>
                <a:latin typeface="Arial" panose="020B0604020202020204" pitchFamily="34" charset="0"/>
                <a:ea typeface="MS PGothic" pitchFamily="34" charset="-128"/>
                <a:cs typeface="Arial" panose="020B0604020202020204" pitchFamily="34" charset="0"/>
              </a:rPr>
              <a:t> &amp; CH</a:t>
            </a:r>
            <a:r>
              <a:rPr lang="en-GB" altLang="en-US" sz="2394" baseline="-25000" dirty="0">
                <a:solidFill>
                  <a:srgbClr val="335E6E"/>
                </a:solidFill>
                <a:latin typeface="Arial" panose="020B0604020202020204" pitchFamily="34" charset="0"/>
                <a:ea typeface="MS PGothic" pitchFamily="34" charset="-128"/>
                <a:cs typeface="Arial" panose="020B0604020202020204" pitchFamily="34" charset="0"/>
              </a:rPr>
              <a:t>4</a:t>
            </a:r>
          </a:p>
          <a:p>
            <a:r>
              <a:rPr lang="en-GB" altLang="en-US" sz="2394" dirty="0">
                <a:solidFill>
                  <a:srgbClr val="335E6E"/>
                </a:solidFill>
                <a:latin typeface="Arial" panose="020B0604020202020204" pitchFamily="34" charset="0"/>
                <a:ea typeface="MS PGothic" pitchFamily="34" charset="-128"/>
                <a:cs typeface="Arial" panose="020B0604020202020204" pitchFamily="34" charset="0"/>
              </a:rPr>
              <a:t>Also other relevant gases and/or related products:</a:t>
            </a:r>
          </a:p>
          <a:p>
            <a:pPr lvl="1"/>
            <a:r>
              <a:rPr lang="en-GB" altLang="en-US" sz="1995" dirty="0">
                <a:solidFill>
                  <a:srgbClr val="335E6E"/>
                </a:solidFill>
                <a:latin typeface="Arial" panose="020B0604020202020204" pitchFamily="34" charset="0"/>
                <a:ea typeface="MS PGothic" pitchFamily="34" charset="-128"/>
                <a:cs typeface="Arial" panose="020B0604020202020204" pitchFamily="34" charset="0"/>
              </a:rPr>
              <a:t>Plume mappers looking at local enhancements of (mainly) CH</a:t>
            </a:r>
            <a:r>
              <a:rPr lang="en-GB" altLang="en-US" sz="1995" baseline="-25000" dirty="0">
                <a:solidFill>
                  <a:srgbClr val="335E6E"/>
                </a:solidFill>
                <a:latin typeface="Arial" panose="020B0604020202020204" pitchFamily="34" charset="0"/>
                <a:ea typeface="MS PGothic" pitchFamily="34" charset="-128"/>
                <a:cs typeface="Arial" panose="020B0604020202020204" pitchFamily="34" charset="0"/>
              </a:rPr>
              <a:t>4</a:t>
            </a:r>
            <a:r>
              <a:rPr lang="en-GB" altLang="en-US" sz="1995" dirty="0">
                <a:solidFill>
                  <a:srgbClr val="335E6E"/>
                </a:solidFill>
                <a:latin typeface="Arial" panose="020B0604020202020204" pitchFamily="34" charset="0"/>
                <a:ea typeface="MS PGothic" pitchFamily="34" charset="-128"/>
                <a:cs typeface="Arial" panose="020B0604020202020204" pitchFamily="34" charset="0"/>
              </a:rPr>
              <a:t> (&amp; CO</a:t>
            </a:r>
            <a:r>
              <a:rPr lang="en-GB" altLang="en-US" sz="1995" baseline="-25000" dirty="0">
                <a:solidFill>
                  <a:srgbClr val="335E6E"/>
                </a:solidFill>
                <a:latin typeface="Arial" panose="020B0604020202020204" pitchFamily="34" charset="0"/>
                <a:ea typeface="MS PGothic" pitchFamily="34" charset="-128"/>
                <a:cs typeface="Arial" panose="020B0604020202020204" pitchFamily="34" charset="0"/>
              </a:rPr>
              <a:t>2</a:t>
            </a:r>
            <a:r>
              <a:rPr lang="en-GB" altLang="en-US" sz="1995" dirty="0">
                <a:solidFill>
                  <a:srgbClr val="335E6E"/>
                </a:solidFill>
                <a:latin typeface="Arial" panose="020B0604020202020204" pitchFamily="34" charset="0"/>
                <a:ea typeface="MS PGothic" pitchFamily="34" charset="-128"/>
                <a:cs typeface="Arial" panose="020B0604020202020204" pitchFamily="34" charset="0"/>
              </a:rPr>
              <a:t>)</a:t>
            </a:r>
          </a:p>
          <a:p>
            <a:pPr lvl="1"/>
            <a:r>
              <a:rPr lang="en-GB" altLang="en-US" sz="1995" dirty="0">
                <a:solidFill>
                  <a:srgbClr val="335E6E"/>
                </a:solidFill>
                <a:latin typeface="Arial" panose="020B0604020202020204" pitchFamily="34" charset="0"/>
                <a:ea typeface="MS PGothic" pitchFamily="34" charset="-128"/>
                <a:cs typeface="Arial" panose="020B0604020202020204" pitchFamily="34" charset="0"/>
              </a:rPr>
              <a:t>NO</a:t>
            </a:r>
            <a:r>
              <a:rPr lang="en-GB" altLang="en-US" sz="1995" baseline="-25000" dirty="0">
                <a:solidFill>
                  <a:srgbClr val="335E6E"/>
                </a:solidFill>
                <a:latin typeface="Arial" panose="020B0604020202020204" pitchFamily="34" charset="0"/>
                <a:ea typeface="MS PGothic" pitchFamily="34" charset="-128"/>
                <a:cs typeface="Arial" panose="020B0604020202020204" pitchFamily="34" charset="0"/>
              </a:rPr>
              <a:t>2</a:t>
            </a:r>
            <a:r>
              <a:rPr lang="en-GB" altLang="en-US" sz="1995" dirty="0">
                <a:solidFill>
                  <a:srgbClr val="335E6E"/>
                </a:solidFill>
                <a:latin typeface="Arial" panose="020B0604020202020204" pitchFamily="34" charset="0"/>
                <a:ea typeface="MS PGothic" pitchFamily="34" charset="-128"/>
                <a:cs typeface="Arial" panose="020B0604020202020204" pitchFamily="34" charset="0"/>
              </a:rPr>
              <a:t> leading to to plumes of CO</a:t>
            </a:r>
            <a:r>
              <a:rPr lang="en-GB" altLang="en-US" sz="1995" baseline="-25000" dirty="0">
                <a:solidFill>
                  <a:srgbClr val="335E6E"/>
                </a:solidFill>
                <a:latin typeface="Arial" panose="020B0604020202020204" pitchFamily="34" charset="0"/>
                <a:ea typeface="MS PGothic" pitchFamily="34" charset="-128"/>
                <a:cs typeface="Arial" panose="020B0604020202020204" pitchFamily="34" charset="0"/>
              </a:rPr>
              <a:t>2</a:t>
            </a:r>
          </a:p>
          <a:p>
            <a:pPr lvl="1"/>
            <a:r>
              <a:rPr lang="en-GB" altLang="en-US" sz="1995" dirty="0">
                <a:solidFill>
                  <a:srgbClr val="335E6E"/>
                </a:solidFill>
                <a:latin typeface="Arial" panose="020B0604020202020204" pitchFamily="34" charset="0"/>
                <a:ea typeface="MS PGothic" pitchFamily="34" charset="-128"/>
                <a:cs typeface="Arial" panose="020B0604020202020204" pitchFamily="34" charset="0"/>
              </a:rPr>
              <a:t>Biomass, vegetation indices, landcover, </a:t>
            </a:r>
            <a:br>
              <a:rPr lang="en-GB" altLang="en-US" sz="1995" dirty="0">
                <a:solidFill>
                  <a:srgbClr val="335E6E"/>
                </a:solidFill>
                <a:latin typeface="Arial" panose="020B0604020202020204" pitchFamily="34" charset="0"/>
                <a:ea typeface="MS PGothic" pitchFamily="34" charset="-128"/>
                <a:cs typeface="Arial" panose="020B0604020202020204" pitchFamily="34" charset="0"/>
              </a:rPr>
            </a:br>
            <a:r>
              <a:rPr lang="en-GB" altLang="en-US" sz="1995" dirty="0">
                <a:solidFill>
                  <a:srgbClr val="335E6E"/>
                </a:solidFill>
                <a:latin typeface="Arial" panose="020B0604020202020204" pitchFamily="34" charset="0"/>
                <a:ea typeface="MS PGothic" pitchFamily="34" charset="-128"/>
                <a:cs typeface="Arial" panose="020B0604020202020204" pitchFamily="34" charset="0"/>
              </a:rPr>
              <a:t>deforestation maps and other land products</a:t>
            </a:r>
          </a:p>
          <a:p>
            <a:r>
              <a:rPr lang="en-NL" altLang="en-US" sz="1995" dirty="0">
                <a:solidFill>
                  <a:srgbClr val="335E6E"/>
                </a:solidFill>
                <a:latin typeface="Arial" panose="020B0604020202020204" pitchFamily="34" charset="0"/>
                <a:ea typeface="MS PGothic" pitchFamily="34" charset="-128"/>
                <a:cs typeface="Arial" panose="020B0604020202020204" pitchFamily="34" charset="0"/>
              </a:rPr>
              <a:t>Or other input in upport of models</a:t>
            </a:r>
          </a:p>
          <a:p>
            <a:pPr lvl="1"/>
            <a:r>
              <a:rPr lang="en-GB" altLang="en-US" sz="1995" dirty="0">
                <a:solidFill>
                  <a:srgbClr val="335E6E"/>
                </a:solidFill>
                <a:latin typeface="Arial" panose="020B0604020202020204" pitchFamily="34" charset="0"/>
                <a:ea typeface="MS PGothic" pitchFamily="34" charset="-128"/>
                <a:cs typeface="Arial" panose="020B0604020202020204" pitchFamily="34" charset="0"/>
              </a:rPr>
              <a:t>Solar-induced vegetation fluorescence</a:t>
            </a:r>
          </a:p>
          <a:p>
            <a:pPr lvl="1"/>
            <a:r>
              <a:rPr lang="en-GB" altLang="en-US" sz="1995" dirty="0">
                <a:solidFill>
                  <a:srgbClr val="335E6E"/>
                </a:solidFill>
                <a:latin typeface="Arial" panose="020B0604020202020204" pitchFamily="34" charset="0"/>
                <a:ea typeface="MS PGothic" pitchFamily="34" charset="-128"/>
                <a:cs typeface="Arial" panose="020B0604020202020204" pitchFamily="34" charset="0"/>
              </a:rPr>
              <a:t>Nightlights</a:t>
            </a:r>
          </a:p>
          <a:p>
            <a:pPr lvl="1"/>
            <a:r>
              <a:rPr lang="en-GB" altLang="en-US" sz="1995" dirty="0">
                <a:solidFill>
                  <a:srgbClr val="335E6E"/>
                </a:solidFill>
                <a:latin typeface="Arial" panose="020B0604020202020204" pitchFamily="34" charset="0"/>
                <a:ea typeface="MS PGothic" pitchFamily="34" charset="-128"/>
                <a:cs typeface="Arial" panose="020B0604020202020204" pitchFamily="34" charset="0"/>
              </a:rPr>
              <a:t>Inundation maps</a:t>
            </a:r>
            <a:endParaRPr lang="en-NL" altLang="en-US" sz="1995" dirty="0">
              <a:solidFill>
                <a:srgbClr val="335E6E"/>
              </a:solidFill>
              <a:latin typeface="Arial" panose="020B0604020202020204" pitchFamily="34" charset="0"/>
              <a:ea typeface="MS PGothic" pitchFamily="34" charset="-128"/>
              <a:cs typeface="Arial" panose="020B0604020202020204" pitchFamily="34" charset="0"/>
            </a:endParaRPr>
          </a:p>
        </p:txBody>
      </p:sp>
      <p:sp>
        <p:nvSpPr>
          <p:cNvPr id="3" name="Title 2">
            <a:extLst>
              <a:ext uri="{FF2B5EF4-FFF2-40B4-BE49-F238E27FC236}">
                <a16:creationId xmlns:a16="http://schemas.microsoft.com/office/drawing/2014/main" id="{5934EC78-9CAC-10BE-E6C2-A97747230FAE}"/>
              </a:ext>
            </a:extLst>
          </p:cNvPr>
          <p:cNvSpPr>
            <a:spLocks noGrp="1"/>
          </p:cNvSpPr>
          <p:nvPr>
            <p:ph type="title"/>
          </p:nvPr>
        </p:nvSpPr>
        <p:spPr/>
        <p:txBody>
          <a:bodyPr/>
          <a:lstStyle/>
          <a:p>
            <a:r>
              <a:rPr lang="en-NL" dirty="0"/>
              <a:t>Other space-based observations</a:t>
            </a:r>
          </a:p>
        </p:txBody>
      </p:sp>
      <p:sp>
        <p:nvSpPr>
          <p:cNvPr id="4" name="TextBox 3">
            <a:extLst>
              <a:ext uri="{FF2B5EF4-FFF2-40B4-BE49-F238E27FC236}">
                <a16:creationId xmlns:a16="http://schemas.microsoft.com/office/drawing/2014/main" id="{6CA51424-5861-A955-CF06-F47C10E33719}"/>
              </a:ext>
            </a:extLst>
          </p:cNvPr>
          <p:cNvSpPr txBox="1"/>
          <p:nvPr/>
        </p:nvSpPr>
        <p:spPr>
          <a:xfrm>
            <a:off x="10367623" y="5798061"/>
            <a:ext cx="1364723" cy="276244"/>
          </a:xfrm>
          <a:prstGeom prst="rect">
            <a:avLst/>
          </a:prstGeom>
          <a:solidFill>
            <a:schemeClr val="tx2">
              <a:lumMod val="20000"/>
              <a:lumOff val="80000"/>
            </a:schemeClr>
          </a:solidFill>
        </p:spPr>
        <p:txBody>
          <a:bodyPr wrap="square" rtlCol="0">
            <a:spAutoFit/>
          </a:bodyPr>
          <a:lstStyle/>
          <a:p>
            <a:r>
              <a:rPr lang="en-US" sz="1197" dirty="0">
                <a:solidFill>
                  <a:srgbClr val="000000"/>
                </a:solidFill>
                <a:latin typeface="Arial"/>
              </a:rPr>
              <a:t>Credits: EMPA</a:t>
            </a:r>
          </a:p>
        </p:txBody>
      </p:sp>
      <p:pic>
        <p:nvPicPr>
          <p:cNvPr id="5" name="Picture 32">
            <a:extLst>
              <a:ext uri="{FF2B5EF4-FFF2-40B4-BE49-F238E27FC236}">
                <a16:creationId xmlns:a16="http://schemas.microsoft.com/office/drawing/2014/main" id="{B7864918-63B7-A10E-E20E-AD3428DA69FF}"/>
              </a:ext>
            </a:extLst>
          </p:cNvPr>
          <p:cNvPicPr/>
          <p:nvPr/>
        </p:nvPicPr>
        <p:blipFill>
          <a:blip r:embed="rId3">
            <a:extLst>
              <a:ext uri="{28A0092B-C50C-407E-A947-70E740481C1C}">
                <a14:useLocalDpi xmlns:a14="http://schemas.microsoft.com/office/drawing/2010/main" val="0"/>
              </a:ext>
            </a:extLst>
          </a:blip>
          <a:stretch>
            <a:fillRect/>
          </a:stretch>
        </p:blipFill>
        <p:spPr bwMode="auto">
          <a:xfrm>
            <a:off x="7499163" y="2658261"/>
            <a:ext cx="2954545" cy="1536946"/>
          </a:xfrm>
          <a:prstGeom prst="rect">
            <a:avLst/>
          </a:prstGeom>
          <a:noFill/>
          <a:ln>
            <a:noFill/>
          </a:ln>
        </p:spPr>
      </p:pic>
      <p:pic>
        <p:nvPicPr>
          <p:cNvPr id="6" name="Picture 30">
            <a:extLst>
              <a:ext uri="{FF2B5EF4-FFF2-40B4-BE49-F238E27FC236}">
                <a16:creationId xmlns:a16="http://schemas.microsoft.com/office/drawing/2014/main" id="{8BD65A61-AE0F-AA58-06E9-CA0808E5180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bwMode="auto">
          <a:xfrm>
            <a:off x="7508829" y="4327997"/>
            <a:ext cx="2954545" cy="1857108"/>
          </a:xfrm>
          <a:prstGeom prst="rect">
            <a:avLst/>
          </a:prstGeom>
          <a:noFill/>
          <a:ln>
            <a:noFill/>
          </a:ln>
        </p:spPr>
      </p:pic>
      <p:sp>
        <p:nvSpPr>
          <p:cNvPr id="7" name="TextBox 6">
            <a:extLst>
              <a:ext uri="{FF2B5EF4-FFF2-40B4-BE49-F238E27FC236}">
                <a16:creationId xmlns:a16="http://schemas.microsoft.com/office/drawing/2014/main" id="{8163917C-4569-ED0C-D434-EAC2739ADB00}"/>
              </a:ext>
            </a:extLst>
          </p:cNvPr>
          <p:cNvSpPr txBox="1"/>
          <p:nvPr/>
        </p:nvSpPr>
        <p:spPr>
          <a:xfrm>
            <a:off x="10463374" y="3559806"/>
            <a:ext cx="1513749" cy="306938"/>
          </a:xfrm>
          <a:prstGeom prst="rect">
            <a:avLst/>
          </a:prstGeom>
          <a:noFill/>
        </p:spPr>
        <p:txBody>
          <a:bodyPr wrap="square" rtlCol="0">
            <a:spAutoFit/>
          </a:bodyPr>
          <a:lstStyle/>
          <a:p>
            <a:r>
              <a:rPr lang="en-US" sz="1396" dirty="0">
                <a:solidFill>
                  <a:srgbClr val="000000"/>
                </a:solidFill>
                <a:latin typeface="Arial"/>
              </a:rPr>
              <a:t>XCO</a:t>
            </a:r>
            <a:r>
              <a:rPr lang="en-US" sz="1396" baseline="-25000" dirty="0">
                <a:solidFill>
                  <a:srgbClr val="000000"/>
                </a:solidFill>
                <a:latin typeface="Arial"/>
              </a:rPr>
              <a:t>2</a:t>
            </a:r>
            <a:r>
              <a:rPr lang="en-US" sz="1396" dirty="0">
                <a:solidFill>
                  <a:srgbClr val="000000"/>
                </a:solidFill>
                <a:latin typeface="Arial"/>
              </a:rPr>
              <a:t> plumes</a:t>
            </a:r>
          </a:p>
        </p:txBody>
      </p:sp>
      <p:sp>
        <p:nvSpPr>
          <p:cNvPr id="8" name="TextBox 7">
            <a:extLst>
              <a:ext uri="{FF2B5EF4-FFF2-40B4-BE49-F238E27FC236}">
                <a16:creationId xmlns:a16="http://schemas.microsoft.com/office/drawing/2014/main" id="{9BA40959-26CD-DB17-4187-5AA1F20C6FAF}"/>
              </a:ext>
            </a:extLst>
          </p:cNvPr>
          <p:cNvSpPr txBox="1"/>
          <p:nvPr/>
        </p:nvSpPr>
        <p:spPr>
          <a:xfrm>
            <a:off x="10453710" y="4852549"/>
            <a:ext cx="1221503" cy="306938"/>
          </a:xfrm>
          <a:prstGeom prst="rect">
            <a:avLst/>
          </a:prstGeom>
          <a:noFill/>
        </p:spPr>
        <p:txBody>
          <a:bodyPr wrap="square" rtlCol="0">
            <a:spAutoFit/>
          </a:bodyPr>
          <a:lstStyle/>
          <a:p>
            <a:r>
              <a:rPr lang="en-US" sz="1396" dirty="0">
                <a:solidFill>
                  <a:srgbClr val="000000"/>
                </a:solidFill>
                <a:latin typeface="Arial"/>
              </a:rPr>
              <a:t>NO</a:t>
            </a:r>
            <a:r>
              <a:rPr lang="en-US" sz="1396" baseline="-25000" dirty="0">
                <a:solidFill>
                  <a:srgbClr val="000000"/>
                </a:solidFill>
                <a:latin typeface="Arial"/>
              </a:rPr>
              <a:t>2</a:t>
            </a:r>
            <a:r>
              <a:rPr lang="en-US" sz="1396" dirty="0">
                <a:solidFill>
                  <a:srgbClr val="000000"/>
                </a:solidFill>
                <a:latin typeface="Arial"/>
              </a:rPr>
              <a:t> plumes</a:t>
            </a:r>
          </a:p>
        </p:txBody>
      </p:sp>
      <p:pic>
        <p:nvPicPr>
          <p:cNvPr id="1026" name="Picture 2">
            <a:extLst>
              <a:ext uri="{FF2B5EF4-FFF2-40B4-BE49-F238E27FC236}">
                <a16:creationId xmlns:a16="http://schemas.microsoft.com/office/drawing/2014/main" id="{B0FAD628-36EA-AC2E-DD0D-182D854776F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90771" y="4213229"/>
            <a:ext cx="2921300" cy="1971877"/>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F6977C89-54C3-BE52-789D-3ACD9EC2449A}"/>
              </a:ext>
            </a:extLst>
          </p:cNvPr>
          <p:cNvSpPr txBox="1"/>
          <p:nvPr/>
        </p:nvSpPr>
        <p:spPr>
          <a:xfrm>
            <a:off x="1446877" y="5606002"/>
            <a:ext cx="2443894" cy="521793"/>
          </a:xfrm>
          <a:prstGeom prst="rect">
            <a:avLst/>
          </a:prstGeom>
          <a:noFill/>
        </p:spPr>
        <p:txBody>
          <a:bodyPr wrap="square">
            <a:spAutoFit/>
          </a:bodyPr>
          <a:lstStyle/>
          <a:p>
            <a:pPr algn="r"/>
            <a:r>
              <a:rPr lang="en-GB" sz="1396" dirty="0">
                <a:solidFill>
                  <a:srgbClr val="000000"/>
                </a:solidFill>
                <a:latin typeface="Arial"/>
              </a:rPr>
              <a:t>Europe at Night </a:t>
            </a:r>
          </a:p>
          <a:p>
            <a:pPr algn="r"/>
            <a:r>
              <a:rPr lang="en-GB" sz="1396" dirty="0">
                <a:solidFill>
                  <a:srgbClr val="000000"/>
                </a:solidFill>
                <a:latin typeface="Arial"/>
              </a:rPr>
              <a:t>Courtesy: DMSP and NASA</a:t>
            </a:r>
            <a:endParaRPr lang="en-NL" sz="1396" dirty="0">
              <a:solidFill>
                <a:srgbClr val="000000"/>
              </a:solidFill>
              <a:latin typeface="Arial"/>
            </a:endParaRPr>
          </a:p>
        </p:txBody>
      </p:sp>
    </p:spTree>
    <p:extLst>
      <p:ext uri="{BB962C8B-B14F-4D97-AF65-F5344CB8AC3E}">
        <p14:creationId xmlns:p14="http://schemas.microsoft.com/office/powerpoint/2010/main" val="10924390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9274EA1-851E-A24C-8B7E-259A4EE2ECEC}"/>
              </a:ext>
            </a:extLst>
          </p:cNvPr>
          <p:cNvSpPr>
            <a:spLocks noGrp="1"/>
          </p:cNvSpPr>
          <p:nvPr>
            <p:ph type="body" idx="1"/>
          </p:nvPr>
        </p:nvSpPr>
        <p:spPr>
          <a:xfrm>
            <a:off x="253581" y="2193686"/>
            <a:ext cx="11186151" cy="2576666"/>
          </a:xfrm>
        </p:spPr>
        <p:txBody>
          <a:bodyPr/>
          <a:lstStyle/>
          <a:p>
            <a:pPr marL="50663" indent="0" algn="ctr">
              <a:buNone/>
            </a:pPr>
            <a:r>
              <a:rPr lang="en-NL" sz="3590" b="1" dirty="0"/>
              <a:t>CEOS, specifically through GHG TT </a:t>
            </a:r>
          </a:p>
          <a:p>
            <a:pPr marL="50663" indent="0" algn="ctr">
              <a:buNone/>
            </a:pPr>
            <a:r>
              <a:rPr lang="en-GB" sz="3590" b="1" dirty="0"/>
              <a:t>a</a:t>
            </a:r>
            <a:r>
              <a:rPr lang="en-NL" sz="3590" b="1" dirty="0"/>
              <a:t>nd AC-VC, is </a:t>
            </a:r>
            <a:r>
              <a:rPr lang="en-US" sz="3590" b="1" dirty="0"/>
              <a:t>your partner for GHG</a:t>
            </a:r>
          </a:p>
          <a:p>
            <a:pPr marL="50663" indent="0" algn="ctr">
              <a:buNone/>
            </a:pPr>
            <a:r>
              <a:rPr lang="en-US" sz="3590" b="1" dirty="0"/>
              <a:t>and other Earth Observation from space</a:t>
            </a:r>
            <a:endParaRPr lang="en-NL" sz="3590" b="1" dirty="0"/>
          </a:p>
        </p:txBody>
      </p:sp>
    </p:spTree>
    <p:extLst>
      <p:ext uri="{BB962C8B-B14F-4D97-AF65-F5344CB8AC3E}">
        <p14:creationId xmlns:p14="http://schemas.microsoft.com/office/powerpoint/2010/main" val="4400333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FCB2B6F-C413-0743-AFC2-A733D46084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290"/>
            <a:ext cx="12192000" cy="6856208"/>
          </a:xfrm>
          <a:prstGeom prst="rect">
            <a:avLst/>
          </a:prstGeom>
        </p:spPr>
      </p:pic>
      <p:sp>
        <p:nvSpPr>
          <p:cNvPr id="2" name="Title 1">
            <a:extLst>
              <a:ext uri="{FF2B5EF4-FFF2-40B4-BE49-F238E27FC236}">
                <a16:creationId xmlns:a16="http://schemas.microsoft.com/office/drawing/2014/main" id="{958A3730-4217-A44F-8745-541C3E10DD7F}"/>
              </a:ext>
            </a:extLst>
          </p:cNvPr>
          <p:cNvSpPr>
            <a:spLocks noGrp="1"/>
          </p:cNvSpPr>
          <p:nvPr>
            <p:ph type="title"/>
          </p:nvPr>
        </p:nvSpPr>
        <p:spPr>
          <a:xfrm>
            <a:off x="7520485" y="6150293"/>
            <a:ext cx="4051293" cy="552487"/>
          </a:xfrm>
        </p:spPr>
        <p:txBody>
          <a:bodyPr>
            <a:normAutofit fontScale="90000"/>
          </a:bodyPr>
          <a:lstStyle/>
          <a:p>
            <a:pPr algn="ctr"/>
            <a:r>
              <a:rPr lang="en-NL" dirty="0">
                <a:solidFill>
                  <a:schemeClr val="bg1"/>
                </a:solidFill>
              </a:rPr>
              <a:t>THANK     YOU</a:t>
            </a:r>
          </a:p>
        </p:txBody>
      </p:sp>
    </p:spTree>
    <p:extLst>
      <p:ext uri="{BB962C8B-B14F-4D97-AF65-F5344CB8AC3E}">
        <p14:creationId xmlns:p14="http://schemas.microsoft.com/office/powerpoint/2010/main" val="21126261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CFA701-9393-5E78-28B9-FFC8E3922687}"/>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69C0A9A3-5F54-9B95-EDBE-4471ADC199D2}"/>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28799033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B3F4CA-7C0B-BC43-A4E9-D457EB05491A}"/>
              </a:ext>
            </a:extLst>
          </p:cNvPr>
          <p:cNvSpPr/>
          <p:nvPr/>
        </p:nvSpPr>
        <p:spPr>
          <a:xfrm>
            <a:off x="400440" y="5876758"/>
            <a:ext cx="4171335" cy="646331"/>
          </a:xfrm>
          <a:prstGeom prst="rect">
            <a:avLst/>
          </a:prstGeom>
        </p:spPr>
        <p:txBody>
          <a:bodyPr wrap="none">
            <a:spAutoFit/>
          </a:bodyPr>
          <a:lstStyle/>
          <a:p>
            <a:r>
              <a:rPr lang="en-US" dirty="0">
                <a:solidFill>
                  <a:srgbClr val="000000"/>
                </a:solidFill>
                <a:latin typeface="Roboto" panose="02000000000000000000" pitchFamily="2" charset="0"/>
                <a:ea typeface="Roboto" panose="02000000000000000000" pitchFamily="2" charset="0"/>
              </a:rPr>
              <a:t>Steven Hamburg</a:t>
            </a:r>
          </a:p>
          <a:p>
            <a:r>
              <a:rPr lang="en-US" dirty="0">
                <a:solidFill>
                  <a:srgbClr val="000000"/>
                </a:solidFill>
                <a:latin typeface="Roboto" panose="02000000000000000000" pitchFamily="2" charset="0"/>
                <a:ea typeface="Roboto" panose="02000000000000000000" pitchFamily="2" charset="0"/>
              </a:rPr>
              <a:t>Chair – Scientific Oversight Committee</a:t>
            </a:r>
          </a:p>
        </p:txBody>
      </p:sp>
      <p:pic>
        <p:nvPicPr>
          <p:cNvPr id="7" name="Picture 6" descr="Text, logo&#10;&#10;Description automatically generated">
            <a:extLst>
              <a:ext uri="{FF2B5EF4-FFF2-40B4-BE49-F238E27FC236}">
                <a16:creationId xmlns:a16="http://schemas.microsoft.com/office/drawing/2014/main" id="{83B9CC64-A267-7D47-84B7-C274E0255117}"/>
              </a:ext>
            </a:extLst>
          </p:cNvPr>
          <p:cNvPicPr>
            <a:picLocks noChangeAspect="1"/>
          </p:cNvPicPr>
          <p:nvPr/>
        </p:nvPicPr>
        <p:blipFill>
          <a:blip r:embed="rId3">
            <a:alphaModFix amt="50000"/>
          </a:blip>
          <a:stretch>
            <a:fillRect/>
          </a:stretch>
        </p:blipFill>
        <p:spPr>
          <a:xfrm>
            <a:off x="10422220" y="5847844"/>
            <a:ext cx="1639608" cy="796492"/>
          </a:xfrm>
          <a:prstGeom prst="rect">
            <a:avLst/>
          </a:prstGeom>
        </p:spPr>
      </p:pic>
      <p:pic>
        <p:nvPicPr>
          <p:cNvPr id="8" name="Picture 7">
            <a:extLst>
              <a:ext uri="{FF2B5EF4-FFF2-40B4-BE49-F238E27FC236}">
                <a16:creationId xmlns:a16="http://schemas.microsoft.com/office/drawing/2014/main" id="{A178451C-C24B-4B9E-9BFE-87A430F03FC6}"/>
              </a:ext>
            </a:extLst>
          </p:cNvPr>
          <p:cNvPicPr>
            <a:picLocks noChangeAspect="1"/>
          </p:cNvPicPr>
          <p:nvPr/>
        </p:nvPicPr>
        <p:blipFill>
          <a:blip r:embed="rId4"/>
          <a:stretch>
            <a:fillRect/>
          </a:stretch>
        </p:blipFill>
        <p:spPr>
          <a:xfrm>
            <a:off x="6096000" y="4544"/>
            <a:ext cx="6110990" cy="5676191"/>
          </a:xfrm>
          <a:prstGeom prst="rect">
            <a:avLst/>
          </a:prstGeom>
        </p:spPr>
      </p:pic>
      <p:sp>
        <p:nvSpPr>
          <p:cNvPr id="11" name="Rectangle 10">
            <a:extLst>
              <a:ext uri="{FF2B5EF4-FFF2-40B4-BE49-F238E27FC236}">
                <a16:creationId xmlns:a16="http://schemas.microsoft.com/office/drawing/2014/main" id="{C1638615-A500-459C-B4BF-745243E3BD2C}"/>
              </a:ext>
            </a:extLst>
          </p:cNvPr>
          <p:cNvSpPr/>
          <p:nvPr/>
        </p:nvSpPr>
        <p:spPr>
          <a:xfrm>
            <a:off x="0" y="4545"/>
            <a:ext cx="6096000" cy="5676191"/>
          </a:xfrm>
          <a:prstGeom prst="rect">
            <a:avLst/>
          </a:prstGeom>
          <a:solidFill>
            <a:srgbClr val="B9E3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00B4897-87C8-4530-8568-7937744BC5FB}"/>
              </a:ext>
            </a:extLst>
          </p:cNvPr>
          <p:cNvSpPr>
            <a:spLocks noGrp="1"/>
          </p:cNvSpPr>
          <p:nvPr>
            <p:ph type="ctrTitle"/>
          </p:nvPr>
        </p:nvSpPr>
        <p:spPr>
          <a:xfrm>
            <a:off x="111691" y="1774585"/>
            <a:ext cx="7176016" cy="3904370"/>
          </a:xfrm>
        </p:spPr>
        <p:txBody>
          <a:bodyPr>
            <a:noAutofit/>
          </a:bodyPr>
          <a:lstStyle/>
          <a:p>
            <a:pPr algn="l"/>
            <a:br>
              <a:rPr lang="en-US" altLang="zh-CN" sz="4400" b="1" dirty="0">
                <a:solidFill>
                  <a:schemeClr val="bg1"/>
                </a:solidFill>
                <a:latin typeface="Roboto" panose="02000000000000000000" pitchFamily="2" charset="0"/>
                <a:ea typeface="Roboto" panose="02000000000000000000" pitchFamily="2" charset="0"/>
                <a:cs typeface="Roboto" panose="02000000000000000000" pitchFamily="2" charset="0"/>
              </a:rPr>
            </a:br>
            <a:br>
              <a:rPr lang="en-US" altLang="zh-CN" sz="4400" b="1" dirty="0">
                <a:solidFill>
                  <a:schemeClr val="bg1"/>
                </a:solidFill>
                <a:latin typeface="Roboto" panose="02000000000000000000" pitchFamily="2" charset="0"/>
                <a:ea typeface="Roboto" panose="02000000000000000000" pitchFamily="2" charset="0"/>
                <a:cs typeface="Roboto" panose="02000000000000000000" pitchFamily="2" charset="0"/>
              </a:rPr>
            </a:br>
            <a:br>
              <a:rPr lang="en-US" altLang="zh-CN" sz="4400" b="1" dirty="0">
                <a:solidFill>
                  <a:schemeClr val="bg1"/>
                </a:solidFill>
                <a:latin typeface="Roboto" panose="02000000000000000000" pitchFamily="2" charset="0"/>
                <a:ea typeface="Roboto" panose="02000000000000000000" pitchFamily="2" charset="0"/>
                <a:cs typeface="Roboto" panose="02000000000000000000" pitchFamily="2" charset="0"/>
              </a:rPr>
            </a:br>
            <a:r>
              <a:rPr lang="en-US" altLang="zh-CN" sz="4400" b="1" dirty="0">
                <a:latin typeface="Roboto" panose="02000000000000000000" pitchFamily="2" charset="0"/>
                <a:ea typeface="Roboto" panose="02000000000000000000" pitchFamily="2" charset="0"/>
                <a:cs typeface="Roboto" panose="02000000000000000000" pitchFamily="2" charset="0"/>
              </a:rPr>
              <a:t>International Methane Emissions Observatory</a:t>
            </a:r>
            <a:r>
              <a:rPr lang="en-US" altLang="zh-CN" sz="4400" b="1" dirty="0">
                <a:solidFill>
                  <a:schemeClr val="bg1"/>
                </a:solidFill>
                <a:latin typeface="Roboto" panose="02000000000000000000" pitchFamily="2" charset="0"/>
                <a:ea typeface="Roboto" panose="02000000000000000000" pitchFamily="2" charset="0"/>
                <a:cs typeface="Roboto" panose="02000000000000000000" pitchFamily="2" charset="0"/>
              </a:rPr>
              <a:t> </a:t>
            </a:r>
            <a:br>
              <a:rPr lang="en-US" altLang="zh-CN" sz="4400" b="1" dirty="0">
                <a:solidFill>
                  <a:schemeClr val="bg1"/>
                </a:solidFill>
                <a:latin typeface="Roboto" panose="02000000000000000000" pitchFamily="2" charset="0"/>
                <a:ea typeface="Roboto" panose="02000000000000000000" pitchFamily="2" charset="0"/>
                <a:cs typeface="Roboto" panose="02000000000000000000" pitchFamily="2" charset="0"/>
              </a:rPr>
            </a:br>
            <a:br>
              <a:rPr lang="en-US" altLang="zh-CN" sz="4400" b="1" dirty="0">
                <a:solidFill>
                  <a:schemeClr val="bg1"/>
                </a:solidFill>
                <a:latin typeface="Roboto" panose="02000000000000000000" pitchFamily="2" charset="0"/>
                <a:ea typeface="Roboto" panose="02000000000000000000" pitchFamily="2" charset="0"/>
                <a:cs typeface="Roboto" panose="02000000000000000000" pitchFamily="2" charset="0"/>
              </a:rPr>
            </a:br>
            <a:r>
              <a:rPr lang="en-US" altLang="zh-CN" sz="4400" b="1" dirty="0">
                <a:solidFill>
                  <a:schemeClr val="bg1"/>
                </a:solidFill>
                <a:latin typeface="Roboto" panose="02000000000000000000" pitchFamily="2" charset="0"/>
                <a:ea typeface="Roboto" panose="02000000000000000000" pitchFamily="2" charset="0"/>
                <a:cs typeface="Roboto" panose="02000000000000000000" pitchFamily="2" charset="0"/>
              </a:rPr>
              <a:t>Providing the data to </a:t>
            </a:r>
            <a:br>
              <a:rPr lang="en-US" altLang="zh-CN" sz="4400" b="1" dirty="0">
                <a:solidFill>
                  <a:schemeClr val="bg1"/>
                </a:solidFill>
                <a:latin typeface="Roboto" panose="02000000000000000000" pitchFamily="2" charset="0"/>
                <a:ea typeface="Roboto" panose="02000000000000000000" pitchFamily="2" charset="0"/>
                <a:cs typeface="Roboto" panose="02000000000000000000" pitchFamily="2" charset="0"/>
              </a:rPr>
            </a:br>
            <a:r>
              <a:rPr lang="en-US" altLang="zh-CN" sz="4400" b="1" dirty="0">
                <a:solidFill>
                  <a:schemeClr val="bg1"/>
                </a:solidFill>
                <a:latin typeface="Roboto" panose="02000000000000000000" pitchFamily="2" charset="0"/>
                <a:ea typeface="Roboto" panose="02000000000000000000" pitchFamily="2" charset="0"/>
                <a:cs typeface="Roboto" panose="02000000000000000000" pitchFamily="2" charset="0"/>
              </a:rPr>
              <a:t>drive mitigation</a:t>
            </a:r>
            <a:br>
              <a:rPr lang="en-US" altLang="zh-CN" sz="4400" b="1" dirty="0">
                <a:solidFill>
                  <a:schemeClr val="bg1"/>
                </a:solidFill>
                <a:latin typeface="Roboto" panose="02000000000000000000" pitchFamily="2" charset="0"/>
                <a:ea typeface="Roboto" panose="02000000000000000000" pitchFamily="2" charset="0"/>
                <a:cs typeface="Roboto" panose="02000000000000000000" pitchFamily="2" charset="0"/>
              </a:rPr>
            </a:br>
            <a:br>
              <a:rPr lang="en-US" altLang="zh-CN" sz="4400" b="1" dirty="0">
                <a:solidFill>
                  <a:schemeClr val="bg1"/>
                </a:solidFill>
                <a:latin typeface="Roboto" panose="02000000000000000000" pitchFamily="2" charset="0"/>
                <a:ea typeface="Roboto" panose="02000000000000000000" pitchFamily="2" charset="0"/>
                <a:cs typeface="Roboto" panose="02000000000000000000" pitchFamily="2" charset="0"/>
              </a:rPr>
            </a:br>
            <a:endParaRPr lang="en-US" altLang="zh-CN" sz="4400" b="1" dirty="0">
              <a:solidFill>
                <a:schemeClr val="bg1"/>
              </a:solidFill>
              <a:latin typeface="Roboto" panose="02000000000000000000" pitchFamily="2" charset="0"/>
              <a:ea typeface="Roboto" panose="02000000000000000000" pitchFamily="2" charset="0"/>
              <a:cs typeface="Roboto" panose="02000000000000000000" pitchFamily="2" charset="0"/>
            </a:endParaRPr>
          </a:p>
        </p:txBody>
      </p:sp>
      <p:sp>
        <p:nvSpPr>
          <p:cNvPr id="3" name="Subtitle 2">
            <a:extLst>
              <a:ext uri="{FF2B5EF4-FFF2-40B4-BE49-F238E27FC236}">
                <a16:creationId xmlns:a16="http://schemas.microsoft.com/office/drawing/2014/main" id="{882873B6-7942-42F4-9AC3-6579285A400B}"/>
              </a:ext>
            </a:extLst>
          </p:cNvPr>
          <p:cNvSpPr>
            <a:spLocks noGrp="1"/>
          </p:cNvSpPr>
          <p:nvPr>
            <p:ph type="subTitle" idx="1"/>
          </p:nvPr>
        </p:nvSpPr>
        <p:spPr>
          <a:xfrm>
            <a:off x="400440" y="411527"/>
            <a:ext cx="9144000" cy="1368398"/>
          </a:xfrm>
        </p:spPr>
        <p:txBody>
          <a:bodyPr/>
          <a:lstStyle/>
          <a:p>
            <a:pPr algn="l"/>
            <a:r>
              <a:rPr lang="en-US" altLang="zh-CN" dirty="0">
                <a:solidFill>
                  <a:schemeClr val="bg1"/>
                </a:solidFill>
                <a:latin typeface="Roboto Light" panose="02000000000000000000" pitchFamily="2" charset="0"/>
                <a:ea typeface="Roboto Light" panose="02000000000000000000" pitchFamily="2" charset="0"/>
                <a:cs typeface="Roboto Light" panose="02000000000000000000" pitchFamily="2" charset="0"/>
              </a:rPr>
              <a:t>September</a:t>
            </a:r>
            <a:r>
              <a:rPr lang="en-US" dirty="0">
                <a:solidFill>
                  <a:schemeClr val="bg1"/>
                </a:solidFill>
                <a:latin typeface="Roboto Light" panose="02000000000000000000" pitchFamily="2" charset="0"/>
                <a:ea typeface="Roboto Light" panose="02000000000000000000" pitchFamily="2" charset="0"/>
                <a:cs typeface="Roboto Light" panose="02000000000000000000" pitchFamily="2" charset="0"/>
              </a:rPr>
              <a:t> 2023</a:t>
            </a:r>
          </a:p>
        </p:txBody>
      </p:sp>
    </p:spTree>
    <p:extLst>
      <p:ext uri="{BB962C8B-B14F-4D97-AF65-F5344CB8AC3E}">
        <p14:creationId xmlns:p14="http://schemas.microsoft.com/office/powerpoint/2010/main" val="2729567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51147B1D-177F-5941-909C-491EEF59F26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0" y="0"/>
            <a:ext cx="12161520" cy="6840855"/>
          </a:xfrm>
          <a:prstGeom prst="rect">
            <a:avLst/>
          </a:prstGeom>
        </p:spPr>
      </p:pic>
      <p:pic>
        <p:nvPicPr>
          <p:cNvPr id="8" name="Grafik 7">
            <a:extLst>
              <a:ext uri="{FF2B5EF4-FFF2-40B4-BE49-F238E27FC236}">
                <a16:creationId xmlns:a16="http://schemas.microsoft.com/office/drawing/2014/main" id="{03AC4CA6-6038-DA4F-9A93-A9AD96B3121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0" y="0"/>
            <a:ext cx="12161520" cy="6840855"/>
          </a:xfrm>
          <a:prstGeom prst="rect">
            <a:avLst/>
          </a:prstGeom>
        </p:spPr>
      </p:pic>
      <p:pic>
        <p:nvPicPr>
          <p:cNvPr id="12" name="Grafik 11">
            <a:extLst>
              <a:ext uri="{FF2B5EF4-FFF2-40B4-BE49-F238E27FC236}">
                <a16:creationId xmlns:a16="http://schemas.microsoft.com/office/drawing/2014/main" id="{7AC9A2E9-FB96-3B4B-8CB0-74D13E416C9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0" y="0"/>
            <a:ext cx="12161520" cy="6840855"/>
          </a:xfrm>
          <a:prstGeom prst="rect">
            <a:avLst/>
          </a:prstGeom>
        </p:spPr>
      </p:pic>
      <p:pic>
        <p:nvPicPr>
          <p:cNvPr id="40" name="Grafik 39">
            <a:extLst>
              <a:ext uri="{FF2B5EF4-FFF2-40B4-BE49-F238E27FC236}">
                <a16:creationId xmlns:a16="http://schemas.microsoft.com/office/drawing/2014/main" id="{CFFABC71-C2DE-864A-80C4-6723BE23A17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0" y="0"/>
            <a:ext cx="12161520" cy="6840855"/>
          </a:xfrm>
          <a:prstGeom prst="rect">
            <a:avLst/>
          </a:prstGeom>
        </p:spPr>
      </p:pic>
      <p:pic>
        <p:nvPicPr>
          <p:cNvPr id="42" name="Grafik 41">
            <a:extLst>
              <a:ext uri="{FF2B5EF4-FFF2-40B4-BE49-F238E27FC236}">
                <a16:creationId xmlns:a16="http://schemas.microsoft.com/office/drawing/2014/main" id="{7A673747-239D-7F4F-8ACA-013F7F7775F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0" y="0"/>
            <a:ext cx="12161520" cy="6840855"/>
          </a:xfrm>
          <a:prstGeom prst="rect">
            <a:avLst/>
          </a:prstGeom>
        </p:spPr>
      </p:pic>
      <p:pic>
        <p:nvPicPr>
          <p:cNvPr id="44" name="Grafik 43">
            <a:extLst>
              <a:ext uri="{FF2B5EF4-FFF2-40B4-BE49-F238E27FC236}">
                <a16:creationId xmlns:a16="http://schemas.microsoft.com/office/drawing/2014/main" id="{582B0F45-9104-3444-A07A-63F10B58058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0" y="0"/>
            <a:ext cx="12161520" cy="6840855"/>
          </a:xfrm>
          <a:prstGeom prst="rect">
            <a:avLst/>
          </a:prstGeom>
        </p:spPr>
      </p:pic>
      <p:pic>
        <p:nvPicPr>
          <p:cNvPr id="4" name="Grafik 3">
            <a:extLst>
              <a:ext uri="{FF2B5EF4-FFF2-40B4-BE49-F238E27FC236}">
                <a16:creationId xmlns:a16="http://schemas.microsoft.com/office/drawing/2014/main" id="{4302AB43-BC7F-5643-AFF9-B638D7DA3A7F}"/>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0" y="8572"/>
            <a:ext cx="12161520" cy="6840855"/>
          </a:xfrm>
          <a:prstGeom prst="rect">
            <a:avLst/>
          </a:prstGeom>
        </p:spPr>
      </p:pic>
      <p:sp>
        <p:nvSpPr>
          <p:cNvPr id="36" name="Title 1">
            <a:extLst>
              <a:ext uri="{FF2B5EF4-FFF2-40B4-BE49-F238E27FC236}">
                <a16:creationId xmlns:a16="http://schemas.microsoft.com/office/drawing/2014/main" id="{314D7540-F2B9-3240-B2DD-ED9C250DAF19}"/>
              </a:ext>
            </a:extLst>
          </p:cNvPr>
          <p:cNvSpPr txBox="1">
            <a:spLocks/>
          </p:cNvSpPr>
          <p:nvPr/>
        </p:nvSpPr>
        <p:spPr>
          <a:xfrm>
            <a:off x="600370" y="372984"/>
            <a:ext cx="10443648" cy="769175"/>
          </a:xfrm>
          <a:prstGeom prst="rect">
            <a:avLst/>
          </a:prstGeom>
        </p:spPr>
        <p:txBody>
          <a:bodyPr lIns="0" rIns="90000" anchor="b">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00B0F0"/>
                </a:solidFill>
                <a:effectLst/>
                <a:uLnTx/>
                <a:uFillTx/>
                <a:latin typeface="Roboto" pitchFamily="2" charset="0"/>
                <a:ea typeface="Roboto" pitchFamily="2" charset="0"/>
                <a:cs typeface="+mj-cs"/>
              </a:rPr>
              <a:t>An International Methane Emissions Observatory will provide </a:t>
            </a:r>
            <a:br>
              <a:rPr kumimoji="0" lang="en-US" sz="2400" b="1" i="0" u="none" strike="noStrike" kern="1200" cap="none" spc="0" normalizeH="0" baseline="0" noProof="0">
                <a:ln>
                  <a:noFill/>
                </a:ln>
                <a:solidFill>
                  <a:srgbClr val="00B0F0"/>
                </a:solidFill>
                <a:effectLst/>
                <a:uLnTx/>
                <a:uFillTx/>
                <a:latin typeface="Roboto" pitchFamily="2" charset="0"/>
                <a:ea typeface="Roboto" pitchFamily="2" charset="0"/>
                <a:cs typeface="+mj-cs"/>
              </a:rPr>
            </a:br>
            <a:r>
              <a:rPr kumimoji="0" lang="en-US" sz="2400" b="1" i="0" u="none" strike="noStrike" kern="1200" cap="none" spc="0" normalizeH="0" baseline="0" noProof="0">
                <a:ln>
                  <a:noFill/>
                </a:ln>
                <a:solidFill>
                  <a:srgbClr val="00B0F0"/>
                </a:solidFill>
                <a:effectLst/>
                <a:uLnTx/>
                <a:uFillTx/>
                <a:latin typeface="Roboto" pitchFamily="2" charset="0"/>
                <a:ea typeface="Roboto" pitchFamily="2" charset="0"/>
                <a:cs typeface="+mj-cs"/>
              </a:rPr>
              <a:t>consistency among multiple methane programs </a:t>
            </a:r>
            <a:endParaRPr kumimoji="0" lang="en-GB" sz="2400" b="1" i="0" u="none" strike="noStrike" kern="1200" cap="none" spc="0" normalizeH="0" baseline="0" noProof="0">
              <a:ln>
                <a:noFill/>
              </a:ln>
              <a:solidFill>
                <a:srgbClr val="00B0F0"/>
              </a:solidFill>
              <a:effectLst/>
              <a:uLnTx/>
              <a:uFillTx/>
              <a:latin typeface="Roboto" panose="02000000000000000000" pitchFamily="2" charset="0"/>
              <a:ea typeface="Roboto" panose="02000000000000000000" pitchFamily="2" charset="0"/>
              <a:cs typeface="Roboto" panose="02000000000000000000" pitchFamily="2" charset="0"/>
            </a:endParaRPr>
          </a:p>
        </p:txBody>
      </p:sp>
      <p:cxnSp>
        <p:nvCxnSpPr>
          <p:cNvPr id="37" name="Straight Connector 13">
            <a:extLst>
              <a:ext uri="{FF2B5EF4-FFF2-40B4-BE49-F238E27FC236}">
                <a16:creationId xmlns:a16="http://schemas.microsoft.com/office/drawing/2014/main" id="{4CA60E9E-A776-AB45-9824-C46C3CE619CE}"/>
              </a:ext>
            </a:extLst>
          </p:cNvPr>
          <p:cNvCxnSpPr>
            <a:cxnSpLocks/>
          </p:cNvCxnSpPr>
          <p:nvPr/>
        </p:nvCxnSpPr>
        <p:spPr>
          <a:xfrm>
            <a:off x="600370" y="1375702"/>
            <a:ext cx="1171723" cy="0"/>
          </a:xfrm>
          <a:prstGeom prst="line">
            <a:avLst/>
          </a:prstGeom>
          <a:ln w="76200">
            <a:solidFill>
              <a:srgbClr val="00B0F0"/>
            </a:solidFill>
          </a:ln>
          <a:effectLst/>
        </p:spPr>
        <p:style>
          <a:lnRef idx="2">
            <a:schemeClr val="accent1"/>
          </a:lnRef>
          <a:fillRef idx="0">
            <a:schemeClr val="accent1"/>
          </a:fillRef>
          <a:effectRef idx="1">
            <a:schemeClr val="accent1"/>
          </a:effectRef>
          <a:fontRef idx="minor">
            <a:schemeClr val="tx1"/>
          </a:fontRef>
        </p:style>
      </p:cxnSp>
      <p:sp>
        <p:nvSpPr>
          <p:cNvPr id="13" name="Textfeld 12">
            <a:extLst>
              <a:ext uri="{FF2B5EF4-FFF2-40B4-BE49-F238E27FC236}">
                <a16:creationId xmlns:a16="http://schemas.microsoft.com/office/drawing/2014/main" id="{9702E72F-5575-464E-AA8C-6933297B1D8C}"/>
              </a:ext>
            </a:extLst>
          </p:cNvPr>
          <p:cNvSpPr txBox="1"/>
          <p:nvPr/>
        </p:nvSpPr>
        <p:spPr>
          <a:xfrm>
            <a:off x="8402139" y="2185401"/>
            <a:ext cx="2896544"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tab pos="85725" algn="l"/>
              </a:tabLst>
              <a:defRPr/>
            </a:pPr>
            <a:r>
              <a:rPr kumimoji="0" lang="de-DE" sz="1600" b="0" i="0" u="none" strike="noStrike" kern="1200" cap="none" spc="0" normalizeH="0" baseline="0" noProof="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Collect</a:t>
            </a:r>
            <a:r>
              <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de-DE" sz="1600" b="0" i="0" u="none" strike="noStrike" kern="1200" cap="none" spc="0" normalizeH="0" baseline="0" noProof="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and</a:t>
            </a:r>
            <a:r>
              <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de-DE" sz="1600" b="0" i="0" u="none" strike="noStrike" kern="1200" cap="none" spc="0" normalizeH="0" baseline="0" noProof="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verify</a:t>
            </a:r>
            <a:r>
              <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de-DE" sz="1600" b="0" i="0" u="none" strike="noStrike" kern="1200" cap="none" spc="0" normalizeH="0" baseline="0" noProof="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company</a:t>
            </a:r>
            <a:r>
              <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de-DE" sz="1600" b="0" i="0" u="none" strike="noStrike" kern="1200" cap="none" spc="0" normalizeH="0" baseline="0" noProof="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reporting</a:t>
            </a:r>
            <a:endPar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4" name="Textfeld 13">
            <a:extLst>
              <a:ext uri="{FF2B5EF4-FFF2-40B4-BE49-F238E27FC236}">
                <a16:creationId xmlns:a16="http://schemas.microsoft.com/office/drawing/2014/main" id="{89865EE4-BAC0-DC48-B5E2-33F9AC56495F}"/>
              </a:ext>
            </a:extLst>
          </p:cNvPr>
          <p:cNvSpPr txBox="1"/>
          <p:nvPr/>
        </p:nvSpPr>
        <p:spPr>
          <a:xfrm>
            <a:off x="8402139" y="3489766"/>
            <a:ext cx="2896544"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tab pos="85725" algn="l"/>
              </a:tabLst>
              <a:defRPr/>
            </a:pPr>
            <a:r>
              <a:rPr kumimoji="0" lang="de-DE" sz="1600" b="0" i="0" u="none" strike="noStrike" kern="1200" cap="none" spc="0" normalizeH="0" baseline="0" noProof="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Integrate</a:t>
            </a:r>
            <a:r>
              <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de-DE" sz="1600" b="0" i="0" u="none" strike="noStrike" kern="1200" cap="none" spc="0" normalizeH="0" baseline="0" noProof="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and</a:t>
            </a:r>
            <a:r>
              <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de-DE" sz="1600" b="0" i="0" u="none" strike="noStrike" kern="1200" cap="none" spc="0" normalizeH="0" baseline="0" noProof="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analyze</a:t>
            </a:r>
            <a:r>
              <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de-DE" sz="1600" b="0" i="0" u="none" strike="noStrike" kern="1200" cap="none" spc="0" normalizeH="0" baseline="0" noProof="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methane</a:t>
            </a:r>
            <a:r>
              <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de-DE" sz="1600" b="0" i="0" u="none" strike="noStrike" kern="1200" cap="none" spc="0" normalizeH="0" baseline="0" noProof="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emissions</a:t>
            </a:r>
            <a:r>
              <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de-DE" sz="1600" b="0" i="0" u="none" strike="noStrike" kern="1200" cap="none" spc="0" normalizeH="0" baseline="0" noProof="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data</a:t>
            </a:r>
            <a:r>
              <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 </a:t>
            </a:r>
            <a:br>
              <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br>
            <a:r>
              <a:rPr kumimoji="0" lang="de-DE" sz="1600" b="0" i="0" u="none" strike="noStrike" kern="1200" cap="none" spc="0" normalizeH="0" baseline="0" noProof="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from</a:t>
            </a:r>
            <a:r>
              <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de-DE" sz="1600" b="0" i="0" u="none" strike="noStrike" kern="1200" cap="none" spc="0" normalizeH="0" baseline="0" noProof="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various</a:t>
            </a:r>
            <a:r>
              <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de-DE" sz="1600" b="0" i="0" u="none" strike="noStrike" kern="1200" cap="none" spc="0" normalizeH="0" baseline="0" noProof="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sources</a:t>
            </a:r>
            <a:endPar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5" name="Textfeld 14">
            <a:extLst>
              <a:ext uri="{FF2B5EF4-FFF2-40B4-BE49-F238E27FC236}">
                <a16:creationId xmlns:a16="http://schemas.microsoft.com/office/drawing/2014/main" id="{8063A085-43D4-EB43-B205-28636BCE2316}"/>
              </a:ext>
            </a:extLst>
          </p:cNvPr>
          <p:cNvSpPr txBox="1"/>
          <p:nvPr/>
        </p:nvSpPr>
        <p:spPr>
          <a:xfrm>
            <a:off x="8402139" y="4827749"/>
            <a:ext cx="3052546"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tab pos="85725" algn="l"/>
              </a:tabLst>
              <a:defRPr/>
            </a:pPr>
            <a:r>
              <a:rPr kumimoji="0" lang="de-DE" sz="1600" b="0" i="0" u="none" strike="noStrike" kern="1200" cap="none" spc="0" normalizeH="0" baseline="0" noProof="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Develop</a:t>
            </a:r>
            <a:r>
              <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de-DE" sz="1600" b="0" i="0" u="none" strike="noStrike" kern="1200" cap="none" spc="0" normalizeH="0" baseline="0" noProof="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and</a:t>
            </a:r>
            <a:r>
              <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de-DE" sz="1600" b="0" i="0" u="none" strike="noStrike" kern="1200" cap="none" spc="0" normalizeH="0" baseline="0" noProof="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publish</a:t>
            </a:r>
            <a:r>
              <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 a </a:t>
            </a:r>
            <a:r>
              <a:rPr kumimoji="0" lang="de-DE" sz="1600" b="0" i="0" u="none" strike="noStrike" kern="1200" cap="none" spc="0" normalizeH="0" baseline="0" noProof="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dataset</a:t>
            </a:r>
            <a:r>
              <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 on </a:t>
            </a:r>
            <a:r>
              <a:rPr kumimoji="0" lang="de-DE" sz="1600" b="0" i="0" u="none" strike="noStrike" kern="1200" cap="none" spc="0" normalizeH="0" baseline="0" noProof="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methane</a:t>
            </a:r>
            <a:r>
              <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de-DE" sz="1600" b="0" i="0" u="none" strike="noStrike" kern="1200" cap="none" spc="0" normalizeH="0" baseline="0" noProof="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emissions</a:t>
            </a:r>
            <a:r>
              <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de-DE" sz="1600" b="0" i="0" u="none" strike="noStrike" kern="1200" cap="none" spc="0" normalizeH="0" baseline="0" noProof="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sources</a:t>
            </a:r>
            <a:r>
              <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de-DE" sz="1600" b="0" i="0" u="none" strike="noStrike" kern="1200" cap="none" spc="0" normalizeH="0" baseline="0" noProof="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magnitudes</a:t>
            </a:r>
            <a:r>
              <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de-DE" sz="1600" b="0" i="0" u="none" strike="noStrike" kern="1200" cap="none" spc="0" normalizeH="0" baseline="0" noProof="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and</a:t>
            </a:r>
            <a:r>
              <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de-DE" sz="1600" b="0" i="0" u="none" strike="noStrike" kern="1200" cap="none" spc="0" normalizeH="0" baseline="0" noProof="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patterns</a:t>
            </a:r>
            <a:endPar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6" name="Textfeld 15">
            <a:extLst>
              <a:ext uri="{FF2B5EF4-FFF2-40B4-BE49-F238E27FC236}">
                <a16:creationId xmlns:a16="http://schemas.microsoft.com/office/drawing/2014/main" id="{5460CEF3-2A7E-6542-9587-B6E50CBCD7FF}"/>
              </a:ext>
            </a:extLst>
          </p:cNvPr>
          <p:cNvSpPr txBox="1"/>
          <p:nvPr/>
        </p:nvSpPr>
        <p:spPr>
          <a:xfrm>
            <a:off x="737315" y="2185401"/>
            <a:ext cx="2896544"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tab pos="85725" algn="l"/>
              </a:tabLst>
              <a:defRPr/>
            </a:pPr>
            <a:r>
              <a:rPr kumimoji="0" lang="de-DE" sz="1600" b="0" i="0" u="none" strike="noStrike" kern="1200" cap="none" spc="0" normalizeH="0" baseline="0" noProof="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Assess</a:t>
            </a:r>
            <a:r>
              <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de-DE" sz="1600" b="0" i="0" u="none" strike="noStrike" kern="1200" cap="none" spc="0" normalizeH="0" baseline="0" noProof="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measurement</a:t>
            </a:r>
            <a:r>
              <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de-DE" sz="1600" b="0" i="0" u="none" strike="noStrike" kern="1200" cap="none" spc="0" normalizeH="0" baseline="0" noProof="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methodologies</a:t>
            </a:r>
            <a:r>
              <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de-DE" sz="1600" b="0" i="0" u="none" strike="noStrike" kern="1200" cap="none" spc="0" normalizeH="0" baseline="0" noProof="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and</a:t>
            </a:r>
            <a:r>
              <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de-DE" sz="1600" b="0" i="0" u="none" strike="noStrike" kern="1200" cap="none" spc="0" normalizeH="0" baseline="0" noProof="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technologies</a:t>
            </a:r>
            <a:r>
              <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a:t>
            </a:r>
          </a:p>
        </p:txBody>
      </p:sp>
      <p:sp>
        <p:nvSpPr>
          <p:cNvPr id="17" name="Textfeld 16">
            <a:extLst>
              <a:ext uri="{FF2B5EF4-FFF2-40B4-BE49-F238E27FC236}">
                <a16:creationId xmlns:a16="http://schemas.microsoft.com/office/drawing/2014/main" id="{BD46B807-9258-0C42-A25F-E46BF25C18F7}"/>
              </a:ext>
            </a:extLst>
          </p:cNvPr>
          <p:cNvSpPr txBox="1"/>
          <p:nvPr/>
        </p:nvSpPr>
        <p:spPr>
          <a:xfrm>
            <a:off x="737315" y="3489766"/>
            <a:ext cx="2896544"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tab pos="85725" algn="l"/>
              </a:tabLst>
              <a:defRPr/>
            </a:pPr>
            <a:r>
              <a:rPr kumimoji="0" lang="de-DE" sz="1600" b="0" i="0" u="none" strike="noStrike" kern="1200" cap="none" spc="0" normalizeH="0" baseline="0" noProof="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Produce</a:t>
            </a:r>
            <a:r>
              <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de-DE" sz="1600" b="0" i="0" u="none" strike="noStrike" kern="1200" cap="none" spc="0" normalizeH="0" baseline="0" noProof="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policy</a:t>
            </a:r>
            <a:r>
              <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relevant </a:t>
            </a:r>
            <a:r>
              <a:rPr kumimoji="0" lang="de-DE" sz="1600" b="0" i="0" u="none" strike="noStrike" kern="1200" cap="none" spc="0" normalizeH="0" baseline="0" noProof="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science</a:t>
            </a:r>
            <a:r>
              <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de-DE" sz="1600" b="0" i="0" u="none" strike="noStrike" kern="1200" cap="none" spc="0" normalizeH="0" baseline="0" noProof="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to</a:t>
            </a:r>
            <a:r>
              <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de-DE" sz="1600" b="0" i="0" u="none" strike="noStrike" kern="1200" cap="none" spc="0" normalizeH="0" baseline="0" noProof="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support</a:t>
            </a:r>
            <a:r>
              <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de-DE" sz="1600" b="0" i="0" u="none" strike="noStrike" kern="1200" cap="none" spc="0" normalizeH="0" baseline="0" noProof="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enhanced</a:t>
            </a:r>
            <a:r>
              <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de-DE" sz="1600" b="0" i="0" u="none" strike="noStrike" kern="1200" cap="none" spc="0" normalizeH="0" baseline="0" noProof="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government</a:t>
            </a:r>
            <a:r>
              <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de-DE" sz="1600" b="0" i="0" u="none" strike="noStrike" kern="1200" cap="none" spc="0" normalizeH="0" baseline="0" noProof="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ambition</a:t>
            </a:r>
            <a:endPar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8" name="Textfeld 17">
            <a:extLst>
              <a:ext uri="{FF2B5EF4-FFF2-40B4-BE49-F238E27FC236}">
                <a16:creationId xmlns:a16="http://schemas.microsoft.com/office/drawing/2014/main" id="{9EAFFD89-113F-8444-9F87-7A9318745545}"/>
              </a:ext>
            </a:extLst>
          </p:cNvPr>
          <p:cNvSpPr txBox="1"/>
          <p:nvPr/>
        </p:nvSpPr>
        <p:spPr>
          <a:xfrm>
            <a:off x="737315" y="4827749"/>
            <a:ext cx="2896544"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tab pos="85725" algn="l"/>
              </a:tabLst>
              <a:defRPr/>
            </a:pPr>
            <a:r>
              <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Hold </a:t>
            </a:r>
            <a:r>
              <a:rPr kumimoji="0" lang="de-DE" sz="1600" b="0" i="0" u="none" strike="noStrike" kern="1200" cap="none" spc="0" normalizeH="0" baseline="0" noProof="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companies</a:t>
            </a:r>
            <a:r>
              <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de-DE" sz="1600" b="0" i="0" u="none" strike="noStrike" kern="1200" cap="none" spc="0" normalizeH="0" baseline="0" noProof="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accountable</a:t>
            </a:r>
            <a:r>
              <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de-DE" sz="1600" b="0" i="0" u="none" strike="noStrike" kern="1200" cap="none" spc="0" normalizeH="0" baseline="0" noProof="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to</a:t>
            </a:r>
            <a:r>
              <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de-DE" sz="1600" b="0" i="0" u="none" strike="noStrike" kern="1200" cap="none" spc="0" normalizeH="0" baseline="0" noProof="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methane</a:t>
            </a:r>
            <a:r>
              <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de-DE" sz="1600" b="0" i="0" u="none" strike="noStrike" kern="1200" cap="none" spc="0" normalizeH="0" baseline="0" noProof="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performance</a:t>
            </a:r>
            <a:r>
              <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de-DE" sz="1600" b="0" i="0" u="none" strike="noStrike" kern="1200" cap="none" spc="0" normalizeH="0" baseline="0" noProof="0" err="1">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goals</a:t>
            </a:r>
            <a:endParaRPr kumimoji="0" lang="de-DE" sz="1600" b="0"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endParaRPr>
          </a:p>
        </p:txBody>
      </p:sp>
      <p:pic>
        <p:nvPicPr>
          <p:cNvPr id="19" name="Picture 18" descr="Text, logo&#10;&#10;Description automatically generated">
            <a:extLst>
              <a:ext uri="{FF2B5EF4-FFF2-40B4-BE49-F238E27FC236}">
                <a16:creationId xmlns:a16="http://schemas.microsoft.com/office/drawing/2014/main" id="{9D0E2854-CC94-421C-8A28-3F2D2F10266C}"/>
              </a:ext>
            </a:extLst>
          </p:cNvPr>
          <p:cNvPicPr>
            <a:picLocks noChangeAspect="1"/>
          </p:cNvPicPr>
          <p:nvPr/>
        </p:nvPicPr>
        <p:blipFill>
          <a:blip r:embed="rId17">
            <a:alphaModFix amt="50000"/>
          </a:blip>
          <a:stretch>
            <a:fillRect/>
          </a:stretch>
        </p:blipFill>
        <p:spPr>
          <a:xfrm>
            <a:off x="10453751" y="176644"/>
            <a:ext cx="1639608" cy="796492"/>
          </a:xfrm>
          <a:prstGeom prst="rect">
            <a:avLst/>
          </a:prstGeom>
        </p:spPr>
      </p:pic>
    </p:spTree>
    <p:extLst>
      <p:ext uri="{BB962C8B-B14F-4D97-AF65-F5344CB8AC3E}">
        <p14:creationId xmlns:p14="http://schemas.microsoft.com/office/powerpoint/2010/main" val="4260319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BE3F41-E977-5118-B654-A7A8F13E77FC}"/>
              </a:ext>
            </a:extLst>
          </p:cNvPr>
          <p:cNvSpPr>
            <a:spLocks noGrp="1"/>
          </p:cNvSpPr>
          <p:nvPr>
            <p:ph type="title"/>
          </p:nvPr>
        </p:nvSpPr>
        <p:spPr/>
        <p:txBody>
          <a:bodyPr/>
          <a:lstStyle/>
          <a:p>
            <a:pPr algn="ctr"/>
            <a:r>
              <a:rPr lang="en-US" dirty="0"/>
              <a:t>We need empirical GHG emissions data to drive effective methane mitigation</a:t>
            </a:r>
          </a:p>
        </p:txBody>
      </p:sp>
      <p:sp>
        <p:nvSpPr>
          <p:cNvPr id="3" name="Content Placeholder 2">
            <a:extLst>
              <a:ext uri="{FF2B5EF4-FFF2-40B4-BE49-F238E27FC236}">
                <a16:creationId xmlns:a16="http://schemas.microsoft.com/office/drawing/2014/main" id="{58FE951F-5082-EAA2-5FC3-E7AA960E4E43}"/>
              </a:ext>
            </a:extLst>
          </p:cNvPr>
          <p:cNvSpPr>
            <a:spLocks noGrp="1"/>
          </p:cNvSpPr>
          <p:nvPr>
            <p:ph idx="1"/>
          </p:nvPr>
        </p:nvSpPr>
        <p:spPr>
          <a:xfrm>
            <a:off x="738809" y="2402095"/>
            <a:ext cx="10515600" cy="4351338"/>
          </a:xfrm>
        </p:spPr>
        <p:txBody>
          <a:bodyPr/>
          <a:lstStyle/>
          <a:p>
            <a:r>
              <a:rPr lang="en-US" dirty="0"/>
              <a:t>More than a decade of extensive methane emissions data collection has consistently shown that observed emission patterns seldom match modeled or estimated emissions</a:t>
            </a:r>
          </a:p>
          <a:p>
            <a:pPr marL="0" indent="0">
              <a:buNone/>
            </a:pPr>
            <a:endParaRPr lang="en-US" dirty="0"/>
          </a:p>
          <a:p>
            <a:r>
              <a:rPr lang="en-US" dirty="0"/>
              <a:t>Understanding temporal and spatial variability in emissions is key to driving mitigation – managing to average assumed emissions is seldom effective</a:t>
            </a:r>
          </a:p>
          <a:p>
            <a:endParaRPr lang="en-US" dirty="0"/>
          </a:p>
          <a:p>
            <a:endParaRPr lang="en-US" dirty="0"/>
          </a:p>
        </p:txBody>
      </p:sp>
    </p:spTree>
    <p:extLst>
      <p:ext uri="{BB962C8B-B14F-4D97-AF65-F5344CB8AC3E}">
        <p14:creationId xmlns:p14="http://schemas.microsoft.com/office/powerpoint/2010/main" val="5359943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3E0267-0DA4-224A-B823-2AE65D93ACA9}"/>
              </a:ext>
            </a:extLst>
          </p:cNvPr>
          <p:cNvSpPr>
            <a:spLocks noGrp="1"/>
          </p:cNvSpPr>
          <p:nvPr>
            <p:ph type="title"/>
          </p:nvPr>
        </p:nvSpPr>
        <p:spPr/>
        <p:txBody>
          <a:bodyPr/>
          <a:lstStyle/>
          <a:p>
            <a:r>
              <a:rPr lang="en-US" dirty="0"/>
              <a:t>Methane emissions Surat Basin, New South Wales, Australia</a:t>
            </a:r>
          </a:p>
        </p:txBody>
      </p:sp>
      <p:pic>
        <p:nvPicPr>
          <p:cNvPr id="4" name="Content Placeholder 3">
            <a:extLst>
              <a:ext uri="{FF2B5EF4-FFF2-40B4-BE49-F238E27FC236}">
                <a16:creationId xmlns:a16="http://schemas.microsoft.com/office/drawing/2014/main" id="{039231CC-FF59-4B48-825E-A79362AB497F}"/>
              </a:ext>
            </a:extLst>
          </p:cNvPr>
          <p:cNvPicPr>
            <a:picLocks noGrp="1" noChangeAspect="1"/>
          </p:cNvPicPr>
          <p:nvPr>
            <p:ph idx="1"/>
          </p:nvPr>
        </p:nvPicPr>
        <p:blipFill>
          <a:blip r:embed="rId2"/>
          <a:stretch>
            <a:fillRect/>
          </a:stretch>
        </p:blipFill>
        <p:spPr>
          <a:xfrm>
            <a:off x="256164" y="805911"/>
            <a:ext cx="10794128" cy="5906221"/>
          </a:xfrm>
          <a:prstGeom prst="rect">
            <a:avLst/>
          </a:prstGeom>
        </p:spPr>
      </p:pic>
      <p:sp>
        <p:nvSpPr>
          <p:cNvPr id="5" name="TextBox 4">
            <a:extLst>
              <a:ext uri="{FF2B5EF4-FFF2-40B4-BE49-F238E27FC236}">
                <a16:creationId xmlns:a16="http://schemas.microsoft.com/office/drawing/2014/main" id="{8E05D009-4E14-8A4F-BC06-7CE28E85022B}"/>
              </a:ext>
            </a:extLst>
          </p:cNvPr>
          <p:cNvSpPr txBox="1"/>
          <p:nvPr/>
        </p:nvSpPr>
        <p:spPr>
          <a:xfrm>
            <a:off x="256164" y="6312022"/>
            <a:ext cx="3222292" cy="800219"/>
          </a:xfrm>
          <a:prstGeom prst="rect">
            <a:avLst/>
          </a:prstGeom>
          <a:noFill/>
        </p:spPr>
        <p:txBody>
          <a:bodyPr wrap="none" rtlCol="0">
            <a:spAutoFit/>
          </a:bodyPr>
          <a:lstStyle/>
          <a:p>
            <a:r>
              <a:rPr lang="en-US" sz="2800" dirty="0" err="1"/>
              <a:t>Neininger</a:t>
            </a:r>
            <a:r>
              <a:rPr lang="en-US" sz="2800" dirty="0"/>
              <a:t> et al. 2021</a:t>
            </a:r>
          </a:p>
          <a:p>
            <a:endParaRPr lang="en-US" dirty="0"/>
          </a:p>
        </p:txBody>
      </p:sp>
    </p:spTree>
    <p:extLst>
      <p:ext uri="{BB962C8B-B14F-4D97-AF65-F5344CB8AC3E}">
        <p14:creationId xmlns:p14="http://schemas.microsoft.com/office/powerpoint/2010/main" val="13678396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5AF74F0-B07E-4AA1-85E0-1B6CF22120F0}"/>
              </a:ext>
            </a:extLst>
          </p:cNvPr>
          <p:cNvPicPr>
            <a:picLocks noChangeAspect="1"/>
          </p:cNvPicPr>
          <p:nvPr/>
        </p:nvPicPr>
        <p:blipFill>
          <a:blip r:embed="rId2"/>
          <a:stretch>
            <a:fillRect/>
          </a:stretch>
        </p:blipFill>
        <p:spPr>
          <a:xfrm>
            <a:off x="4372864" y="3400689"/>
            <a:ext cx="7781364" cy="3088541"/>
          </a:xfrm>
          <a:prstGeom prst="rect">
            <a:avLst/>
          </a:prstGeom>
        </p:spPr>
      </p:pic>
      <p:sp>
        <p:nvSpPr>
          <p:cNvPr id="13" name="Rectangle 12"/>
          <p:cNvSpPr/>
          <p:nvPr/>
        </p:nvSpPr>
        <p:spPr>
          <a:xfrm>
            <a:off x="-1" y="0"/>
            <a:ext cx="12192001" cy="523220"/>
          </a:xfrm>
          <a:prstGeom prst="rect">
            <a:avLst/>
          </a:prstGeom>
        </p:spPr>
        <p:txBody>
          <a:bodyPr wrap="square">
            <a:spAutoFit/>
          </a:bodyPr>
          <a:lstStyle/>
          <a:p>
            <a:r>
              <a:rPr lang="en-US" sz="2800" spc="-150" dirty="0">
                <a:solidFill>
                  <a:srgbClr val="00B0F0"/>
                </a:solidFill>
                <a:latin typeface="Roboto" panose="02000000000000000000" pitchFamily="2" charset="0"/>
                <a:ea typeface="Roboto" panose="02000000000000000000" pitchFamily="2" charset="0"/>
              </a:rPr>
              <a:t>Mexico: </a:t>
            </a:r>
            <a:r>
              <a:rPr lang="en-US" sz="2800" spc="-150" dirty="0">
                <a:solidFill>
                  <a:schemeClr val="accent6"/>
                </a:solidFill>
                <a:latin typeface="Roboto" panose="02000000000000000000" pitchFamily="2" charset="0"/>
                <a:ea typeface="Roboto" panose="02000000000000000000" pitchFamily="2" charset="0"/>
              </a:rPr>
              <a:t>multi-scale</a:t>
            </a:r>
            <a:r>
              <a:rPr lang="en-US" sz="2800" spc="-150" dirty="0">
                <a:solidFill>
                  <a:srgbClr val="00B0F0"/>
                </a:solidFill>
                <a:latin typeface="Roboto" panose="02000000000000000000" pitchFamily="2" charset="0"/>
                <a:ea typeface="Roboto" panose="02000000000000000000" pitchFamily="2" charset="0"/>
              </a:rPr>
              <a:t> </a:t>
            </a:r>
            <a:r>
              <a:rPr lang="en-US" sz="2800" spc="-150" dirty="0">
                <a:solidFill>
                  <a:schemeClr val="accent6"/>
                </a:solidFill>
                <a:latin typeface="Roboto" panose="02000000000000000000" pitchFamily="2" charset="0"/>
                <a:ea typeface="Roboto" panose="02000000000000000000" pitchFamily="2" charset="0"/>
              </a:rPr>
              <a:t>empirical data to guide mitigation</a:t>
            </a:r>
          </a:p>
        </p:txBody>
      </p:sp>
      <p:sp>
        <p:nvSpPr>
          <p:cNvPr id="7" name="Rectangle 6">
            <a:extLst>
              <a:ext uri="{FF2B5EF4-FFF2-40B4-BE49-F238E27FC236}">
                <a16:creationId xmlns:a16="http://schemas.microsoft.com/office/drawing/2014/main" id="{4D7B1B90-E04B-4985-B044-9B5936EEC536}"/>
              </a:ext>
            </a:extLst>
          </p:cNvPr>
          <p:cNvSpPr/>
          <p:nvPr/>
        </p:nvSpPr>
        <p:spPr>
          <a:xfrm>
            <a:off x="6996228" y="6414577"/>
            <a:ext cx="5033750" cy="338554"/>
          </a:xfrm>
          <a:prstGeom prst="rect">
            <a:avLst/>
          </a:prstGeom>
        </p:spPr>
        <p:txBody>
          <a:bodyPr wrap="none">
            <a:spAutoFit/>
          </a:bodyPr>
          <a:lstStyle/>
          <a:p>
            <a:r>
              <a:rPr lang="en-US" sz="1600" i="1" dirty="0">
                <a:latin typeface="Source Sans Pro Light" panose="020B0403030403020204" pitchFamily="34" charset="0"/>
                <a:ea typeface="Source Sans Pro Light" panose="020B0403030403020204" pitchFamily="34" charset="0"/>
              </a:rPr>
              <a:t>(Source: Shen, et al. 2021; Zavala-Araiza et al. 2021)</a:t>
            </a:r>
          </a:p>
        </p:txBody>
      </p:sp>
      <p:sp>
        <p:nvSpPr>
          <p:cNvPr id="24" name="TextBox 23">
            <a:extLst>
              <a:ext uri="{FF2B5EF4-FFF2-40B4-BE49-F238E27FC236}">
                <a16:creationId xmlns:a16="http://schemas.microsoft.com/office/drawing/2014/main" id="{C465E61D-9EDB-4A60-9FA1-4E2233CF1A21}"/>
              </a:ext>
            </a:extLst>
          </p:cNvPr>
          <p:cNvSpPr txBox="1"/>
          <p:nvPr/>
        </p:nvSpPr>
        <p:spPr>
          <a:xfrm>
            <a:off x="4017508" y="1914251"/>
            <a:ext cx="6159500" cy="646331"/>
          </a:xfrm>
          <a:prstGeom prst="rect">
            <a:avLst/>
          </a:prstGeom>
          <a:noFill/>
        </p:spPr>
        <p:txBody>
          <a:bodyPr wrap="square">
            <a:spAutoFit/>
          </a:bodyPr>
          <a:lstStyle/>
          <a:p>
            <a:endParaRPr lang="es-AR" sz="1800" dirty="0">
              <a:latin typeface="Source Sans Pro Light" panose="020B0403030403020204" pitchFamily="34" charset="0"/>
              <a:ea typeface="Source Sans Pro Light" panose="020B0403030403020204" pitchFamily="34" charset="0"/>
            </a:endParaRPr>
          </a:p>
          <a:p>
            <a:endParaRPr lang="es-AR" dirty="0">
              <a:latin typeface="Source Sans Pro Light" panose="020B0403030403020204" pitchFamily="34" charset="0"/>
              <a:ea typeface="Source Sans Pro Light" panose="020B0403030403020204" pitchFamily="34" charset="0"/>
            </a:endParaRPr>
          </a:p>
        </p:txBody>
      </p:sp>
      <p:grpSp>
        <p:nvGrpSpPr>
          <p:cNvPr id="34" name="Group 33">
            <a:extLst>
              <a:ext uri="{FF2B5EF4-FFF2-40B4-BE49-F238E27FC236}">
                <a16:creationId xmlns:a16="http://schemas.microsoft.com/office/drawing/2014/main" id="{0CF5EC84-BEB9-4686-905B-B5BC1486B680}"/>
              </a:ext>
            </a:extLst>
          </p:cNvPr>
          <p:cNvGrpSpPr/>
          <p:nvPr/>
        </p:nvGrpSpPr>
        <p:grpSpPr>
          <a:xfrm>
            <a:off x="202224" y="514428"/>
            <a:ext cx="3218136" cy="3594913"/>
            <a:chOff x="7482111" y="872917"/>
            <a:chExt cx="2925914" cy="5509193"/>
          </a:xfrm>
        </p:grpSpPr>
        <p:grpSp>
          <p:nvGrpSpPr>
            <p:cNvPr id="35" name="Group 34">
              <a:extLst>
                <a:ext uri="{FF2B5EF4-FFF2-40B4-BE49-F238E27FC236}">
                  <a16:creationId xmlns:a16="http://schemas.microsoft.com/office/drawing/2014/main" id="{6EF829E8-B96E-471D-A85D-0C1D3DDCD169}"/>
                </a:ext>
              </a:extLst>
            </p:cNvPr>
            <p:cNvGrpSpPr/>
            <p:nvPr/>
          </p:nvGrpSpPr>
          <p:grpSpPr>
            <a:xfrm rot="16200000">
              <a:off x="6190471" y="2164557"/>
              <a:ext cx="5509193" cy="2925914"/>
              <a:chOff x="2140164" y="2431588"/>
              <a:chExt cx="9094138" cy="2685287"/>
            </a:xfrm>
          </p:grpSpPr>
          <p:pic>
            <p:nvPicPr>
              <p:cNvPr id="38" name="Picture 2">
                <a:extLst>
                  <a:ext uri="{FF2B5EF4-FFF2-40B4-BE49-F238E27FC236}">
                    <a16:creationId xmlns:a16="http://schemas.microsoft.com/office/drawing/2014/main" id="{B82C8E15-7CAD-423D-B216-823AB8EDD64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1506" t="75497" b="8516"/>
              <a:stretch/>
            </p:blipFill>
            <p:spPr bwMode="auto">
              <a:xfrm>
                <a:off x="2140165" y="4190214"/>
                <a:ext cx="9094137" cy="926661"/>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
                <a:extLst>
                  <a:ext uri="{FF2B5EF4-FFF2-40B4-BE49-F238E27FC236}">
                    <a16:creationId xmlns:a16="http://schemas.microsoft.com/office/drawing/2014/main" id="{22B5EFFC-2DDE-4142-B59D-8A33146E508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1506" b="69660"/>
              <a:stretch/>
            </p:blipFill>
            <p:spPr bwMode="auto">
              <a:xfrm>
                <a:off x="2140164" y="2431588"/>
                <a:ext cx="9094138" cy="1758626"/>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
                <a:extLst>
                  <a:ext uri="{FF2B5EF4-FFF2-40B4-BE49-F238E27FC236}">
                    <a16:creationId xmlns:a16="http://schemas.microsoft.com/office/drawing/2014/main" id="{230E9FC6-742D-49D1-AC8E-8589A6A981E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4248" t="37956" r="6947" b="46025"/>
              <a:stretch/>
            </p:blipFill>
            <p:spPr bwMode="auto">
              <a:xfrm rot="5400000">
                <a:off x="8760414" y="2716036"/>
                <a:ext cx="1758626" cy="1670111"/>
              </a:xfrm>
              <a:prstGeom prst="rect">
                <a:avLst/>
              </a:prstGeom>
              <a:noFill/>
              <a:extLst>
                <a:ext uri="{909E8E84-426E-40DD-AFC4-6F175D3DCCD1}">
                  <a14:hiddenFill xmlns:a14="http://schemas.microsoft.com/office/drawing/2010/main">
                    <a:solidFill>
                      <a:srgbClr val="FFFFFF"/>
                    </a:solidFill>
                  </a14:hiddenFill>
                </a:ext>
              </a:extLst>
            </p:spPr>
          </p:pic>
        </p:grpSp>
        <p:sp>
          <p:nvSpPr>
            <p:cNvPr id="36" name="TextBox 35">
              <a:extLst>
                <a:ext uri="{FF2B5EF4-FFF2-40B4-BE49-F238E27FC236}">
                  <a16:creationId xmlns:a16="http://schemas.microsoft.com/office/drawing/2014/main" id="{D750D359-03BD-4F6D-AB68-FAA9DC46B09B}"/>
                </a:ext>
              </a:extLst>
            </p:cNvPr>
            <p:cNvSpPr txBox="1"/>
            <p:nvPr/>
          </p:nvSpPr>
          <p:spPr>
            <a:xfrm>
              <a:off x="7979178" y="1069012"/>
              <a:ext cx="1710074" cy="801833"/>
            </a:xfrm>
            <a:prstGeom prst="rect">
              <a:avLst/>
            </a:prstGeom>
            <a:solidFill>
              <a:schemeClr val="bg1"/>
            </a:solidFill>
          </p:spPr>
          <p:txBody>
            <a:bodyPr wrap="square" rtlCol="0">
              <a:spAutoFit/>
            </a:bodyPr>
            <a:lstStyle/>
            <a:p>
              <a:endParaRPr lang="en-US" sz="1400" dirty="0"/>
            </a:p>
            <a:p>
              <a:r>
                <a:rPr lang="en-US" sz="1400" dirty="0"/>
                <a:t>offshore</a:t>
              </a:r>
            </a:p>
          </p:txBody>
        </p:sp>
        <p:sp>
          <p:nvSpPr>
            <p:cNvPr id="37" name="TextBox 36">
              <a:extLst>
                <a:ext uri="{FF2B5EF4-FFF2-40B4-BE49-F238E27FC236}">
                  <a16:creationId xmlns:a16="http://schemas.microsoft.com/office/drawing/2014/main" id="{75806869-2595-4633-87C0-43E716B5A0EA}"/>
                </a:ext>
              </a:extLst>
            </p:cNvPr>
            <p:cNvSpPr txBox="1"/>
            <p:nvPr/>
          </p:nvSpPr>
          <p:spPr>
            <a:xfrm>
              <a:off x="8001364" y="1743637"/>
              <a:ext cx="1710074" cy="801833"/>
            </a:xfrm>
            <a:prstGeom prst="rect">
              <a:avLst/>
            </a:prstGeom>
            <a:solidFill>
              <a:schemeClr val="bg1"/>
            </a:solidFill>
          </p:spPr>
          <p:txBody>
            <a:bodyPr wrap="square" rtlCol="0">
              <a:spAutoFit/>
            </a:bodyPr>
            <a:lstStyle/>
            <a:p>
              <a:r>
                <a:rPr lang="en-US" sz="1400" dirty="0"/>
                <a:t>onshore</a:t>
              </a:r>
            </a:p>
            <a:p>
              <a:endParaRPr lang="en-US" sz="1400" dirty="0"/>
            </a:p>
          </p:txBody>
        </p:sp>
      </p:grpSp>
      <p:sp>
        <p:nvSpPr>
          <p:cNvPr id="41" name="TextBox 40">
            <a:extLst>
              <a:ext uri="{FF2B5EF4-FFF2-40B4-BE49-F238E27FC236}">
                <a16:creationId xmlns:a16="http://schemas.microsoft.com/office/drawing/2014/main" id="{3E5E4D31-FF53-4053-A432-DD90DA4C3235}"/>
              </a:ext>
            </a:extLst>
          </p:cNvPr>
          <p:cNvSpPr txBox="1"/>
          <p:nvPr/>
        </p:nvSpPr>
        <p:spPr>
          <a:xfrm>
            <a:off x="522233" y="4095898"/>
            <a:ext cx="554960" cy="461665"/>
          </a:xfrm>
          <a:prstGeom prst="rect">
            <a:avLst/>
          </a:prstGeom>
          <a:noFill/>
        </p:spPr>
        <p:txBody>
          <a:bodyPr wrap="none" rtlCol="0">
            <a:spAutoFit/>
          </a:bodyPr>
          <a:lstStyle/>
          <a:p>
            <a:r>
              <a:rPr lang="en-US" sz="1200" dirty="0">
                <a:latin typeface="Source Sans Pro Light" panose="020B0403030403020204" pitchFamily="34" charset="0"/>
                <a:ea typeface="Source Sans Pro Light" panose="020B0403030403020204" pitchFamily="34" charset="0"/>
              </a:rPr>
              <a:t>Aerial</a:t>
            </a:r>
          </a:p>
          <a:p>
            <a:r>
              <a:rPr lang="en-US" sz="1200" dirty="0">
                <a:latin typeface="Source Sans Pro Light" panose="020B0403030403020204" pitchFamily="34" charset="0"/>
                <a:ea typeface="Source Sans Pro Light" panose="020B0403030403020204" pitchFamily="34" charset="0"/>
              </a:rPr>
              <a:t>meas.</a:t>
            </a:r>
          </a:p>
        </p:txBody>
      </p:sp>
      <p:sp>
        <p:nvSpPr>
          <p:cNvPr id="42" name="TextBox 41">
            <a:extLst>
              <a:ext uri="{FF2B5EF4-FFF2-40B4-BE49-F238E27FC236}">
                <a16:creationId xmlns:a16="http://schemas.microsoft.com/office/drawing/2014/main" id="{3731F92A-D82A-4C71-8B51-AE979B2D8B8A}"/>
              </a:ext>
            </a:extLst>
          </p:cNvPr>
          <p:cNvSpPr txBox="1"/>
          <p:nvPr/>
        </p:nvSpPr>
        <p:spPr>
          <a:xfrm>
            <a:off x="1438723" y="4082968"/>
            <a:ext cx="769763" cy="461665"/>
          </a:xfrm>
          <a:prstGeom prst="rect">
            <a:avLst/>
          </a:prstGeom>
          <a:noFill/>
        </p:spPr>
        <p:txBody>
          <a:bodyPr wrap="none" rtlCol="0">
            <a:spAutoFit/>
          </a:bodyPr>
          <a:lstStyle/>
          <a:p>
            <a:pPr algn="ctr"/>
            <a:r>
              <a:rPr lang="en-US" sz="1200" dirty="0">
                <a:latin typeface="Source Sans Pro Light" panose="020B0403030403020204" pitchFamily="34" charset="0"/>
                <a:ea typeface="Source Sans Pro Light" panose="020B0403030403020204" pitchFamily="34" charset="0"/>
              </a:rPr>
              <a:t>National</a:t>
            </a:r>
          </a:p>
          <a:p>
            <a:pPr algn="ctr"/>
            <a:r>
              <a:rPr lang="en-US" sz="1200" dirty="0">
                <a:latin typeface="Source Sans Pro Light" panose="020B0403030403020204" pitchFamily="34" charset="0"/>
                <a:ea typeface="Source Sans Pro Light" panose="020B0403030403020204" pitchFamily="34" charset="0"/>
              </a:rPr>
              <a:t>inventory</a:t>
            </a:r>
          </a:p>
        </p:txBody>
      </p:sp>
      <p:sp>
        <p:nvSpPr>
          <p:cNvPr id="43" name="TextBox 42">
            <a:extLst>
              <a:ext uri="{FF2B5EF4-FFF2-40B4-BE49-F238E27FC236}">
                <a16:creationId xmlns:a16="http://schemas.microsoft.com/office/drawing/2014/main" id="{E73F34B8-5446-4A7D-8EB7-C68139AB0A03}"/>
              </a:ext>
            </a:extLst>
          </p:cNvPr>
          <p:cNvSpPr txBox="1"/>
          <p:nvPr/>
        </p:nvSpPr>
        <p:spPr>
          <a:xfrm>
            <a:off x="2518680" y="4108026"/>
            <a:ext cx="692818" cy="461665"/>
          </a:xfrm>
          <a:prstGeom prst="rect">
            <a:avLst/>
          </a:prstGeom>
          <a:noFill/>
        </p:spPr>
        <p:txBody>
          <a:bodyPr wrap="none" rtlCol="0">
            <a:spAutoFit/>
          </a:bodyPr>
          <a:lstStyle/>
          <a:p>
            <a:pPr algn="ctr"/>
            <a:r>
              <a:rPr lang="en-US" sz="1200" dirty="0">
                <a:latin typeface="Source Sans Pro Light" panose="020B0403030403020204" pitchFamily="34" charset="0"/>
                <a:ea typeface="Source Sans Pro Light" panose="020B0403030403020204" pitchFamily="34" charset="0"/>
              </a:rPr>
              <a:t>Satellite</a:t>
            </a:r>
          </a:p>
          <a:p>
            <a:pPr algn="ctr"/>
            <a:r>
              <a:rPr lang="en-US" sz="1200" dirty="0">
                <a:latin typeface="Source Sans Pro Light" panose="020B0403030403020204" pitchFamily="34" charset="0"/>
                <a:ea typeface="Source Sans Pro Light" panose="020B0403030403020204" pitchFamily="34" charset="0"/>
              </a:rPr>
              <a:t>meas.</a:t>
            </a:r>
          </a:p>
        </p:txBody>
      </p:sp>
      <p:sp>
        <p:nvSpPr>
          <p:cNvPr id="44" name="TextBox 43">
            <a:extLst>
              <a:ext uri="{FF2B5EF4-FFF2-40B4-BE49-F238E27FC236}">
                <a16:creationId xmlns:a16="http://schemas.microsoft.com/office/drawing/2014/main" id="{99F2EBAF-7B19-4125-8FDA-48C97A028B9C}"/>
              </a:ext>
            </a:extLst>
          </p:cNvPr>
          <p:cNvSpPr txBox="1"/>
          <p:nvPr/>
        </p:nvSpPr>
        <p:spPr>
          <a:xfrm>
            <a:off x="5523987" y="5729519"/>
            <a:ext cx="276038" cy="307777"/>
          </a:xfrm>
          <a:prstGeom prst="rect">
            <a:avLst/>
          </a:prstGeom>
          <a:noFill/>
        </p:spPr>
        <p:txBody>
          <a:bodyPr wrap="none" rtlCol="0">
            <a:spAutoFit/>
          </a:bodyPr>
          <a:lstStyle/>
          <a:p>
            <a:r>
              <a:rPr lang="en-US" sz="1400" dirty="0"/>
              <a:t>0</a:t>
            </a:r>
          </a:p>
        </p:txBody>
      </p:sp>
      <p:sp>
        <p:nvSpPr>
          <p:cNvPr id="46" name="TextBox 45">
            <a:extLst>
              <a:ext uri="{FF2B5EF4-FFF2-40B4-BE49-F238E27FC236}">
                <a16:creationId xmlns:a16="http://schemas.microsoft.com/office/drawing/2014/main" id="{5C2283D8-7675-409F-956E-D288CD2EDABE}"/>
              </a:ext>
            </a:extLst>
          </p:cNvPr>
          <p:cNvSpPr txBox="1"/>
          <p:nvPr/>
        </p:nvSpPr>
        <p:spPr>
          <a:xfrm>
            <a:off x="3408309" y="2280880"/>
            <a:ext cx="367408" cy="307777"/>
          </a:xfrm>
          <a:prstGeom prst="rect">
            <a:avLst/>
          </a:prstGeom>
          <a:noFill/>
        </p:spPr>
        <p:txBody>
          <a:bodyPr wrap="none" rtlCol="0">
            <a:spAutoFit/>
          </a:bodyPr>
          <a:lstStyle/>
          <a:p>
            <a:r>
              <a:rPr lang="en-US" sz="1400" dirty="0">
                <a:latin typeface="Source Sans Pro Light" panose="020B0403030403020204" pitchFamily="34" charset="0"/>
                <a:ea typeface="Source Sans Pro Light" panose="020B0403030403020204" pitchFamily="34" charset="0"/>
              </a:rPr>
              <a:t>40</a:t>
            </a:r>
          </a:p>
        </p:txBody>
      </p:sp>
      <p:sp>
        <p:nvSpPr>
          <p:cNvPr id="47" name="TextBox 46">
            <a:extLst>
              <a:ext uri="{FF2B5EF4-FFF2-40B4-BE49-F238E27FC236}">
                <a16:creationId xmlns:a16="http://schemas.microsoft.com/office/drawing/2014/main" id="{335787FF-322A-41B5-BEE1-9A8DC84FD6F3}"/>
              </a:ext>
            </a:extLst>
          </p:cNvPr>
          <p:cNvSpPr txBox="1"/>
          <p:nvPr/>
        </p:nvSpPr>
        <p:spPr>
          <a:xfrm>
            <a:off x="3408309" y="1403512"/>
            <a:ext cx="367408" cy="307777"/>
          </a:xfrm>
          <a:prstGeom prst="rect">
            <a:avLst/>
          </a:prstGeom>
          <a:noFill/>
        </p:spPr>
        <p:txBody>
          <a:bodyPr wrap="none" rtlCol="0">
            <a:spAutoFit/>
          </a:bodyPr>
          <a:lstStyle/>
          <a:p>
            <a:r>
              <a:rPr lang="en-US" sz="1400" dirty="0">
                <a:latin typeface="Source Sans Pro Light" panose="020B0403030403020204" pitchFamily="34" charset="0"/>
                <a:ea typeface="Source Sans Pro Light" panose="020B0403030403020204" pitchFamily="34" charset="0"/>
              </a:rPr>
              <a:t>60</a:t>
            </a:r>
          </a:p>
        </p:txBody>
      </p:sp>
      <p:sp>
        <p:nvSpPr>
          <p:cNvPr id="49" name="TextBox 48">
            <a:extLst>
              <a:ext uri="{FF2B5EF4-FFF2-40B4-BE49-F238E27FC236}">
                <a16:creationId xmlns:a16="http://schemas.microsoft.com/office/drawing/2014/main" id="{F747E85B-E81B-4239-BF2D-F17939B67733}"/>
              </a:ext>
            </a:extLst>
          </p:cNvPr>
          <p:cNvSpPr txBox="1"/>
          <p:nvPr/>
        </p:nvSpPr>
        <p:spPr>
          <a:xfrm>
            <a:off x="3288900" y="452419"/>
            <a:ext cx="715260" cy="307777"/>
          </a:xfrm>
          <a:prstGeom prst="rect">
            <a:avLst/>
          </a:prstGeom>
          <a:noFill/>
        </p:spPr>
        <p:txBody>
          <a:bodyPr wrap="none" rtlCol="0">
            <a:spAutoFit/>
          </a:bodyPr>
          <a:lstStyle/>
          <a:p>
            <a:r>
              <a:rPr lang="en-US" sz="1400" dirty="0">
                <a:latin typeface="Source Sans Pro Light" panose="020B0403030403020204" pitchFamily="34" charset="0"/>
                <a:ea typeface="Source Sans Pro Light" panose="020B0403030403020204" pitchFamily="34" charset="0"/>
              </a:rPr>
              <a:t>(Mg/</a:t>
            </a:r>
            <a:r>
              <a:rPr lang="en-US" sz="1400" dirty="0" err="1">
                <a:latin typeface="Source Sans Pro Light" panose="020B0403030403020204" pitchFamily="34" charset="0"/>
                <a:ea typeface="Source Sans Pro Light" panose="020B0403030403020204" pitchFamily="34" charset="0"/>
              </a:rPr>
              <a:t>hr</a:t>
            </a:r>
            <a:r>
              <a:rPr lang="en-US" sz="1400" dirty="0">
                <a:latin typeface="Source Sans Pro Light" panose="020B0403030403020204" pitchFamily="34" charset="0"/>
                <a:ea typeface="Source Sans Pro Light" panose="020B0403030403020204" pitchFamily="34" charset="0"/>
              </a:rPr>
              <a:t>)</a:t>
            </a:r>
          </a:p>
        </p:txBody>
      </p:sp>
      <p:sp>
        <p:nvSpPr>
          <p:cNvPr id="51" name="TextBox 50">
            <a:extLst>
              <a:ext uri="{FF2B5EF4-FFF2-40B4-BE49-F238E27FC236}">
                <a16:creationId xmlns:a16="http://schemas.microsoft.com/office/drawing/2014/main" id="{8CC5F6DF-7977-4FE5-A8AA-32BA6B8246FC}"/>
              </a:ext>
            </a:extLst>
          </p:cNvPr>
          <p:cNvSpPr txBox="1"/>
          <p:nvPr/>
        </p:nvSpPr>
        <p:spPr>
          <a:xfrm>
            <a:off x="3408309" y="3121223"/>
            <a:ext cx="367408" cy="307777"/>
          </a:xfrm>
          <a:prstGeom prst="rect">
            <a:avLst/>
          </a:prstGeom>
          <a:noFill/>
        </p:spPr>
        <p:txBody>
          <a:bodyPr wrap="none" rtlCol="0">
            <a:spAutoFit/>
          </a:bodyPr>
          <a:lstStyle/>
          <a:p>
            <a:r>
              <a:rPr lang="en-US" sz="1400" dirty="0">
                <a:latin typeface="Source Sans Pro Light" panose="020B0403030403020204" pitchFamily="34" charset="0"/>
                <a:ea typeface="Source Sans Pro Light" panose="020B0403030403020204" pitchFamily="34" charset="0"/>
              </a:rPr>
              <a:t>20</a:t>
            </a:r>
          </a:p>
        </p:txBody>
      </p:sp>
      <p:sp>
        <p:nvSpPr>
          <p:cNvPr id="53" name="Rectangle 52">
            <a:extLst>
              <a:ext uri="{FF2B5EF4-FFF2-40B4-BE49-F238E27FC236}">
                <a16:creationId xmlns:a16="http://schemas.microsoft.com/office/drawing/2014/main" id="{E97A510C-89D4-4CE7-BB16-67ECF6ADA009}"/>
              </a:ext>
            </a:extLst>
          </p:cNvPr>
          <p:cNvSpPr/>
          <p:nvPr/>
        </p:nvSpPr>
        <p:spPr>
          <a:xfrm>
            <a:off x="4372864" y="705128"/>
            <a:ext cx="7819136" cy="646331"/>
          </a:xfrm>
          <a:prstGeom prst="rect">
            <a:avLst/>
          </a:prstGeom>
          <a:solidFill>
            <a:schemeClr val="bg2">
              <a:lumMod val="25000"/>
              <a:alpha val="75000"/>
            </a:schemeClr>
          </a:solidFill>
        </p:spPr>
        <p:txBody>
          <a:bodyPr wrap="square">
            <a:spAutoFit/>
          </a:bodyPr>
          <a:lstStyle/>
          <a:p>
            <a:r>
              <a:rPr lang="en-US" dirty="0">
                <a:solidFill>
                  <a:schemeClr val="bg1"/>
                </a:solidFill>
                <a:latin typeface="Source Sans Pro Light" panose="020B0403030403020204" pitchFamily="34" charset="0"/>
                <a:ea typeface="Source Sans Pro Light" panose="020B0403030403020204" pitchFamily="34" charset="0"/>
                <a:cs typeface="Times New Roman" panose="02020603050405020304" pitchFamily="18" charset="0"/>
              </a:rPr>
              <a:t>Offshore emissions are significantly overestimated by current inventories while onshore emissions are significantly underestimated.</a:t>
            </a:r>
            <a:endParaRPr lang="en-US" b="1" dirty="0">
              <a:solidFill>
                <a:schemeClr val="bg1"/>
              </a:solidFill>
              <a:latin typeface="Source Sans Pro Light" panose="020B0403030403020204" pitchFamily="34" charset="0"/>
              <a:ea typeface="Source Sans Pro Light" panose="020B0403030403020204" pitchFamily="34" charset="0"/>
            </a:endParaRPr>
          </a:p>
        </p:txBody>
      </p:sp>
      <p:sp>
        <p:nvSpPr>
          <p:cNvPr id="54" name="Rectangle 53">
            <a:extLst>
              <a:ext uri="{FF2B5EF4-FFF2-40B4-BE49-F238E27FC236}">
                <a16:creationId xmlns:a16="http://schemas.microsoft.com/office/drawing/2014/main" id="{8CADE0E7-F688-4AC9-BED4-D06F0155E235}"/>
              </a:ext>
            </a:extLst>
          </p:cNvPr>
          <p:cNvSpPr/>
          <p:nvPr/>
        </p:nvSpPr>
        <p:spPr>
          <a:xfrm>
            <a:off x="4371562" y="1553680"/>
            <a:ext cx="7819136" cy="646331"/>
          </a:xfrm>
          <a:prstGeom prst="rect">
            <a:avLst/>
          </a:prstGeom>
          <a:solidFill>
            <a:schemeClr val="bg2">
              <a:lumMod val="25000"/>
              <a:alpha val="75000"/>
            </a:schemeClr>
          </a:solidFill>
        </p:spPr>
        <p:txBody>
          <a:bodyPr wrap="square">
            <a:spAutoFit/>
          </a:bodyPr>
          <a:lstStyle/>
          <a:p>
            <a:r>
              <a:rPr lang="en-US" dirty="0">
                <a:solidFill>
                  <a:schemeClr val="bg1"/>
                </a:solidFill>
                <a:latin typeface="Source Sans Pro Light" panose="020B0403030403020204" pitchFamily="34" charset="0"/>
                <a:ea typeface="Source Sans Pro Light" panose="020B0403030403020204" pitchFamily="34" charset="0"/>
                <a:cs typeface="Times New Roman" panose="02020603050405020304" pitchFamily="18" charset="0"/>
              </a:rPr>
              <a:t>Oil and gas emissions are 2 times higher than national inventory (loss rate of 4.3%).</a:t>
            </a:r>
          </a:p>
          <a:p>
            <a:endParaRPr lang="en-US" b="1" dirty="0">
              <a:solidFill>
                <a:schemeClr val="bg1"/>
              </a:solidFill>
              <a:latin typeface="Source Sans Pro Light" panose="020B0403030403020204" pitchFamily="34" charset="0"/>
              <a:ea typeface="Source Sans Pro Light" panose="020B0403030403020204" pitchFamily="34" charset="0"/>
            </a:endParaRPr>
          </a:p>
        </p:txBody>
      </p:sp>
      <p:sp>
        <p:nvSpPr>
          <p:cNvPr id="55" name="Rectangle 54">
            <a:extLst>
              <a:ext uri="{FF2B5EF4-FFF2-40B4-BE49-F238E27FC236}">
                <a16:creationId xmlns:a16="http://schemas.microsoft.com/office/drawing/2014/main" id="{FF957DAC-494B-4E55-A9E3-2711904BA6DE}"/>
              </a:ext>
            </a:extLst>
          </p:cNvPr>
          <p:cNvSpPr/>
          <p:nvPr/>
        </p:nvSpPr>
        <p:spPr>
          <a:xfrm>
            <a:off x="4372864" y="2346749"/>
            <a:ext cx="7819136" cy="646331"/>
          </a:xfrm>
          <a:prstGeom prst="rect">
            <a:avLst/>
          </a:prstGeom>
          <a:solidFill>
            <a:schemeClr val="bg2">
              <a:lumMod val="25000"/>
              <a:alpha val="75000"/>
            </a:schemeClr>
          </a:solidFill>
        </p:spPr>
        <p:txBody>
          <a:bodyPr wrap="square">
            <a:spAutoFit/>
          </a:bodyPr>
          <a:lstStyle/>
          <a:p>
            <a:r>
              <a:rPr lang="en-US" dirty="0">
                <a:solidFill>
                  <a:schemeClr val="bg1"/>
                </a:solidFill>
                <a:latin typeface="Source Sans Pro Light" panose="020B0403030403020204" pitchFamily="34" charset="0"/>
                <a:ea typeface="Source Sans Pro Light" panose="020B0403030403020204" pitchFamily="34" charset="0"/>
              </a:rPr>
              <a:t>One basin (</a:t>
            </a:r>
            <a:r>
              <a:rPr lang="en-US" dirty="0" err="1">
                <a:solidFill>
                  <a:schemeClr val="bg1"/>
                </a:solidFill>
                <a:latin typeface="Source Sans Pro Light" panose="020B0403030403020204" pitchFamily="34" charset="0"/>
                <a:ea typeface="Source Sans Pro Light" panose="020B0403030403020204" pitchFamily="34" charset="0"/>
              </a:rPr>
              <a:t>Sureste</a:t>
            </a:r>
            <a:r>
              <a:rPr lang="en-US" dirty="0">
                <a:solidFill>
                  <a:schemeClr val="bg1"/>
                </a:solidFill>
                <a:latin typeface="Source Sans Pro Light" panose="020B0403030403020204" pitchFamily="34" charset="0"/>
                <a:ea typeface="Source Sans Pro Light" panose="020B0403030403020204" pitchFamily="34" charset="0"/>
              </a:rPr>
              <a:t>) is responsible for 50% of national O&amp;G emissions.</a:t>
            </a:r>
          </a:p>
          <a:p>
            <a:endParaRPr lang="en-US" b="1" dirty="0">
              <a:solidFill>
                <a:schemeClr val="bg1"/>
              </a:solidFill>
              <a:latin typeface="Source Sans Pro Light" panose="020B0403030403020204" pitchFamily="34" charset="0"/>
              <a:ea typeface="Source Sans Pro Light" panose="020B0403030403020204" pitchFamily="34" charset="0"/>
            </a:endParaRPr>
          </a:p>
        </p:txBody>
      </p:sp>
      <p:grpSp>
        <p:nvGrpSpPr>
          <p:cNvPr id="56" name="Group 55">
            <a:extLst>
              <a:ext uri="{FF2B5EF4-FFF2-40B4-BE49-F238E27FC236}">
                <a16:creationId xmlns:a16="http://schemas.microsoft.com/office/drawing/2014/main" id="{EA7FEEAE-D553-4CD9-8DF7-41AF11AA0E54}"/>
              </a:ext>
            </a:extLst>
          </p:cNvPr>
          <p:cNvGrpSpPr/>
          <p:nvPr/>
        </p:nvGrpSpPr>
        <p:grpSpPr>
          <a:xfrm>
            <a:off x="613764" y="4627721"/>
            <a:ext cx="3223736" cy="2230279"/>
            <a:chOff x="613764" y="4627721"/>
            <a:chExt cx="3223736" cy="2230279"/>
          </a:xfrm>
        </p:grpSpPr>
        <p:pic>
          <p:nvPicPr>
            <p:cNvPr id="6" name="Picture 5">
              <a:extLst>
                <a:ext uri="{FF2B5EF4-FFF2-40B4-BE49-F238E27FC236}">
                  <a16:creationId xmlns:a16="http://schemas.microsoft.com/office/drawing/2014/main" id="{A806E407-CD0A-4947-A03A-4D31FD1158A0}"/>
                </a:ext>
              </a:extLst>
            </p:cNvPr>
            <p:cNvPicPr>
              <a:picLocks noChangeAspect="1"/>
            </p:cNvPicPr>
            <p:nvPr/>
          </p:nvPicPr>
          <p:blipFill>
            <a:blip r:embed="rId4"/>
            <a:stretch>
              <a:fillRect/>
            </a:stretch>
          </p:blipFill>
          <p:spPr>
            <a:xfrm>
              <a:off x="613764" y="4627721"/>
              <a:ext cx="3223736" cy="2230279"/>
            </a:xfrm>
            <a:prstGeom prst="rect">
              <a:avLst/>
            </a:prstGeom>
          </p:spPr>
        </p:pic>
        <p:sp>
          <p:nvSpPr>
            <p:cNvPr id="5" name="Rectangle 4">
              <a:extLst>
                <a:ext uri="{FF2B5EF4-FFF2-40B4-BE49-F238E27FC236}">
                  <a16:creationId xmlns:a16="http://schemas.microsoft.com/office/drawing/2014/main" id="{A2DBD4B4-A284-4138-B22F-940BFD16FFB8}"/>
                </a:ext>
              </a:extLst>
            </p:cNvPr>
            <p:cNvSpPr/>
            <p:nvPr/>
          </p:nvSpPr>
          <p:spPr>
            <a:xfrm>
              <a:off x="2292234" y="6028504"/>
              <a:ext cx="287853" cy="111109"/>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23657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55"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FDF5CC-5CE5-0647-8E83-37E5D45C7D81}"/>
              </a:ext>
            </a:extLst>
          </p:cNvPr>
          <p:cNvSpPr>
            <a:spLocks noGrp="1"/>
          </p:cNvSpPr>
          <p:nvPr>
            <p:ph type="title"/>
          </p:nvPr>
        </p:nvSpPr>
        <p:spPr/>
        <p:txBody>
          <a:bodyPr/>
          <a:lstStyle/>
          <a:p>
            <a:endParaRPr lang="en-US"/>
          </a:p>
        </p:txBody>
      </p:sp>
      <p:pic>
        <p:nvPicPr>
          <p:cNvPr id="4" name="Content Placeholder 3">
            <a:extLst>
              <a:ext uri="{FF2B5EF4-FFF2-40B4-BE49-F238E27FC236}">
                <a16:creationId xmlns:a16="http://schemas.microsoft.com/office/drawing/2014/main" id="{CE830255-FF5A-E74A-92A2-F20D89C4BD41}"/>
              </a:ext>
            </a:extLst>
          </p:cNvPr>
          <p:cNvPicPr>
            <a:picLocks noGrp="1" noChangeAspect="1"/>
          </p:cNvPicPr>
          <p:nvPr>
            <p:ph idx="1"/>
          </p:nvPr>
        </p:nvPicPr>
        <p:blipFill>
          <a:blip r:embed="rId2"/>
          <a:stretch>
            <a:fillRect/>
          </a:stretch>
        </p:blipFill>
        <p:spPr>
          <a:xfrm>
            <a:off x="-539724" y="-152767"/>
            <a:ext cx="10288158" cy="7010767"/>
          </a:xfrm>
          <a:prstGeom prst="rect">
            <a:avLst/>
          </a:prstGeom>
        </p:spPr>
      </p:pic>
      <p:sp>
        <p:nvSpPr>
          <p:cNvPr id="5" name="TextBox 4">
            <a:extLst>
              <a:ext uri="{FF2B5EF4-FFF2-40B4-BE49-F238E27FC236}">
                <a16:creationId xmlns:a16="http://schemas.microsoft.com/office/drawing/2014/main" id="{C991696E-EEE9-A94D-8716-5D77DF1CC5A0}"/>
              </a:ext>
            </a:extLst>
          </p:cNvPr>
          <p:cNvSpPr txBox="1"/>
          <p:nvPr/>
        </p:nvSpPr>
        <p:spPr>
          <a:xfrm>
            <a:off x="9205994" y="1731526"/>
            <a:ext cx="2740494" cy="954107"/>
          </a:xfrm>
          <a:prstGeom prst="rect">
            <a:avLst/>
          </a:prstGeom>
          <a:noFill/>
        </p:spPr>
        <p:txBody>
          <a:bodyPr wrap="none" rtlCol="0">
            <a:spAutoFit/>
          </a:bodyPr>
          <a:lstStyle/>
          <a:p>
            <a:r>
              <a:rPr lang="en-US" sz="2800" dirty="0"/>
              <a:t>Norway Offshore </a:t>
            </a:r>
          </a:p>
          <a:p>
            <a:r>
              <a:rPr lang="en-US" sz="2800" dirty="0"/>
              <a:t>O&amp;G production</a:t>
            </a:r>
          </a:p>
        </p:txBody>
      </p:sp>
      <p:sp>
        <p:nvSpPr>
          <p:cNvPr id="6" name="TextBox 5">
            <a:extLst>
              <a:ext uri="{FF2B5EF4-FFF2-40B4-BE49-F238E27FC236}">
                <a16:creationId xmlns:a16="http://schemas.microsoft.com/office/drawing/2014/main" id="{21DD96D9-719D-914F-A71F-112E8AD10081}"/>
              </a:ext>
            </a:extLst>
          </p:cNvPr>
          <p:cNvSpPr txBox="1"/>
          <p:nvPr/>
        </p:nvSpPr>
        <p:spPr>
          <a:xfrm>
            <a:off x="9205994" y="5377912"/>
            <a:ext cx="2833981" cy="800219"/>
          </a:xfrm>
          <a:prstGeom prst="rect">
            <a:avLst/>
          </a:prstGeom>
          <a:noFill/>
        </p:spPr>
        <p:txBody>
          <a:bodyPr wrap="none" rtlCol="0">
            <a:spAutoFit/>
          </a:bodyPr>
          <a:lstStyle/>
          <a:p>
            <a:r>
              <a:rPr lang="en-US" sz="2800" dirty="0" err="1"/>
              <a:t>Foulds</a:t>
            </a:r>
            <a:r>
              <a:rPr lang="en-US" sz="2800" dirty="0"/>
              <a:t> et al. 2022 </a:t>
            </a:r>
          </a:p>
          <a:p>
            <a:endParaRPr lang="en-US" dirty="0"/>
          </a:p>
        </p:txBody>
      </p:sp>
    </p:spTree>
    <p:extLst>
      <p:ext uri="{BB962C8B-B14F-4D97-AF65-F5344CB8AC3E}">
        <p14:creationId xmlns:p14="http://schemas.microsoft.com/office/powerpoint/2010/main" val="1586816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map of the earth&#10;&#10;Description automatically generated">
            <a:extLst>
              <a:ext uri="{FF2B5EF4-FFF2-40B4-BE49-F238E27FC236}">
                <a16:creationId xmlns:a16="http://schemas.microsoft.com/office/drawing/2014/main" id="{85C240C6-1314-B974-C0BA-40AF3E93D77D}"/>
              </a:ext>
            </a:extLst>
          </p:cNvPr>
          <p:cNvPicPr>
            <a:picLocks noChangeAspect="1"/>
          </p:cNvPicPr>
          <p:nvPr/>
        </p:nvPicPr>
        <p:blipFill rotWithShape="1">
          <a:blip r:embed="rId2">
            <a:alphaModFix amt="50000"/>
          </a:blip>
          <a:srcRect b="13414"/>
          <a:stretch/>
        </p:blipFill>
        <p:spPr>
          <a:xfrm>
            <a:off x="0" y="1615903"/>
            <a:ext cx="12192000" cy="5242097"/>
          </a:xfrm>
          <a:prstGeom prst="rect">
            <a:avLst/>
          </a:prstGeom>
        </p:spPr>
      </p:pic>
      <p:pic>
        <p:nvPicPr>
          <p:cNvPr id="7" name="Picture 6" descr="A blue and white logo&#10;&#10;Description automatically generated">
            <a:extLst>
              <a:ext uri="{FF2B5EF4-FFF2-40B4-BE49-F238E27FC236}">
                <a16:creationId xmlns:a16="http://schemas.microsoft.com/office/drawing/2014/main" id="{8913ED6A-4DE7-BC1B-9AD5-8ADCC7D62DA9}"/>
              </a:ext>
            </a:extLst>
          </p:cNvPr>
          <p:cNvPicPr>
            <a:picLocks noChangeAspect="1"/>
          </p:cNvPicPr>
          <p:nvPr/>
        </p:nvPicPr>
        <p:blipFill>
          <a:blip r:embed="rId3"/>
          <a:stretch>
            <a:fillRect/>
          </a:stretch>
        </p:blipFill>
        <p:spPr>
          <a:xfrm>
            <a:off x="0" y="0"/>
            <a:ext cx="12192000" cy="1629674"/>
          </a:xfrm>
          <a:prstGeom prst="rect">
            <a:avLst/>
          </a:prstGeom>
        </p:spPr>
      </p:pic>
      <p:sp>
        <p:nvSpPr>
          <p:cNvPr id="8" name="TextBox 7">
            <a:extLst>
              <a:ext uri="{FF2B5EF4-FFF2-40B4-BE49-F238E27FC236}">
                <a16:creationId xmlns:a16="http://schemas.microsoft.com/office/drawing/2014/main" id="{E52B9FF7-7ED9-C40D-A804-635CECD035A4}"/>
              </a:ext>
            </a:extLst>
          </p:cNvPr>
          <p:cNvSpPr txBox="1"/>
          <p:nvPr/>
        </p:nvSpPr>
        <p:spPr>
          <a:xfrm>
            <a:off x="0" y="2113292"/>
            <a:ext cx="12192000" cy="4247317"/>
          </a:xfrm>
          <a:prstGeom prst="rect">
            <a:avLst/>
          </a:prstGeom>
          <a:noFill/>
        </p:spPr>
        <p:txBody>
          <a:bodyPr wrap="square" rtlCol="0">
            <a:spAutoFit/>
          </a:bodyPr>
          <a:lstStyle/>
          <a:p>
            <a:pPr marL="285750" indent="-285750">
              <a:buFont typeface="Arial" panose="020B0604020202020204" pitchFamily="34" charset="0"/>
              <a:buChar char="•"/>
            </a:pPr>
            <a:r>
              <a:rPr lang="en-US" sz="3000" b="1" dirty="0"/>
              <a:t>Dr. Deborah Gordan</a:t>
            </a:r>
            <a:r>
              <a:rPr lang="en-US" sz="3000" dirty="0"/>
              <a:t>, Senior Principal, Climate Intelligence Program, RMI</a:t>
            </a:r>
          </a:p>
          <a:p>
            <a:pPr marL="285750" indent="-285750">
              <a:buFont typeface="Arial" panose="020B0604020202020204" pitchFamily="34" charset="0"/>
              <a:buChar char="•"/>
            </a:pPr>
            <a:endParaRPr lang="en-US" sz="3000" dirty="0"/>
          </a:p>
          <a:p>
            <a:pPr marL="285750" indent="-285750">
              <a:buFont typeface="Arial" panose="020B0604020202020204" pitchFamily="34" charset="0"/>
              <a:buChar char="•"/>
            </a:pPr>
            <a:r>
              <a:rPr lang="en-US" sz="3000" b="1" dirty="0"/>
              <a:t>Dr. Phil DeCola</a:t>
            </a:r>
            <a:r>
              <a:rPr lang="en-US" sz="3000" dirty="0"/>
              <a:t>, Co-Chair, </a:t>
            </a:r>
            <a:r>
              <a:rPr lang="en-US" sz="3000" b="0" i="0" u="none" strike="noStrike" dirty="0">
                <a:effectLst/>
                <a:latin typeface="Google Sans"/>
              </a:rPr>
              <a:t>Integrated Global GHG Information System (IG3IS)</a:t>
            </a:r>
            <a:endParaRPr lang="en-US" sz="3000" dirty="0"/>
          </a:p>
          <a:p>
            <a:pPr marL="285750" indent="-285750">
              <a:buFont typeface="Arial" panose="020B0604020202020204" pitchFamily="34" charset="0"/>
              <a:buChar char="•"/>
            </a:pPr>
            <a:endParaRPr lang="en-US" sz="3000" dirty="0"/>
          </a:p>
          <a:p>
            <a:pPr marL="285750" indent="-285750">
              <a:buFont typeface="Arial" panose="020B0604020202020204" pitchFamily="34" charset="0"/>
              <a:buChar char="•"/>
            </a:pPr>
            <a:r>
              <a:rPr lang="en-US" sz="3000" b="1" dirty="0"/>
              <a:t>Dr. </a:t>
            </a:r>
            <a:r>
              <a:rPr lang="en-US" sz="3000" b="1" dirty="0" err="1"/>
              <a:t>Yasjka</a:t>
            </a:r>
            <a:r>
              <a:rPr lang="en-US" sz="3000" b="1" dirty="0"/>
              <a:t> Meijer</a:t>
            </a:r>
            <a:r>
              <a:rPr lang="en-US" sz="3000" dirty="0"/>
              <a:t>, CO2M Mission Scientist &amp; GHG Task Team Lead, European Space Agency</a:t>
            </a:r>
          </a:p>
          <a:p>
            <a:pPr marL="285750" indent="-285750">
              <a:buFont typeface="Arial" panose="020B0604020202020204" pitchFamily="34" charset="0"/>
              <a:buChar char="•"/>
            </a:pPr>
            <a:endParaRPr lang="en-US" sz="3000" dirty="0"/>
          </a:p>
          <a:p>
            <a:pPr marL="285750" indent="-285750">
              <a:buFont typeface="Arial" panose="020B0604020202020204" pitchFamily="34" charset="0"/>
              <a:buChar char="•"/>
            </a:pPr>
            <a:r>
              <a:rPr lang="en-US" sz="3000" b="1" dirty="0"/>
              <a:t>Dr. Steven Hamburg</a:t>
            </a:r>
            <a:r>
              <a:rPr lang="en-US" sz="3000" dirty="0"/>
              <a:t>, Project Lead, </a:t>
            </a:r>
            <a:r>
              <a:rPr lang="en-US" sz="3000" dirty="0" err="1"/>
              <a:t>MethaneSAT</a:t>
            </a:r>
            <a:r>
              <a:rPr lang="en-US" sz="3000" dirty="0"/>
              <a:t> &amp; Senior Vice President, Chief Scientist, Environmental Defense Fund</a:t>
            </a:r>
          </a:p>
        </p:txBody>
      </p:sp>
      <p:pic>
        <p:nvPicPr>
          <p:cNvPr id="9" name="Picture 8">
            <a:extLst>
              <a:ext uri="{FF2B5EF4-FFF2-40B4-BE49-F238E27FC236}">
                <a16:creationId xmlns:a16="http://schemas.microsoft.com/office/drawing/2014/main" id="{AD94838C-E021-72B3-53CD-F79534770EFD}"/>
              </a:ext>
            </a:extLst>
          </p:cNvPr>
          <p:cNvPicPr>
            <a:picLocks noChangeAspect="1"/>
          </p:cNvPicPr>
          <p:nvPr/>
        </p:nvPicPr>
        <p:blipFill>
          <a:blip r:embed="rId4"/>
          <a:stretch>
            <a:fillRect/>
          </a:stretch>
        </p:blipFill>
        <p:spPr>
          <a:xfrm>
            <a:off x="9436100" y="1308100"/>
            <a:ext cx="2755900" cy="292100"/>
          </a:xfrm>
          <a:prstGeom prst="rect">
            <a:avLst/>
          </a:prstGeom>
        </p:spPr>
      </p:pic>
    </p:spTree>
    <p:extLst>
      <p:ext uri="{BB962C8B-B14F-4D97-AF65-F5344CB8AC3E}">
        <p14:creationId xmlns:p14="http://schemas.microsoft.com/office/powerpoint/2010/main" val="365626397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A626855-B395-4A4B-A80A-2B20A62DD079}"/>
              </a:ext>
            </a:extLst>
          </p:cNvPr>
          <p:cNvSpPr/>
          <p:nvPr/>
        </p:nvSpPr>
        <p:spPr>
          <a:xfrm>
            <a:off x="4991267" y="3387813"/>
            <a:ext cx="409869" cy="369332"/>
          </a:xfrm>
          <a:prstGeom prst="rect">
            <a:avLst/>
          </a:prstGeom>
        </p:spPr>
        <p:txBody>
          <a:bodyPr wrap="square">
            <a:spAutoFit/>
          </a:bodyPr>
          <a:lstStyle/>
          <a:p>
            <a:r>
              <a:rPr lang="en-US" baseline="30000" dirty="0">
                <a:solidFill>
                  <a:srgbClr val="000000"/>
                </a:solidFill>
                <a:latin typeface="Helvetica" pitchFamily="2" charset="0"/>
              </a:rPr>
              <a:t> </a:t>
            </a:r>
            <a:endParaRPr lang="en-US" dirty="0"/>
          </a:p>
        </p:txBody>
      </p:sp>
      <p:pic>
        <p:nvPicPr>
          <p:cNvPr id="1025" name="Picture 1" descr="page6image66636432">
            <a:extLst>
              <a:ext uri="{FF2B5EF4-FFF2-40B4-BE49-F238E27FC236}">
                <a16:creationId xmlns:a16="http://schemas.microsoft.com/office/drawing/2014/main" id="{7BA65622-ED16-164A-8C13-68EC8424829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7265" y="1007528"/>
            <a:ext cx="9858492" cy="5065281"/>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89ABCEAD-703B-7C43-8864-86E4E937CC85}"/>
              </a:ext>
            </a:extLst>
          </p:cNvPr>
          <p:cNvSpPr txBox="1"/>
          <p:nvPr/>
        </p:nvSpPr>
        <p:spPr>
          <a:xfrm>
            <a:off x="1147521" y="108082"/>
            <a:ext cx="11553958" cy="1354217"/>
          </a:xfrm>
          <a:prstGeom prst="rect">
            <a:avLst/>
          </a:prstGeom>
          <a:noFill/>
        </p:spPr>
        <p:txBody>
          <a:bodyPr wrap="square" rtlCol="0">
            <a:spAutoFit/>
          </a:bodyPr>
          <a:lstStyle/>
          <a:p>
            <a:pPr algn="ctr"/>
            <a:r>
              <a:rPr lang="en-US" sz="3200" dirty="0"/>
              <a:t>Permian Basin Methane Emissions Trends </a:t>
            </a:r>
          </a:p>
          <a:p>
            <a:pPr algn="ctr"/>
            <a:r>
              <a:rPr lang="en-US" sz="3200" dirty="0"/>
              <a:t> 2020</a:t>
            </a:r>
          </a:p>
          <a:p>
            <a:endParaRPr lang="en-US" dirty="0"/>
          </a:p>
        </p:txBody>
      </p:sp>
      <p:sp>
        <p:nvSpPr>
          <p:cNvPr id="4" name="TextBox 3">
            <a:extLst>
              <a:ext uri="{FF2B5EF4-FFF2-40B4-BE49-F238E27FC236}">
                <a16:creationId xmlns:a16="http://schemas.microsoft.com/office/drawing/2014/main" id="{C21F80AD-CB10-FD45-8A6E-D9E631359EA5}"/>
              </a:ext>
            </a:extLst>
          </p:cNvPr>
          <p:cNvSpPr txBox="1"/>
          <p:nvPr/>
        </p:nvSpPr>
        <p:spPr>
          <a:xfrm>
            <a:off x="159026" y="6142464"/>
            <a:ext cx="11132984" cy="923330"/>
          </a:xfrm>
          <a:prstGeom prst="rect">
            <a:avLst/>
          </a:prstGeom>
          <a:noFill/>
        </p:spPr>
        <p:txBody>
          <a:bodyPr wrap="none" rtlCol="0">
            <a:spAutoFit/>
          </a:bodyPr>
          <a:lstStyle/>
          <a:p>
            <a:r>
              <a:rPr lang="en-US" dirty="0"/>
              <a:t>Lyon et al. 2021. Concurrent variation in oil and gas methane emissions and oil price during the COVID-19 pandemic. </a:t>
            </a:r>
          </a:p>
          <a:p>
            <a:r>
              <a:rPr lang="en-US" i="1" dirty="0"/>
              <a:t>Atmospheric Chemistry and. Physics</a:t>
            </a:r>
            <a:r>
              <a:rPr lang="en-US" dirty="0"/>
              <a:t>  21: 6605–6626, </a:t>
            </a:r>
            <a:r>
              <a:rPr lang="en-US" u="sng" dirty="0">
                <a:hlinkClick r:id="rId3"/>
              </a:rPr>
              <a:t>https://doi.org/10.5194/acp-21-6605-2021</a:t>
            </a:r>
            <a:endParaRPr lang="en-US" dirty="0"/>
          </a:p>
          <a:p>
            <a:endParaRPr lang="en-US" dirty="0"/>
          </a:p>
        </p:txBody>
      </p:sp>
    </p:spTree>
    <p:extLst>
      <p:ext uri="{BB962C8B-B14F-4D97-AF65-F5344CB8AC3E}">
        <p14:creationId xmlns:p14="http://schemas.microsoft.com/office/powerpoint/2010/main" val="184681648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F20F94B-D783-494B-B645-26918EB0C2F9}"/>
              </a:ext>
            </a:extLst>
          </p:cNvPr>
          <p:cNvSpPr>
            <a:spLocks noGrp="1"/>
          </p:cNvSpPr>
          <p:nvPr>
            <p:ph type="title"/>
          </p:nvPr>
        </p:nvSpPr>
        <p:spPr>
          <a:xfrm>
            <a:off x="646848" y="372984"/>
            <a:ext cx="10443648" cy="769175"/>
          </a:xfrm>
        </p:spPr>
        <p:txBody>
          <a:bodyPr lIns="0" rIns="90000" anchor="b">
            <a:normAutofit/>
          </a:bodyPr>
          <a:lstStyle/>
          <a:p>
            <a:r>
              <a:rPr lang="en-US" sz="2400" b="1" dirty="0">
                <a:solidFill>
                  <a:srgbClr val="00B0F0"/>
                </a:solidFill>
                <a:latin typeface="Roboto" panose="02000000000000000000" pitchFamily="2" charset="0"/>
                <a:ea typeface="Roboto" panose="02000000000000000000" pitchFamily="2" charset="0"/>
                <a:cs typeface="Roboto" panose="02000000000000000000" pitchFamily="2" charset="0"/>
              </a:rPr>
              <a:t>IMEO supported Science: Ongoing studies</a:t>
            </a:r>
          </a:p>
        </p:txBody>
      </p:sp>
      <p:cxnSp>
        <p:nvCxnSpPr>
          <p:cNvPr id="5" name="Straight Connector 4">
            <a:extLst>
              <a:ext uri="{FF2B5EF4-FFF2-40B4-BE49-F238E27FC236}">
                <a16:creationId xmlns:a16="http://schemas.microsoft.com/office/drawing/2014/main" id="{90EC4474-176E-4B02-B21E-5CADB3A8EBC5}"/>
              </a:ext>
            </a:extLst>
          </p:cNvPr>
          <p:cNvCxnSpPr>
            <a:cxnSpLocks/>
          </p:cNvCxnSpPr>
          <p:nvPr/>
        </p:nvCxnSpPr>
        <p:spPr>
          <a:xfrm>
            <a:off x="646848" y="1375702"/>
            <a:ext cx="1171723" cy="0"/>
          </a:xfrm>
          <a:prstGeom prst="line">
            <a:avLst/>
          </a:prstGeom>
          <a:ln w="76200">
            <a:solidFill>
              <a:srgbClr val="00B0F0"/>
            </a:solidFill>
          </a:ln>
          <a:effectLst/>
        </p:spPr>
        <p:style>
          <a:lnRef idx="2">
            <a:schemeClr val="accent1"/>
          </a:lnRef>
          <a:fillRef idx="0">
            <a:schemeClr val="accent1"/>
          </a:fillRef>
          <a:effectRef idx="1">
            <a:schemeClr val="accent1"/>
          </a:effectRef>
          <a:fontRef idx="minor">
            <a:schemeClr val="tx1"/>
          </a:fontRef>
        </p:style>
      </p:cxnSp>
      <p:pic>
        <p:nvPicPr>
          <p:cNvPr id="6" name="Picture 48">
            <a:extLst>
              <a:ext uri="{FF2B5EF4-FFF2-40B4-BE49-F238E27FC236}">
                <a16:creationId xmlns:a16="http://schemas.microsoft.com/office/drawing/2014/main" id="{D04B69E3-CAAE-4C50-83EB-18409BA3AD34}"/>
              </a:ext>
            </a:extLst>
          </p:cNvPr>
          <p:cNvPicPr>
            <a:picLocks noChangeAspect="1"/>
          </p:cNvPicPr>
          <p:nvPr/>
        </p:nvPicPr>
        <p:blipFill>
          <a:blip r:embed="rId2">
            <a:alphaModFix amt="50000"/>
          </a:blip>
          <a:stretch>
            <a:fillRect/>
          </a:stretch>
        </p:blipFill>
        <p:spPr>
          <a:xfrm>
            <a:off x="10934550" y="391673"/>
            <a:ext cx="928807" cy="701951"/>
          </a:xfrm>
          <a:prstGeom prst="rect">
            <a:avLst/>
          </a:prstGeom>
        </p:spPr>
      </p:pic>
      <p:grpSp>
        <p:nvGrpSpPr>
          <p:cNvPr id="7" name="Group 6">
            <a:extLst>
              <a:ext uri="{FF2B5EF4-FFF2-40B4-BE49-F238E27FC236}">
                <a16:creationId xmlns:a16="http://schemas.microsoft.com/office/drawing/2014/main" id="{AA9FA94C-5ABB-49EF-B771-A82AF0F8FEA8}"/>
              </a:ext>
            </a:extLst>
          </p:cNvPr>
          <p:cNvGrpSpPr/>
          <p:nvPr/>
        </p:nvGrpSpPr>
        <p:grpSpPr>
          <a:xfrm>
            <a:off x="600951" y="1234455"/>
            <a:ext cx="10843337" cy="5323508"/>
            <a:chOff x="600951" y="1234455"/>
            <a:chExt cx="10843337" cy="5323508"/>
          </a:xfrm>
          <a:noFill/>
        </p:grpSpPr>
        <p:sp>
          <p:nvSpPr>
            <p:cNvPr id="8" name="30412358.375247.7512.755">
              <a:extLst>
                <a:ext uri="{FF2B5EF4-FFF2-40B4-BE49-F238E27FC236}">
                  <a16:creationId xmlns:a16="http://schemas.microsoft.com/office/drawing/2014/main" id="{1BDD8E02-1D9A-4D91-9D28-344470A74C7F}"/>
                </a:ext>
              </a:extLst>
            </p:cNvPr>
            <p:cNvSpPr>
              <a:spLocks noChangeAspect="1"/>
            </p:cNvSpPr>
            <p:nvPr/>
          </p:nvSpPr>
          <p:spPr bwMode="gray">
            <a:xfrm>
              <a:off x="3646063" y="4102252"/>
              <a:ext cx="43748" cy="15137"/>
            </a:xfrm>
            <a:custGeom>
              <a:avLst/>
              <a:gdLst/>
              <a:ahLst/>
              <a:cxnLst>
                <a:cxn ang="0">
                  <a:pos x="0" y="0"/>
                </a:cxn>
                <a:cxn ang="0">
                  <a:pos x="4" y="17"/>
                </a:cxn>
                <a:cxn ang="0">
                  <a:pos x="50" y="10"/>
                </a:cxn>
                <a:cxn ang="0">
                  <a:pos x="0" y="0"/>
                </a:cxn>
              </a:cxnLst>
              <a:rect l="0" t="0" r="r" b="b"/>
              <a:pathLst>
                <a:path w="50" h="17">
                  <a:moveTo>
                    <a:pt x="0" y="0"/>
                  </a:moveTo>
                  <a:lnTo>
                    <a:pt x="4" y="17"/>
                  </a:lnTo>
                  <a:lnTo>
                    <a:pt x="50" y="10"/>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9" name="30422411.37524325.62522.6255">
              <a:extLst>
                <a:ext uri="{FF2B5EF4-FFF2-40B4-BE49-F238E27FC236}">
                  <a16:creationId xmlns:a16="http://schemas.microsoft.com/office/drawing/2014/main" id="{BB9ABE53-8AAC-4253-B0AD-83266D617932}"/>
                </a:ext>
              </a:extLst>
            </p:cNvPr>
            <p:cNvSpPr>
              <a:spLocks noChangeAspect="1"/>
            </p:cNvSpPr>
            <p:nvPr/>
          </p:nvSpPr>
          <p:spPr bwMode="gray">
            <a:xfrm>
              <a:off x="3569985" y="4961751"/>
              <a:ext cx="361379" cy="413771"/>
            </a:xfrm>
            <a:custGeom>
              <a:avLst/>
              <a:gdLst/>
              <a:ahLst/>
              <a:cxnLst>
                <a:cxn ang="0">
                  <a:pos x="0" y="45"/>
                </a:cxn>
                <a:cxn ang="0">
                  <a:pos x="30" y="93"/>
                </a:cxn>
                <a:cxn ang="0">
                  <a:pos x="9" y="197"/>
                </a:cxn>
                <a:cxn ang="0">
                  <a:pos x="30" y="208"/>
                </a:cxn>
                <a:cxn ang="0">
                  <a:pos x="20" y="223"/>
                </a:cxn>
                <a:cxn ang="0">
                  <a:pos x="2" y="265"/>
                </a:cxn>
                <a:cxn ang="0">
                  <a:pos x="37" y="326"/>
                </a:cxn>
                <a:cxn ang="0">
                  <a:pos x="57" y="450"/>
                </a:cxn>
                <a:cxn ang="0">
                  <a:pos x="81" y="452"/>
                </a:cxn>
                <a:cxn ang="0">
                  <a:pos x="116" y="414"/>
                </a:cxn>
                <a:cxn ang="0">
                  <a:pos x="178" y="445"/>
                </a:cxn>
                <a:cxn ang="0">
                  <a:pos x="182" y="423"/>
                </a:cxn>
                <a:cxn ang="0">
                  <a:pos x="236" y="432"/>
                </a:cxn>
                <a:cxn ang="0">
                  <a:pos x="257" y="342"/>
                </a:cxn>
                <a:cxn ang="0">
                  <a:pos x="354" y="326"/>
                </a:cxn>
                <a:cxn ang="0">
                  <a:pos x="387" y="356"/>
                </a:cxn>
                <a:cxn ang="0">
                  <a:pos x="399" y="287"/>
                </a:cxn>
                <a:cxn ang="0">
                  <a:pos x="378" y="228"/>
                </a:cxn>
                <a:cxn ang="0">
                  <a:pos x="321" y="224"/>
                </a:cxn>
                <a:cxn ang="0">
                  <a:pos x="298" y="135"/>
                </a:cxn>
                <a:cxn ang="0">
                  <a:pos x="149" y="75"/>
                </a:cxn>
                <a:cxn ang="0">
                  <a:pos x="141" y="0"/>
                </a:cxn>
                <a:cxn ang="0">
                  <a:pos x="41" y="48"/>
                </a:cxn>
                <a:cxn ang="0">
                  <a:pos x="0" y="45"/>
                </a:cxn>
              </a:cxnLst>
              <a:rect l="0" t="0" r="r" b="b"/>
              <a:pathLst>
                <a:path w="399" h="452">
                  <a:moveTo>
                    <a:pt x="0" y="45"/>
                  </a:moveTo>
                  <a:lnTo>
                    <a:pt x="30" y="93"/>
                  </a:lnTo>
                  <a:lnTo>
                    <a:pt x="9" y="197"/>
                  </a:lnTo>
                  <a:lnTo>
                    <a:pt x="30" y="208"/>
                  </a:lnTo>
                  <a:lnTo>
                    <a:pt x="20" y="223"/>
                  </a:lnTo>
                  <a:lnTo>
                    <a:pt x="2" y="265"/>
                  </a:lnTo>
                  <a:lnTo>
                    <a:pt x="37" y="326"/>
                  </a:lnTo>
                  <a:lnTo>
                    <a:pt x="57" y="450"/>
                  </a:lnTo>
                  <a:lnTo>
                    <a:pt x="81" y="452"/>
                  </a:lnTo>
                  <a:lnTo>
                    <a:pt x="116" y="414"/>
                  </a:lnTo>
                  <a:lnTo>
                    <a:pt x="178" y="445"/>
                  </a:lnTo>
                  <a:lnTo>
                    <a:pt x="182" y="423"/>
                  </a:lnTo>
                  <a:lnTo>
                    <a:pt x="236" y="432"/>
                  </a:lnTo>
                  <a:lnTo>
                    <a:pt x="257" y="342"/>
                  </a:lnTo>
                  <a:lnTo>
                    <a:pt x="354" y="326"/>
                  </a:lnTo>
                  <a:lnTo>
                    <a:pt x="387" y="356"/>
                  </a:lnTo>
                  <a:lnTo>
                    <a:pt x="399" y="287"/>
                  </a:lnTo>
                  <a:lnTo>
                    <a:pt x="378" y="228"/>
                  </a:lnTo>
                  <a:lnTo>
                    <a:pt x="321" y="224"/>
                  </a:lnTo>
                  <a:lnTo>
                    <a:pt x="298" y="135"/>
                  </a:lnTo>
                  <a:lnTo>
                    <a:pt x="149" y="75"/>
                  </a:lnTo>
                  <a:lnTo>
                    <a:pt x="141" y="0"/>
                  </a:lnTo>
                  <a:lnTo>
                    <a:pt x="41" y="48"/>
                  </a:lnTo>
                  <a:lnTo>
                    <a:pt x="0" y="4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0" name="30423358.375206.37551.55">
              <a:extLst>
                <a:ext uri="{FF2B5EF4-FFF2-40B4-BE49-F238E27FC236}">
                  <a16:creationId xmlns:a16="http://schemas.microsoft.com/office/drawing/2014/main" id="{F985D178-453F-4BB2-A671-329490EFD5F1}"/>
                </a:ext>
              </a:extLst>
            </p:cNvPr>
            <p:cNvSpPr>
              <a:spLocks noChangeAspect="1"/>
            </p:cNvSpPr>
            <p:nvPr/>
          </p:nvSpPr>
          <p:spPr bwMode="gray">
            <a:xfrm>
              <a:off x="2980360" y="4102252"/>
              <a:ext cx="26628" cy="80737"/>
            </a:xfrm>
            <a:custGeom>
              <a:avLst/>
              <a:gdLst/>
              <a:ahLst/>
              <a:cxnLst>
                <a:cxn ang="0">
                  <a:pos x="0" y="20"/>
                </a:cxn>
                <a:cxn ang="0">
                  <a:pos x="11" y="88"/>
                </a:cxn>
                <a:cxn ang="0">
                  <a:pos x="28" y="0"/>
                </a:cxn>
                <a:cxn ang="0">
                  <a:pos x="0" y="20"/>
                </a:cxn>
              </a:cxnLst>
              <a:rect l="0" t="0" r="r" b="b"/>
              <a:pathLst>
                <a:path w="28" h="88">
                  <a:moveTo>
                    <a:pt x="0" y="20"/>
                  </a:moveTo>
                  <a:lnTo>
                    <a:pt x="11" y="88"/>
                  </a:lnTo>
                  <a:lnTo>
                    <a:pt x="28" y="0"/>
                  </a:lnTo>
                  <a:lnTo>
                    <a:pt x="0" y="2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1" name="30427228.125108.625821615">
              <a:extLst>
                <a:ext uri="{FF2B5EF4-FFF2-40B4-BE49-F238E27FC236}">
                  <a16:creationId xmlns:a16="http://schemas.microsoft.com/office/drawing/2014/main" id="{4DA45919-623A-4874-92A0-24A94E8ADE08}"/>
                </a:ext>
              </a:extLst>
            </p:cNvPr>
            <p:cNvSpPr>
              <a:spLocks noChangeAspect="1"/>
            </p:cNvSpPr>
            <p:nvPr/>
          </p:nvSpPr>
          <p:spPr bwMode="gray">
            <a:xfrm>
              <a:off x="1415008" y="1993034"/>
              <a:ext cx="2581023" cy="1328775"/>
            </a:xfrm>
            <a:custGeom>
              <a:avLst/>
              <a:gdLst/>
              <a:ahLst/>
              <a:cxnLst>
                <a:cxn ang="0">
                  <a:pos x="214" y="175"/>
                </a:cxn>
                <a:cxn ang="0">
                  <a:pos x="331" y="151"/>
                </a:cxn>
                <a:cxn ang="0">
                  <a:pos x="507" y="157"/>
                </a:cxn>
                <a:cxn ang="0">
                  <a:pos x="781" y="179"/>
                </a:cxn>
                <a:cxn ang="0">
                  <a:pos x="879" y="245"/>
                </a:cxn>
                <a:cxn ang="0">
                  <a:pos x="1125" y="284"/>
                </a:cxn>
                <a:cxn ang="0">
                  <a:pos x="1076" y="213"/>
                </a:cxn>
                <a:cxn ang="0">
                  <a:pos x="1290" y="251"/>
                </a:cxn>
                <a:cxn ang="0">
                  <a:pos x="1462" y="234"/>
                </a:cxn>
                <a:cxn ang="0">
                  <a:pos x="1480" y="231"/>
                </a:cxn>
                <a:cxn ang="0">
                  <a:pos x="1517" y="229"/>
                </a:cxn>
                <a:cxn ang="0">
                  <a:pos x="1580" y="149"/>
                </a:cxn>
                <a:cxn ang="0">
                  <a:pos x="1530" y="0"/>
                </a:cxn>
                <a:cxn ang="0">
                  <a:pos x="1622" y="107"/>
                </a:cxn>
                <a:cxn ang="0">
                  <a:pos x="1657" y="157"/>
                </a:cxn>
                <a:cxn ang="0">
                  <a:pos x="1776" y="223"/>
                </a:cxn>
                <a:cxn ang="0">
                  <a:pos x="1847" y="198"/>
                </a:cxn>
                <a:cxn ang="0">
                  <a:pos x="1990" y="171"/>
                </a:cxn>
                <a:cxn ang="0">
                  <a:pos x="1989" y="286"/>
                </a:cxn>
                <a:cxn ang="0">
                  <a:pos x="1818" y="317"/>
                </a:cxn>
                <a:cxn ang="0">
                  <a:pos x="1737" y="383"/>
                </a:cxn>
                <a:cxn ang="0">
                  <a:pos x="1682" y="483"/>
                </a:cxn>
                <a:cxn ang="0">
                  <a:pos x="1622" y="520"/>
                </a:cxn>
                <a:cxn ang="0">
                  <a:pos x="1549" y="590"/>
                </a:cxn>
                <a:cxn ang="0">
                  <a:pos x="1613" y="808"/>
                </a:cxn>
                <a:cxn ang="0">
                  <a:pos x="1847" y="905"/>
                </a:cxn>
                <a:cxn ang="0">
                  <a:pos x="1987" y="1022"/>
                </a:cxn>
                <a:cxn ang="0">
                  <a:pos x="2045" y="1076"/>
                </a:cxn>
                <a:cxn ang="0">
                  <a:pos x="2164" y="838"/>
                </a:cxn>
                <a:cxn ang="0">
                  <a:pos x="2134" y="678"/>
                </a:cxn>
                <a:cxn ang="0">
                  <a:pos x="2123" y="582"/>
                </a:cxn>
                <a:cxn ang="0">
                  <a:pos x="2241" y="534"/>
                </a:cxn>
                <a:cxn ang="0">
                  <a:pos x="2390" y="655"/>
                </a:cxn>
                <a:cxn ang="0">
                  <a:pos x="2344" y="735"/>
                </a:cxn>
                <a:cxn ang="0">
                  <a:pos x="2441" y="728"/>
                </a:cxn>
                <a:cxn ang="0">
                  <a:pos x="2531" y="684"/>
                </a:cxn>
                <a:cxn ang="0">
                  <a:pos x="2562" y="711"/>
                </a:cxn>
                <a:cxn ang="0">
                  <a:pos x="2621" y="737"/>
                </a:cxn>
                <a:cxn ang="0">
                  <a:pos x="2628" y="784"/>
                </a:cxn>
                <a:cxn ang="0">
                  <a:pos x="2639" y="842"/>
                </a:cxn>
                <a:cxn ang="0">
                  <a:pos x="2792" y="918"/>
                </a:cxn>
                <a:cxn ang="0">
                  <a:pos x="2798" y="970"/>
                </a:cxn>
                <a:cxn ang="0">
                  <a:pos x="2850" y="1025"/>
                </a:cxn>
                <a:cxn ang="0">
                  <a:pos x="2338" y="1256"/>
                </a:cxn>
                <a:cxn ang="0">
                  <a:pos x="2489" y="1205"/>
                </a:cxn>
                <a:cxn ang="0">
                  <a:pos x="2663" y="1310"/>
                </a:cxn>
                <a:cxn ang="0">
                  <a:pos x="2669" y="1321"/>
                </a:cxn>
                <a:cxn ang="0">
                  <a:pos x="2597" y="1317"/>
                </a:cxn>
                <a:cxn ang="0">
                  <a:pos x="2446" y="1303"/>
                </a:cxn>
                <a:cxn ang="0">
                  <a:pos x="2180" y="1352"/>
                </a:cxn>
                <a:cxn ang="0">
                  <a:pos x="2076" y="1418"/>
                </a:cxn>
                <a:cxn ang="0">
                  <a:pos x="1956" y="1410"/>
                </a:cxn>
                <a:cxn ang="0">
                  <a:pos x="2048" y="1337"/>
                </a:cxn>
                <a:cxn ang="0">
                  <a:pos x="1872" y="1208"/>
                </a:cxn>
                <a:cxn ang="0">
                  <a:pos x="1799" y="1195"/>
                </a:cxn>
                <a:cxn ang="0">
                  <a:pos x="1531" y="1146"/>
                </a:cxn>
                <a:cxn ang="0">
                  <a:pos x="547" y="1123"/>
                </a:cxn>
                <a:cxn ang="0">
                  <a:pos x="436" y="1015"/>
                </a:cxn>
                <a:cxn ang="0">
                  <a:pos x="365" y="849"/>
                </a:cxn>
                <a:cxn ang="0">
                  <a:pos x="99" y="692"/>
                </a:cxn>
              </a:cxnLst>
              <a:rect l="0" t="0" r="r" b="b"/>
              <a:pathLst>
                <a:path w="2850" h="1454">
                  <a:moveTo>
                    <a:pt x="0" y="645"/>
                  </a:moveTo>
                  <a:lnTo>
                    <a:pt x="0" y="135"/>
                  </a:lnTo>
                  <a:lnTo>
                    <a:pt x="227" y="202"/>
                  </a:lnTo>
                  <a:lnTo>
                    <a:pt x="214" y="175"/>
                  </a:lnTo>
                  <a:lnTo>
                    <a:pt x="238" y="158"/>
                  </a:lnTo>
                  <a:lnTo>
                    <a:pt x="376" y="103"/>
                  </a:lnTo>
                  <a:lnTo>
                    <a:pt x="269" y="171"/>
                  </a:lnTo>
                  <a:lnTo>
                    <a:pt x="331" y="151"/>
                  </a:lnTo>
                  <a:lnTo>
                    <a:pt x="331" y="165"/>
                  </a:lnTo>
                  <a:lnTo>
                    <a:pt x="447" y="105"/>
                  </a:lnTo>
                  <a:lnTo>
                    <a:pt x="431" y="85"/>
                  </a:lnTo>
                  <a:lnTo>
                    <a:pt x="507" y="157"/>
                  </a:lnTo>
                  <a:lnTo>
                    <a:pt x="555" y="114"/>
                  </a:lnTo>
                  <a:lnTo>
                    <a:pt x="551" y="157"/>
                  </a:lnTo>
                  <a:lnTo>
                    <a:pt x="611" y="127"/>
                  </a:lnTo>
                  <a:lnTo>
                    <a:pt x="781" y="179"/>
                  </a:lnTo>
                  <a:lnTo>
                    <a:pt x="857" y="178"/>
                  </a:lnTo>
                  <a:lnTo>
                    <a:pt x="901" y="208"/>
                  </a:lnTo>
                  <a:lnTo>
                    <a:pt x="849" y="234"/>
                  </a:lnTo>
                  <a:lnTo>
                    <a:pt x="879" y="245"/>
                  </a:lnTo>
                  <a:lnTo>
                    <a:pt x="1032" y="231"/>
                  </a:lnTo>
                  <a:lnTo>
                    <a:pt x="1099" y="274"/>
                  </a:lnTo>
                  <a:lnTo>
                    <a:pt x="1108" y="303"/>
                  </a:lnTo>
                  <a:lnTo>
                    <a:pt x="1125" y="284"/>
                  </a:lnTo>
                  <a:lnTo>
                    <a:pt x="1099" y="245"/>
                  </a:lnTo>
                  <a:lnTo>
                    <a:pt x="1171" y="197"/>
                  </a:lnTo>
                  <a:lnTo>
                    <a:pt x="1101" y="227"/>
                  </a:lnTo>
                  <a:lnTo>
                    <a:pt x="1076" y="213"/>
                  </a:lnTo>
                  <a:lnTo>
                    <a:pt x="1163" y="176"/>
                  </a:lnTo>
                  <a:lnTo>
                    <a:pt x="1209" y="229"/>
                  </a:lnTo>
                  <a:lnTo>
                    <a:pt x="1259" y="227"/>
                  </a:lnTo>
                  <a:lnTo>
                    <a:pt x="1290" y="251"/>
                  </a:lnTo>
                  <a:lnTo>
                    <a:pt x="1424" y="245"/>
                  </a:lnTo>
                  <a:lnTo>
                    <a:pt x="1420" y="229"/>
                  </a:lnTo>
                  <a:lnTo>
                    <a:pt x="1457" y="259"/>
                  </a:lnTo>
                  <a:lnTo>
                    <a:pt x="1462" y="234"/>
                  </a:lnTo>
                  <a:lnTo>
                    <a:pt x="1433" y="242"/>
                  </a:lnTo>
                  <a:lnTo>
                    <a:pt x="1411" y="212"/>
                  </a:lnTo>
                  <a:lnTo>
                    <a:pt x="1461" y="208"/>
                  </a:lnTo>
                  <a:lnTo>
                    <a:pt x="1480" y="231"/>
                  </a:lnTo>
                  <a:lnTo>
                    <a:pt x="1499" y="224"/>
                  </a:lnTo>
                  <a:lnTo>
                    <a:pt x="1491" y="260"/>
                  </a:lnTo>
                  <a:lnTo>
                    <a:pt x="1527" y="279"/>
                  </a:lnTo>
                  <a:lnTo>
                    <a:pt x="1517" y="229"/>
                  </a:lnTo>
                  <a:lnTo>
                    <a:pt x="1584" y="200"/>
                  </a:lnTo>
                  <a:lnTo>
                    <a:pt x="1567" y="175"/>
                  </a:lnTo>
                  <a:lnTo>
                    <a:pt x="1547" y="193"/>
                  </a:lnTo>
                  <a:lnTo>
                    <a:pt x="1580" y="149"/>
                  </a:lnTo>
                  <a:lnTo>
                    <a:pt x="1484" y="117"/>
                  </a:lnTo>
                  <a:lnTo>
                    <a:pt x="1494" y="43"/>
                  </a:lnTo>
                  <a:lnTo>
                    <a:pt x="1517" y="44"/>
                  </a:lnTo>
                  <a:lnTo>
                    <a:pt x="1530" y="0"/>
                  </a:lnTo>
                  <a:lnTo>
                    <a:pt x="1602" y="43"/>
                  </a:lnTo>
                  <a:lnTo>
                    <a:pt x="1604" y="70"/>
                  </a:lnTo>
                  <a:lnTo>
                    <a:pt x="1653" y="109"/>
                  </a:lnTo>
                  <a:lnTo>
                    <a:pt x="1622" y="107"/>
                  </a:lnTo>
                  <a:lnTo>
                    <a:pt x="1635" y="121"/>
                  </a:lnTo>
                  <a:lnTo>
                    <a:pt x="1616" y="138"/>
                  </a:lnTo>
                  <a:lnTo>
                    <a:pt x="1675" y="149"/>
                  </a:lnTo>
                  <a:lnTo>
                    <a:pt x="1657" y="157"/>
                  </a:lnTo>
                  <a:lnTo>
                    <a:pt x="1692" y="220"/>
                  </a:lnTo>
                  <a:lnTo>
                    <a:pt x="1722" y="164"/>
                  </a:lnTo>
                  <a:lnTo>
                    <a:pt x="1765" y="186"/>
                  </a:lnTo>
                  <a:lnTo>
                    <a:pt x="1776" y="223"/>
                  </a:lnTo>
                  <a:lnTo>
                    <a:pt x="1755" y="234"/>
                  </a:lnTo>
                  <a:lnTo>
                    <a:pt x="1793" y="279"/>
                  </a:lnTo>
                  <a:lnTo>
                    <a:pt x="1817" y="268"/>
                  </a:lnTo>
                  <a:lnTo>
                    <a:pt x="1847" y="198"/>
                  </a:lnTo>
                  <a:lnTo>
                    <a:pt x="1881" y="191"/>
                  </a:lnTo>
                  <a:lnTo>
                    <a:pt x="1855" y="131"/>
                  </a:lnTo>
                  <a:lnTo>
                    <a:pt x="1950" y="136"/>
                  </a:lnTo>
                  <a:lnTo>
                    <a:pt x="1990" y="171"/>
                  </a:lnTo>
                  <a:lnTo>
                    <a:pt x="1975" y="189"/>
                  </a:lnTo>
                  <a:lnTo>
                    <a:pt x="1993" y="198"/>
                  </a:lnTo>
                  <a:lnTo>
                    <a:pt x="1951" y="209"/>
                  </a:lnTo>
                  <a:lnTo>
                    <a:pt x="1989" y="286"/>
                  </a:lnTo>
                  <a:lnTo>
                    <a:pt x="1927" y="328"/>
                  </a:lnTo>
                  <a:lnTo>
                    <a:pt x="1905" y="308"/>
                  </a:lnTo>
                  <a:lnTo>
                    <a:pt x="1914" y="336"/>
                  </a:lnTo>
                  <a:lnTo>
                    <a:pt x="1818" y="317"/>
                  </a:lnTo>
                  <a:lnTo>
                    <a:pt x="1837" y="343"/>
                  </a:lnTo>
                  <a:lnTo>
                    <a:pt x="1799" y="381"/>
                  </a:lnTo>
                  <a:lnTo>
                    <a:pt x="1701" y="351"/>
                  </a:lnTo>
                  <a:lnTo>
                    <a:pt x="1737" y="383"/>
                  </a:lnTo>
                  <a:lnTo>
                    <a:pt x="1807" y="389"/>
                  </a:lnTo>
                  <a:lnTo>
                    <a:pt x="1759" y="453"/>
                  </a:lnTo>
                  <a:lnTo>
                    <a:pt x="1707" y="449"/>
                  </a:lnTo>
                  <a:lnTo>
                    <a:pt x="1682" y="483"/>
                  </a:lnTo>
                  <a:lnTo>
                    <a:pt x="1590" y="454"/>
                  </a:lnTo>
                  <a:lnTo>
                    <a:pt x="1675" y="483"/>
                  </a:lnTo>
                  <a:lnTo>
                    <a:pt x="1685" y="509"/>
                  </a:lnTo>
                  <a:lnTo>
                    <a:pt x="1622" y="520"/>
                  </a:lnTo>
                  <a:lnTo>
                    <a:pt x="1635" y="527"/>
                  </a:lnTo>
                  <a:lnTo>
                    <a:pt x="1617" y="528"/>
                  </a:lnTo>
                  <a:lnTo>
                    <a:pt x="1617" y="554"/>
                  </a:lnTo>
                  <a:lnTo>
                    <a:pt x="1549" y="590"/>
                  </a:lnTo>
                  <a:lnTo>
                    <a:pt x="1535" y="707"/>
                  </a:lnTo>
                  <a:lnTo>
                    <a:pt x="1561" y="733"/>
                  </a:lnTo>
                  <a:lnTo>
                    <a:pt x="1597" y="718"/>
                  </a:lnTo>
                  <a:lnTo>
                    <a:pt x="1613" y="808"/>
                  </a:lnTo>
                  <a:lnTo>
                    <a:pt x="1667" y="790"/>
                  </a:lnTo>
                  <a:lnTo>
                    <a:pt x="1729" y="814"/>
                  </a:lnTo>
                  <a:lnTo>
                    <a:pt x="1857" y="879"/>
                  </a:lnTo>
                  <a:lnTo>
                    <a:pt x="1847" y="905"/>
                  </a:lnTo>
                  <a:lnTo>
                    <a:pt x="1861" y="886"/>
                  </a:lnTo>
                  <a:lnTo>
                    <a:pt x="1957" y="891"/>
                  </a:lnTo>
                  <a:lnTo>
                    <a:pt x="1957" y="989"/>
                  </a:lnTo>
                  <a:lnTo>
                    <a:pt x="1987" y="1022"/>
                  </a:lnTo>
                  <a:lnTo>
                    <a:pt x="1965" y="1029"/>
                  </a:lnTo>
                  <a:lnTo>
                    <a:pt x="2013" y="1047"/>
                  </a:lnTo>
                  <a:lnTo>
                    <a:pt x="2000" y="1077"/>
                  </a:lnTo>
                  <a:lnTo>
                    <a:pt x="2045" y="1076"/>
                  </a:lnTo>
                  <a:lnTo>
                    <a:pt x="2108" y="1024"/>
                  </a:lnTo>
                  <a:lnTo>
                    <a:pt x="2081" y="1011"/>
                  </a:lnTo>
                  <a:lnTo>
                    <a:pt x="2045" y="919"/>
                  </a:lnTo>
                  <a:lnTo>
                    <a:pt x="2164" y="838"/>
                  </a:lnTo>
                  <a:lnTo>
                    <a:pt x="2147" y="838"/>
                  </a:lnTo>
                  <a:lnTo>
                    <a:pt x="2120" y="742"/>
                  </a:lnTo>
                  <a:lnTo>
                    <a:pt x="2078" y="718"/>
                  </a:lnTo>
                  <a:lnTo>
                    <a:pt x="2134" y="678"/>
                  </a:lnTo>
                  <a:lnTo>
                    <a:pt x="2114" y="658"/>
                  </a:lnTo>
                  <a:lnTo>
                    <a:pt x="2123" y="623"/>
                  </a:lnTo>
                  <a:lnTo>
                    <a:pt x="2098" y="618"/>
                  </a:lnTo>
                  <a:lnTo>
                    <a:pt x="2123" y="582"/>
                  </a:lnTo>
                  <a:lnTo>
                    <a:pt x="2096" y="560"/>
                  </a:lnTo>
                  <a:lnTo>
                    <a:pt x="2111" y="530"/>
                  </a:lnTo>
                  <a:lnTo>
                    <a:pt x="2202" y="550"/>
                  </a:lnTo>
                  <a:lnTo>
                    <a:pt x="2241" y="534"/>
                  </a:lnTo>
                  <a:lnTo>
                    <a:pt x="2318" y="582"/>
                  </a:lnTo>
                  <a:lnTo>
                    <a:pt x="2318" y="603"/>
                  </a:lnTo>
                  <a:lnTo>
                    <a:pt x="2384" y="607"/>
                  </a:lnTo>
                  <a:lnTo>
                    <a:pt x="2390" y="655"/>
                  </a:lnTo>
                  <a:lnTo>
                    <a:pt x="2331" y="656"/>
                  </a:lnTo>
                  <a:lnTo>
                    <a:pt x="2382" y="665"/>
                  </a:lnTo>
                  <a:lnTo>
                    <a:pt x="2398" y="693"/>
                  </a:lnTo>
                  <a:lnTo>
                    <a:pt x="2344" y="735"/>
                  </a:lnTo>
                  <a:lnTo>
                    <a:pt x="2423" y="714"/>
                  </a:lnTo>
                  <a:lnTo>
                    <a:pt x="2427" y="750"/>
                  </a:lnTo>
                  <a:lnTo>
                    <a:pt x="2393" y="765"/>
                  </a:lnTo>
                  <a:lnTo>
                    <a:pt x="2441" y="728"/>
                  </a:lnTo>
                  <a:lnTo>
                    <a:pt x="2446" y="751"/>
                  </a:lnTo>
                  <a:lnTo>
                    <a:pt x="2492" y="715"/>
                  </a:lnTo>
                  <a:lnTo>
                    <a:pt x="2500" y="735"/>
                  </a:lnTo>
                  <a:lnTo>
                    <a:pt x="2531" y="684"/>
                  </a:lnTo>
                  <a:lnTo>
                    <a:pt x="2520" y="674"/>
                  </a:lnTo>
                  <a:lnTo>
                    <a:pt x="2556" y="645"/>
                  </a:lnTo>
                  <a:lnTo>
                    <a:pt x="2596" y="699"/>
                  </a:lnTo>
                  <a:lnTo>
                    <a:pt x="2562" y="711"/>
                  </a:lnTo>
                  <a:lnTo>
                    <a:pt x="2599" y="704"/>
                  </a:lnTo>
                  <a:lnTo>
                    <a:pt x="2612" y="726"/>
                  </a:lnTo>
                  <a:lnTo>
                    <a:pt x="2588" y="733"/>
                  </a:lnTo>
                  <a:lnTo>
                    <a:pt x="2621" y="737"/>
                  </a:lnTo>
                  <a:lnTo>
                    <a:pt x="2599" y="754"/>
                  </a:lnTo>
                  <a:lnTo>
                    <a:pt x="2622" y="750"/>
                  </a:lnTo>
                  <a:lnTo>
                    <a:pt x="2640" y="773"/>
                  </a:lnTo>
                  <a:lnTo>
                    <a:pt x="2628" y="784"/>
                  </a:lnTo>
                  <a:lnTo>
                    <a:pt x="2661" y="803"/>
                  </a:lnTo>
                  <a:lnTo>
                    <a:pt x="2608" y="823"/>
                  </a:lnTo>
                  <a:lnTo>
                    <a:pt x="2647" y="823"/>
                  </a:lnTo>
                  <a:lnTo>
                    <a:pt x="2639" y="842"/>
                  </a:lnTo>
                  <a:lnTo>
                    <a:pt x="2695" y="860"/>
                  </a:lnTo>
                  <a:lnTo>
                    <a:pt x="2716" y="904"/>
                  </a:lnTo>
                  <a:lnTo>
                    <a:pt x="2736" y="887"/>
                  </a:lnTo>
                  <a:lnTo>
                    <a:pt x="2792" y="918"/>
                  </a:lnTo>
                  <a:lnTo>
                    <a:pt x="2670" y="956"/>
                  </a:lnTo>
                  <a:lnTo>
                    <a:pt x="2695" y="977"/>
                  </a:lnTo>
                  <a:lnTo>
                    <a:pt x="2798" y="934"/>
                  </a:lnTo>
                  <a:lnTo>
                    <a:pt x="2798" y="970"/>
                  </a:lnTo>
                  <a:lnTo>
                    <a:pt x="2845" y="963"/>
                  </a:lnTo>
                  <a:lnTo>
                    <a:pt x="2850" y="981"/>
                  </a:lnTo>
                  <a:lnTo>
                    <a:pt x="2828" y="981"/>
                  </a:lnTo>
                  <a:lnTo>
                    <a:pt x="2850" y="1025"/>
                  </a:lnTo>
                  <a:lnTo>
                    <a:pt x="2706" y="1110"/>
                  </a:lnTo>
                  <a:lnTo>
                    <a:pt x="2497" y="1110"/>
                  </a:lnTo>
                  <a:lnTo>
                    <a:pt x="2409" y="1169"/>
                  </a:lnTo>
                  <a:lnTo>
                    <a:pt x="2338" y="1256"/>
                  </a:lnTo>
                  <a:lnTo>
                    <a:pt x="2409" y="1190"/>
                  </a:lnTo>
                  <a:lnTo>
                    <a:pt x="2522" y="1151"/>
                  </a:lnTo>
                  <a:lnTo>
                    <a:pt x="2562" y="1182"/>
                  </a:lnTo>
                  <a:lnTo>
                    <a:pt x="2489" y="1205"/>
                  </a:lnTo>
                  <a:lnTo>
                    <a:pt x="2546" y="1217"/>
                  </a:lnTo>
                  <a:lnTo>
                    <a:pt x="2531" y="1244"/>
                  </a:lnTo>
                  <a:lnTo>
                    <a:pt x="2575" y="1292"/>
                  </a:lnTo>
                  <a:lnTo>
                    <a:pt x="2663" y="1310"/>
                  </a:lnTo>
                  <a:lnTo>
                    <a:pt x="2687" y="1249"/>
                  </a:lnTo>
                  <a:lnTo>
                    <a:pt x="2687" y="1286"/>
                  </a:lnTo>
                  <a:lnTo>
                    <a:pt x="2710" y="1282"/>
                  </a:lnTo>
                  <a:lnTo>
                    <a:pt x="2669" y="1321"/>
                  </a:lnTo>
                  <a:lnTo>
                    <a:pt x="2566" y="1347"/>
                  </a:lnTo>
                  <a:lnTo>
                    <a:pt x="2529" y="1392"/>
                  </a:lnTo>
                  <a:lnTo>
                    <a:pt x="2500" y="1352"/>
                  </a:lnTo>
                  <a:lnTo>
                    <a:pt x="2597" y="1317"/>
                  </a:lnTo>
                  <a:lnTo>
                    <a:pt x="2546" y="1318"/>
                  </a:lnTo>
                  <a:lnTo>
                    <a:pt x="2556" y="1292"/>
                  </a:lnTo>
                  <a:lnTo>
                    <a:pt x="2471" y="1322"/>
                  </a:lnTo>
                  <a:lnTo>
                    <a:pt x="2446" y="1303"/>
                  </a:lnTo>
                  <a:lnTo>
                    <a:pt x="2446" y="1249"/>
                  </a:lnTo>
                  <a:lnTo>
                    <a:pt x="2391" y="1231"/>
                  </a:lnTo>
                  <a:lnTo>
                    <a:pt x="2350" y="1319"/>
                  </a:lnTo>
                  <a:lnTo>
                    <a:pt x="2180" y="1352"/>
                  </a:lnTo>
                  <a:lnTo>
                    <a:pt x="2063" y="1385"/>
                  </a:lnTo>
                  <a:lnTo>
                    <a:pt x="2044" y="1402"/>
                  </a:lnTo>
                  <a:lnTo>
                    <a:pt x="2070" y="1406"/>
                  </a:lnTo>
                  <a:lnTo>
                    <a:pt x="2076" y="1418"/>
                  </a:lnTo>
                  <a:lnTo>
                    <a:pt x="1934" y="1454"/>
                  </a:lnTo>
                  <a:lnTo>
                    <a:pt x="1942" y="1438"/>
                  </a:lnTo>
                  <a:lnTo>
                    <a:pt x="1951" y="1427"/>
                  </a:lnTo>
                  <a:lnTo>
                    <a:pt x="1956" y="1410"/>
                  </a:lnTo>
                  <a:lnTo>
                    <a:pt x="1978" y="1398"/>
                  </a:lnTo>
                  <a:lnTo>
                    <a:pt x="1982" y="1321"/>
                  </a:lnTo>
                  <a:lnTo>
                    <a:pt x="2006" y="1347"/>
                  </a:lnTo>
                  <a:lnTo>
                    <a:pt x="2048" y="1337"/>
                  </a:lnTo>
                  <a:lnTo>
                    <a:pt x="2012" y="1292"/>
                  </a:lnTo>
                  <a:lnTo>
                    <a:pt x="1890" y="1270"/>
                  </a:lnTo>
                  <a:lnTo>
                    <a:pt x="1884" y="1270"/>
                  </a:lnTo>
                  <a:lnTo>
                    <a:pt x="1872" y="1208"/>
                  </a:lnTo>
                  <a:lnTo>
                    <a:pt x="1847" y="1212"/>
                  </a:lnTo>
                  <a:lnTo>
                    <a:pt x="1825" y="1176"/>
                  </a:lnTo>
                  <a:lnTo>
                    <a:pt x="1799" y="1173"/>
                  </a:lnTo>
                  <a:lnTo>
                    <a:pt x="1799" y="1195"/>
                  </a:lnTo>
                  <a:lnTo>
                    <a:pt x="1767" y="1164"/>
                  </a:lnTo>
                  <a:lnTo>
                    <a:pt x="1710" y="1208"/>
                  </a:lnTo>
                  <a:lnTo>
                    <a:pt x="1552" y="1176"/>
                  </a:lnTo>
                  <a:lnTo>
                    <a:pt x="1531" y="1146"/>
                  </a:lnTo>
                  <a:lnTo>
                    <a:pt x="1530" y="1165"/>
                  </a:lnTo>
                  <a:lnTo>
                    <a:pt x="610" y="1165"/>
                  </a:lnTo>
                  <a:lnTo>
                    <a:pt x="596" y="1132"/>
                  </a:lnTo>
                  <a:lnTo>
                    <a:pt x="547" y="1123"/>
                  </a:lnTo>
                  <a:lnTo>
                    <a:pt x="550" y="1101"/>
                  </a:lnTo>
                  <a:lnTo>
                    <a:pt x="447" y="1072"/>
                  </a:lnTo>
                  <a:lnTo>
                    <a:pt x="459" y="1057"/>
                  </a:lnTo>
                  <a:lnTo>
                    <a:pt x="436" y="1015"/>
                  </a:lnTo>
                  <a:lnTo>
                    <a:pt x="409" y="1011"/>
                  </a:lnTo>
                  <a:lnTo>
                    <a:pt x="353" y="925"/>
                  </a:lnTo>
                  <a:lnTo>
                    <a:pt x="363" y="897"/>
                  </a:lnTo>
                  <a:lnTo>
                    <a:pt x="365" y="849"/>
                  </a:lnTo>
                  <a:lnTo>
                    <a:pt x="302" y="823"/>
                  </a:lnTo>
                  <a:lnTo>
                    <a:pt x="184" y="669"/>
                  </a:lnTo>
                  <a:lnTo>
                    <a:pt x="117" y="713"/>
                  </a:lnTo>
                  <a:lnTo>
                    <a:pt x="99" y="692"/>
                  </a:lnTo>
                  <a:lnTo>
                    <a:pt x="95" y="688"/>
                  </a:lnTo>
                  <a:lnTo>
                    <a:pt x="62" y="645"/>
                  </a:lnTo>
                  <a:lnTo>
                    <a:pt x="0" y="64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2" name="30428289.5132.755.3759.3755">
              <a:extLst>
                <a:ext uri="{FF2B5EF4-FFF2-40B4-BE49-F238E27FC236}">
                  <a16:creationId xmlns:a16="http://schemas.microsoft.com/office/drawing/2014/main" id="{1D8B0A05-B6DA-43F2-AE2C-2400BBC59CC4}"/>
                </a:ext>
              </a:extLst>
            </p:cNvPr>
            <p:cNvSpPr>
              <a:spLocks noChangeAspect="1"/>
            </p:cNvSpPr>
            <p:nvPr/>
          </p:nvSpPr>
          <p:spPr bwMode="gray">
            <a:xfrm>
              <a:off x="1801119" y="2988773"/>
              <a:ext cx="152160" cy="85783"/>
            </a:xfrm>
            <a:custGeom>
              <a:avLst/>
              <a:gdLst/>
              <a:ahLst/>
              <a:cxnLst>
                <a:cxn ang="0">
                  <a:pos x="0" y="0"/>
                </a:cxn>
                <a:cxn ang="0">
                  <a:pos x="90" y="19"/>
                </a:cxn>
                <a:cxn ang="0">
                  <a:pos x="167" y="96"/>
                </a:cxn>
                <a:cxn ang="0">
                  <a:pos x="122" y="81"/>
                </a:cxn>
                <a:cxn ang="0">
                  <a:pos x="0" y="0"/>
                </a:cxn>
              </a:cxnLst>
              <a:rect l="0" t="0" r="r" b="b"/>
              <a:pathLst>
                <a:path w="167" h="96">
                  <a:moveTo>
                    <a:pt x="0" y="0"/>
                  </a:moveTo>
                  <a:lnTo>
                    <a:pt x="90" y="19"/>
                  </a:lnTo>
                  <a:lnTo>
                    <a:pt x="167" y="96"/>
                  </a:lnTo>
                  <a:lnTo>
                    <a:pt x="122" y="81"/>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3" name="30429218.75137.2512.2519.6255">
              <a:extLst>
                <a:ext uri="{FF2B5EF4-FFF2-40B4-BE49-F238E27FC236}">
                  <a16:creationId xmlns:a16="http://schemas.microsoft.com/office/drawing/2014/main" id="{2E948EC0-976F-4649-993E-BA36E82D8114}"/>
                </a:ext>
              </a:extLst>
            </p:cNvPr>
            <p:cNvSpPr>
              <a:spLocks noChangeAspect="1"/>
            </p:cNvSpPr>
            <p:nvPr/>
          </p:nvSpPr>
          <p:spPr bwMode="gray">
            <a:xfrm>
              <a:off x="1873391" y="1841655"/>
              <a:ext cx="313830" cy="198475"/>
            </a:xfrm>
            <a:custGeom>
              <a:avLst/>
              <a:gdLst/>
              <a:ahLst/>
              <a:cxnLst>
                <a:cxn ang="0">
                  <a:pos x="0" y="164"/>
                </a:cxn>
                <a:cxn ang="0">
                  <a:pos x="15" y="136"/>
                </a:cxn>
                <a:cxn ang="0">
                  <a:pos x="65" y="46"/>
                </a:cxn>
                <a:cxn ang="0">
                  <a:pos x="42" y="8"/>
                </a:cxn>
                <a:cxn ang="0">
                  <a:pos x="150" y="0"/>
                </a:cxn>
                <a:cxn ang="0">
                  <a:pos x="224" y="36"/>
                </a:cxn>
                <a:cxn ang="0">
                  <a:pos x="274" y="15"/>
                </a:cxn>
                <a:cxn ang="0">
                  <a:pos x="349" y="66"/>
                </a:cxn>
                <a:cxn ang="0">
                  <a:pos x="189" y="146"/>
                </a:cxn>
                <a:cxn ang="0">
                  <a:pos x="175" y="194"/>
                </a:cxn>
                <a:cxn ang="0">
                  <a:pos x="96" y="217"/>
                </a:cxn>
                <a:cxn ang="0">
                  <a:pos x="61" y="179"/>
                </a:cxn>
                <a:cxn ang="0">
                  <a:pos x="0" y="164"/>
                </a:cxn>
              </a:cxnLst>
              <a:rect l="0" t="0" r="r" b="b"/>
              <a:pathLst>
                <a:path w="349" h="217">
                  <a:moveTo>
                    <a:pt x="0" y="164"/>
                  </a:moveTo>
                  <a:lnTo>
                    <a:pt x="15" y="136"/>
                  </a:lnTo>
                  <a:lnTo>
                    <a:pt x="65" y="46"/>
                  </a:lnTo>
                  <a:lnTo>
                    <a:pt x="42" y="8"/>
                  </a:lnTo>
                  <a:lnTo>
                    <a:pt x="150" y="0"/>
                  </a:lnTo>
                  <a:lnTo>
                    <a:pt x="224" y="36"/>
                  </a:lnTo>
                  <a:lnTo>
                    <a:pt x="274" y="15"/>
                  </a:lnTo>
                  <a:lnTo>
                    <a:pt x="349" y="66"/>
                  </a:lnTo>
                  <a:lnTo>
                    <a:pt x="189" y="146"/>
                  </a:lnTo>
                  <a:lnTo>
                    <a:pt x="175" y="194"/>
                  </a:lnTo>
                  <a:lnTo>
                    <a:pt x="96" y="217"/>
                  </a:lnTo>
                  <a:lnTo>
                    <a:pt x="61" y="179"/>
                  </a:lnTo>
                  <a:lnTo>
                    <a:pt x="0" y="16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4" name="30430207.25142.8756.87513.755">
              <a:extLst>
                <a:ext uri="{FF2B5EF4-FFF2-40B4-BE49-F238E27FC236}">
                  <a16:creationId xmlns:a16="http://schemas.microsoft.com/office/drawing/2014/main" id="{8038D3F4-138B-44BE-AC1A-08055467E4AD}"/>
                </a:ext>
              </a:extLst>
            </p:cNvPr>
            <p:cNvSpPr>
              <a:spLocks noChangeAspect="1"/>
            </p:cNvSpPr>
            <p:nvPr/>
          </p:nvSpPr>
          <p:spPr bwMode="gray">
            <a:xfrm>
              <a:off x="1964689" y="1656636"/>
              <a:ext cx="218731" cy="109330"/>
            </a:xfrm>
            <a:custGeom>
              <a:avLst/>
              <a:gdLst/>
              <a:ahLst/>
              <a:cxnLst>
                <a:cxn ang="0">
                  <a:pos x="0" y="93"/>
                </a:cxn>
                <a:cxn ang="0">
                  <a:pos x="56" y="111"/>
                </a:cxn>
                <a:cxn ang="0">
                  <a:pos x="70" y="92"/>
                </a:cxn>
                <a:cxn ang="0">
                  <a:pos x="82" y="122"/>
                </a:cxn>
                <a:cxn ang="0">
                  <a:pos x="108" y="110"/>
                </a:cxn>
                <a:cxn ang="0">
                  <a:pos x="104" y="81"/>
                </a:cxn>
                <a:cxn ang="0">
                  <a:pos x="130" y="97"/>
                </a:cxn>
                <a:cxn ang="0">
                  <a:pos x="145" y="53"/>
                </a:cxn>
                <a:cxn ang="0">
                  <a:pos x="167" y="50"/>
                </a:cxn>
                <a:cxn ang="0">
                  <a:pos x="176" y="90"/>
                </a:cxn>
                <a:cxn ang="0">
                  <a:pos x="228" y="60"/>
                </a:cxn>
                <a:cxn ang="0">
                  <a:pos x="211" y="26"/>
                </a:cxn>
                <a:cxn ang="0">
                  <a:pos x="244" y="17"/>
                </a:cxn>
                <a:cxn ang="0">
                  <a:pos x="210" y="0"/>
                </a:cxn>
                <a:cxn ang="0">
                  <a:pos x="121" y="17"/>
                </a:cxn>
                <a:cxn ang="0">
                  <a:pos x="0" y="93"/>
                </a:cxn>
              </a:cxnLst>
              <a:rect l="0" t="0" r="r" b="b"/>
              <a:pathLst>
                <a:path w="244" h="122">
                  <a:moveTo>
                    <a:pt x="0" y="93"/>
                  </a:moveTo>
                  <a:lnTo>
                    <a:pt x="56" y="111"/>
                  </a:lnTo>
                  <a:lnTo>
                    <a:pt x="70" y="92"/>
                  </a:lnTo>
                  <a:lnTo>
                    <a:pt x="82" y="122"/>
                  </a:lnTo>
                  <a:lnTo>
                    <a:pt x="108" y="110"/>
                  </a:lnTo>
                  <a:lnTo>
                    <a:pt x="104" y="81"/>
                  </a:lnTo>
                  <a:lnTo>
                    <a:pt x="130" y="97"/>
                  </a:lnTo>
                  <a:lnTo>
                    <a:pt x="145" y="53"/>
                  </a:lnTo>
                  <a:lnTo>
                    <a:pt x="167" y="50"/>
                  </a:lnTo>
                  <a:lnTo>
                    <a:pt x="176" y="90"/>
                  </a:lnTo>
                  <a:lnTo>
                    <a:pt x="228" y="60"/>
                  </a:lnTo>
                  <a:lnTo>
                    <a:pt x="211" y="26"/>
                  </a:lnTo>
                  <a:lnTo>
                    <a:pt x="244" y="17"/>
                  </a:lnTo>
                  <a:lnTo>
                    <a:pt x="210" y="0"/>
                  </a:lnTo>
                  <a:lnTo>
                    <a:pt x="121" y="17"/>
                  </a:lnTo>
                  <a:lnTo>
                    <a:pt x="0" y="93"/>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5" name="30431223.125150.12516.625345">
              <a:extLst>
                <a:ext uri="{FF2B5EF4-FFF2-40B4-BE49-F238E27FC236}">
                  <a16:creationId xmlns:a16="http://schemas.microsoft.com/office/drawing/2014/main" id="{46B72934-AABB-4186-A8F5-A027970E9AF4}"/>
                </a:ext>
              </a:extLst>
            </p:cNvPr>
            <p:cNvSpPr>
              <a:spLocks noChangeAspect="1"/>
            </p:cNvSpPr>
            <p:nvPr/>
          </p:nvSpPr>
          <p:spPr bwMode="gray">
            <a:xfrm>
              <a:off x="2078810" y="1912297"/>
              <a:ext cx="543976" cy="270801"/>
            </a:xfrm>
            <a:custGeom>
              <a:avLst/>
              <a:gdLst/>
              <a:ahLst/>
              <a:cxnLst>
                <a:cxn ang="0">
                  <a:pos x="0" y="95"/>
                </a:cxn>
                <a:cxn ang="0">
                  <a:pos x="30" y="72"/>
                </a:cxn>
                <a:cxn ang="0">
                  <a:pos x="15" y="59"/>
                </a:cxn>
                <a:cxn ang="0">
                  <a:pos x="87" y="17"/>
                </a:cxn>
                <a:cxn ang="0">
                  <a:pos x="146" y="0"/>
                </a:cxn>
                <a:cxn ang="0">
                  <a:pos x="165" y="30"/>
                </a:cxn>
                <a:cxn ang="0">
                  <a:pos x="144" y="48"/>
                </a:cxn>
                <a:cxn ang="0">
                  <a:pos x="198" y="24"/>
                </a:cxn>
                <a:cxn ang="0">
                  <a:pos x="257" y="44"/>
                </a:cxn>
                <a:cxn ang="0">
                  <a:pos x="235" y="66"/>
                </a:cxn>
                <a:cxn ang="0">
                  <a:pos x="304" y="51"/>
                </a:cxn>
                <a:cxn ang="0">
                  <a:pos x="285" y="26"/>
                </a:cxn>
                <a:cxn ang="0">
                  <a:pos x="312" y="29"/>
                </a:cxn>
                <a:cxn ang="0">
                  <a:pos x="366" y="109"/>
                </a:cxn>
                <a:cxn ang="0">
                  <a:pos x="385" y="90"/>
                </a:cxn>
                <a:cxn ang="0">
                  <a:pos x="363" y="3"/>
                </a:cxn>
                <a:cxn ang="0">
                  <a:pos x="407" y="4"/>
                </a:cxn>
                <a:cxn ang="0">
                  <a:pos x="455" y="35"/>
                </a:cxn>
                <a:cxn ang="0">
                  <a:pos x="483" y="143"/>
                </a:cxn>
                <a:cxn ang="0">
                  <a:pos x="602" y="195"/>
                </a:cxn>
                <a:cxn ang="0">
                  <a:pos x="601" y="224"/>
                </a:cxn>
                <a:cxn ang="0">
                  <a:pos x="568" y="212"/>
                </a:cxn>
                <a:cxn ang="0">
                  <a:pos x="532" y="231"/>
                </a:cxn>
                <a:cxn ang="0">
                  <a:pos x="583" y="255"/>
                </a:cxn>
                <a:cxn ang="0">
                  <a:pos x="536" y="279"/>
                </a:cxn>
                <a:cxn ang="0">
                  <a:pos x="459" y="267"/>
                </a:cxn>
                <a:cxn ang="0">
                  <a:pos x="414" y="237"/>
                </a:cxn>
                <a:cxn ang="0">
                  <a:pos x="315" y="286"/>
                </a:cxn>
                <a:cxn ang="0">
                  <a:pos x="191" y="296"/>
                </a:cxn>
                <a:cxn ang="0">
                  <a:pos x="166" y="249"/>
                </a:cxn>
                <a:cxn ang="0">
                  <a:pos x="98" y="246"/>
                </a:cxn>
                <a:cxn ang="0">
                  <a:pos x="54" y="206"/>
                </a:cxn>
                <a:cxn ang="0">
                  <a:pos x="228" y="182"/>
                </a:cxn>
                <a:cxn ang="0">
                  <a:pos x="47" y="169"/>
                </a:cxn>
                <a:cxn ang="0">
                  <a:pos x="24" y="145"/>
                </a:cxn>
                <a:cxn ang="0">
                  <a:pos x="117" y="117"/>
                </a:cxn>
                <a:cxn ang="0">
                  <a:pos x="30" y="121"/>
                </a:cxn>
                <a:cxn ang="0">
                  <a:pos x="37" y="109"/>
                </a:cxn>
                <a:cxn ang="0">
                  <a:pos x="0" y="95"/>
                </a:cxn>
              </a:cxnLst>
              <a:rect l="0" t="0" r="r" b="b"/>
              <a:pathLst>
                <a:path w="602" h="296">
                  <a:moveTo>
                    <a:pt x="0" y="95"/>
                  </a:moveTo>
                  <a:lnTo>
                    <a:pt x="30" y="72"/>
                  </a:lnTo>
                  <a:lnTo>
                    <a:pt x="15" y="59"/>
                  </a:lnTo>
                  <a:lnTo>
                    <a:pt x="87" y="17"/>
                  </a:lnTo>
                  <a:lnTo>
                    <a:pt x="146" y="0"/>
                  </a:lnTo>
                  <a:lnTo>
                    <a:pt x="165" y="30"/>
                  </a:lnTo>
                  <a:lnTo>
                    <a:pt x="144" y="48"/>
                  </a:lnTo>
                  <a:lnTo>
                    <a:pt x="198" y="24"/>
                  </a:lnTo>
                  <a:lnTo>
                    <a:pt x="257" y="44"/>
                  </a:lnTo>
                  <a:lnTo>
                    <a:pt x="235" y="66"/>
                  </a:lnTo>
                  <a:lnTo>
                    <a:pt x="304" y="51"/>
                  </a:lnTo>
                  <a:lnTo>
                    <a:pt x="285" y="26"/>
                  </a:lnTo>
                  <a:lnTo>
                    <a:pt x="312" y="29"/>
                  </a:lnTo>
                  <a:lnTo>
                    <a:pt x="366" y="109"/>
                  </a:lnTo>
                  <a:lnTo>
                    <a:pt x="385" y="90"/>
                  </a:lnTo>
                  <a:lnTo>
                    <a:pt x="363" y="3"/>
                  </a:lnTo>
                  <a:lnTo>
                    <a:pt x="407" y="4"/>
                  </a:lnTo>
                  <a:lnTo>
                    <a:pt x="455" y="35"/>
                  </a:lnTo>
                  <a:lnTo>
                    <a:pt x="483" y="143"/>
                  </a:lnTo>
                  <a:lnTo>
                    <a:pt x="602" y="195"/>
                  </a:lnTo>
                  <a:lnTo>
                    <a:pt x="601" y="224"/>
                  </a:lnTo>
                  <a:lnTo>
                    <a:pt x="568" y="212"/>
                  </a:lnTo>
                  <a:lnTo>
                    <a:pt x="532" y="231"/>
                  </a:lnTo>
                  <a:lnTo>
                    <a:pt x="583" y="255"/>
                  </a:lnTo>
                  <a:lnTo>
                    <a:pt x="536" y="279"/>
                  </a:lnTo>
                  <a:lnTo>
                    <a:pt x="459" y="267"/>
                  </a:lnTo>
                  <a:lnTo>
                    <a:pt x="414" y="237"/>
                  </a:lnTo>
                  <a:lnTo>
                    <a:pt x="315" y="286"/>
                  </a:lnTo>
                  <a:lnTo>
                    <a:pt x="191" y="296"/>
                  </a:lnTo>
                  <a:lnTo>
                    <a:pt x="166" y="249"/>
                  </a:lnTo>
                  <a:lnTo>
                    <a:pt x="98" y="246"/>
                  </a:lnTo>
                  <a:lnTo>
                    <a:pt x="54" y="206"/>
                  </a:lnTo>
                  <a:lnTo>
                    <a:pt x="228" y="182"/>
                  </a:lnTo>
                  <a:lnTo>
                    <a:pt x="47" y="169"/>
                  </a:lnTo>
                  <a:lnTo>
                    <a:pt x="24" y="145"/>
                  </a:lnTo>
                  <a:lnTo>
                    <a:pt x="117" y="117"/>
                  </a:lnTo>
                  <a:lnTo>
                    <a:pt x="30" y="121"/>
                  </a:lnTo>
                  <a:lnTo>
                    <a:pt x="37" y="109"/>
                  </a:lnTo>
                  <a:lnTo>
                    <a:pt x="0" y="9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6" name="30432209.875152.6259.125235">
              <a:extLst>
                <a:ext uri="{FF2B5EF4-FFF2-40B4-BE49-F238E27FC236}">
                  <a16:creationId xmlns:a16="http://schemas.microsoft.com/office/drawing/2014/main" id="{183933F4-D842-48C7-9CD3-2275FE0E51DD}"/>
                </a:ext>
              </a:extLst>
            </p:cNvPr>
            <p:cNvSpPr>
              <a:spLocks noChangeAspect="1"/>
            </p:cNvSpPr>
            <p:nvPr/>
          </p:nvSpPr>
          <p:spPr bwMode="gray">
            <a:xfrm>
              <a:off x="2120654" y="1698685"/>
              <a:ext cx="367089" cy="148015"/>
            </a:xfrm>
            <a:custGeom>
              <a:avLst/>
              <a:gdLst/>
              <a:ahLst/>
              <a:cxnLst>
                <a:cxn ang="0">
                  <a:pos x="0" y="108"/>
                </a:cxn>
                <a:cxn ang="0">
                  <a:pos x="15" y="95"/>
                </a:cxn>
                <a:cxn ang="0">
                  <a:pos x="85" y="80"/>
                </a:cxn>
                <a:cxn ang="0">
                  <a:pos x="15" y="83"/>
                </a:cxn>
                <a:cxn ang="0">
                  <a:pos x="96" y="66"/>
                </a:cxn>
                <a:cxn ang="0">
                  <a:pos x="30" y="66"/>
                </a:cxn>
                <a:cxn ang="0">
                  <a:pos x="36" y="48"/>
                </a:cxn>
                <a:cxn ang="0">
                  <a:pos x="99" y="47"/>
                </a:cxn>
                <a:cxn ang="0">
                  <a:pos x="55" y="43"/>
                </a:cxn>
                <a:cxn ang="0">
                  <a:pos x="89" y="26"/>
                </a:cxn>
                <a:cxn ang="0">
                  <a:pos x="172" y="47"/>
                </a:cxn>
                <a:cxn ang="0">
                  <a:pos x="213" y="88"/>
                </a:cxn>
                <a:cxn ang="0">
                  <a:pos x="290" y="91"/>
                </a:cxn>
                <a:cxn ang="0">
                  <a:pos x="260" y="66"/>
                </a:cxn>
                <a:cxn ang="0">
                  <a:pos x="278" y="50"/>
                </a:cxn>
                <a:cxn ang="0">
                  <a:pos x="243" y="31"/>
                </a:cxn>
                <a:cxn ang="0">
                  <a:pos x="297" y="0"/>
                </a:cxn>
                <a:cxn ang="0">
                  <a:pos x="320" y="36"/>
                </a:cxn>
                <a:cxn ang="0">
                  <a:pos x="304" y="53"/>
                </a:cxn>
                <a:cxn ang="0">
                  <a:pos x="334" y="58"/>
                </a:cxn>
                <a:cxn ang="0">
                  <a:pos x="323" y="76"/>
                </a:cxn>
                <a:cxn ang="0">
                  <a:pos x="362" y="81"/>
                </a:cxn>
                <a:cxn ang="0">
                  <a:pos x="382" y="57"/>
                </a:cxn>
                <a:cxn ang="0">
                  <a:pos x="408" y="86"/>
                </a:cxn>
                <a:cxn ang="0">
                  <a:pos x="388" y="123"/>
                </a:cxn>
                <a:cxn ang="0">
                  <a:pos x="300" y="120"/>
                </a:cxn>
                <a:cxn ang="0">
                  <a:pos x="165" y="164"/>
                </a:cxn>
                <a:cxn ang="0">
                  <a:pos x="110" y="141"/>
                </a:cxn>
                <a:cxn ang="0">
                  <a:pos x="224" y="105"/>
                </a:cxn>
                <a:cxn ang="0">
                  <a:pos x="127" y="127"/>
                </a:cxn>
                <a:cxn ang="0">
                  <a:pos x="143" y="97"/>
                </a:cxn>
                <a:cxn ang="0">
                  <a:pos x="94" y="128"/>
                </a:cxn>
                <a:cxn ang="0">
                  <a:pos x="36" y="120"/>
                </a:cxn>
                <a:cxn ang="0">
                  <a:pos x="0" y="108"/>
                </a:cxn>
              </a:cxnLst>
              <a:rect l="0" t="0" r="r" b="b"/>
              <a:pathLst>
                <a:path w="408" h="164">
                  <a:moveTo>
                    <a:pt x="0" y="108"/>
                  </a:moveTo>
                  <a:lnTo>
                    <a:pt x="15" y="95"/>
                  </a:lnTo>
                  <a:lnTo>
                    <a:pt x="85" y="80"/>
                  </a:lnTo>
                  <a:lnTo>
                    <a:pt x="15" y="83"/>
                  </a:lnTo>
                  <a:lnTo>
                    <a:pt x="96" y="66"/>
                  </a:lnTo>
                  <a:lnTo>
                    <a:pt x="30" y="66"/>
                  </a:lnTo>
                  <a:lnTo>
                    <a:pt x="36" y="48"/>
                  </a:lnTo>
                  <a:lnTo>
                    <a:pt x="99" y="47"/>
                  </a:lnTo>
                  <a:lnTo>
                    <a:pt x="55" y="43"/>
                  </a:lnTo>
                  <a:lnTo>
                    <a:pt x="89" y="26"/>
                  </a:lnTo>
                  <a:lnTo>
                    <a:pt x="172" y="47"/>
                  </a:lnTo>
                  <a:lnTo>
                    <a:pt x="213" y="88"/>
                  </a:lnTo>
                  <a:lnTo>
                    <a:pt x="290" y="91"/>
                  </a:lnTo>
                  <a:lnTo>
                    <a:pt x="260" y="66"/>
                  </a:lnTo>
                  <a:lnTo>
                    <a:pt x="278" y="50"/>
                  </a:lnTo>
                  <a:lnTo>
                    <a:pt x="243" y="31"/>
                  </a:lnTo>
                  <a:lnTo>
                    <a:pt x="297" y="0"/>
                  </a:lnTo>
                  <a:lnTo>
                    <a:pt x="320" y="36"/>
                  </a:lnTo>
                  <a:lnTo>
                    <a:pt x="304" y="53"/>
                  </a:lnTo>
                  <a:lnTo>
                    <a:pt x="334" y="58"/>
                  </a:lnTo>
                  <a:lnTo>
                    <a:pt x="323" y="76"/>
                  </a:lnTo>
                  <a:lnTo>
                    <a:pt x="362" y="81"/>
                  </a:lnTo>
                  <a:lnTo>
                    <a:pt x="382" y="57"/>
                  </a:lnTo>
                  <a:lnTo>
                    <a:pt x="408" y="86"/>
                  </a:lnTo>
                  <a:lnTo>
                    <a:pt x="388" y="123"/>
                  </a:lnTo>
                  <a:lnTo>
                    <a:pt x="300" y="120"/>
                  </a:lnTo>
                  <a:lnTo>
                    <a:pt x="165" y="164"/>
                  </a:lnTo>
                  <a:lnTo>
                    <a:pt x="110" y="141"/>
                  </a:lnTo>
                  <a:lnTo>
                    <a:pt x="224" y="105"/>
                  </a:lnTo>
                  <a:lnTo>
                    <a:pt x="127" y="127"/>
                  </a:lnTo>
                  <a:lnTo>
                    <a:pt x="143" y="97"/>
                  </a:lnTo>
                  <a:lnTo>
                    <a:pt x="94" y="128"/>
                  </a:lnTo>
                  <a:lnTo>
                    <a:pt x="36" y="120"/>
                  </a:lnTo>
                  <a:lnTo>
                    <a:pt x="0" y="108"/>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7" name="30433200.25175.6255.7511.8755">
              <a:extLst>
                <a:ext uri="{FF2B5EF4-FFF2-40B4-BE49-F238E27FC236}">
                  <a16:creationId xmlns:a16="http://schemas.microsoft.com/office/drawing/2014/main" id="{CF3C58C6-8E77-47F2-8891-3D7053BC62ED}"/>
                </a:ext>
              </a:extLst>
            </p:cNvPr>
            <p:cNvSpPr>
              <a:spLocks noChangeAspect="1"/>
            </p:cNvSpPr>
            <p:nvPr/>
          </p:nvSpPr>
          <p:spPr bwMode="gray">
            <a:xfrm>
              <a:off x="2487743" y="1543941"/>
              <a:ext cx="192103" cy="92509"/>
            </a:xfrm>
            <a:custGeom>
              <a:avLst/>
              <a:gdLst/>
              <a:ahLst/>
              <a:cxnLst>
                <a:cxn ang="0">
                  <a:pos x="0" y="0"/>
                </a:cxn>
                <a:cxn ang="0">
                  <a:pos x="18" y="36"/>
                </a:cxn>
                <a:cxn ang="0">
                  <a:pos x="69" y="36"/>
                </a:cxn>
                <a:cxn ang="0">
                  <a:pos x="52" y="44"/>
                </a:cxn>
                <a:cxn ang="0">
                  <a:pos x="65" y="56"/>
                </a:cxn>
                <a:cxn ang="0">
                  <a:pos x="19" y="62"/>
                </a:cxn>
                <a:cxn ang="0">
                  <a:pos x="93" y="75"/>
                </a:cxn>
                <a:cxn ang="0">
                  <a:pos x="212" y="102"/>
                </a:cxn>
                <a:cxn ang="0">
                  <a:pos x="194" y="42"/>
                </a:cxn>
                <a:cxn ang="0">
                  <a:pos x="109" y="8"/>
                </a:cxn>
                <a:cxn ang="0">
                  <a:pos x="81" y="23"/>
                </a:cxn>
                <a:cxn ang="0">
                  <a:pos x="73" y="0"/>
                </a:cxn>
                <a:cxn ang="0">
                  <a:pos x="0" y="0"/>
                </a:cxn>
              </a:cxnLst>
              <a:rect l="0" t="0" r="r" b="b"/>
              <a:pathLst>
                <a:path w="212" h="102">
                  <a:moveTo>
                    <a:pt x="0" y="0"/>
                  </a:moveTo>
                  <a:lnTo>
                    <a:pt x="18" y="36"/>
                  </a:lnTo>
                  <a:lnTo>
                    <a:pt x="69" y="36"/>
                  </a:lnTo>
                  <a:lnTo>
                    <a:pt x="52" y="44"/>
                  </a:lnTo>
                  <a:lnTo>
                    <a:pt x="65" y="56"/>
                  </a:lnTo>
                  <a:lnTo>
                    <a:pt x="19" y="62"/>
                  </a:lnTo>
                  <a:lnTo>
                    <a:pt x="93" y="75"/>
                  </a:lnTo>
                  <a:lnTo>
                    <a:pt x="212" y="102"/>
                  </a:lnTo>
                  <a:lnTo>
                    <a:pt x="194" y="42"/>
                  </a:lnTo>
                  <a:lnTo>
                    <a:pt x="109" y="8"/>
                  </a:lnTo>
                  <a:lnTo>
                    <a:pt x="81" y="23"/>
                  </a:lnTo>
                  <a:lnTo>
                    <a:pt x="73" y="0"/>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8" name="30434211.125181.255.8759.55">
              <a:extLst>
                <a:ext uri="{FF2B5EF4-FFF2-40B4-BE49-F238E27FC236}">
                  <a16:creationId xmlns:a16="http://schemas.microsoft.com/office/drawing/2014/main" id="{DFD9A7D7-0147-4CF2-8174-02830681271E}"/>
                </a:ext>
              </a:extLst>
            </p:cNvPr>
            <p:cNvSpPr>
              <a:spLocks noChangeAspect="1"/>
            </p:cNvSpPr>
            <p:nvPr/>
          </p:nvSpPr>
          <p:spPr bwMode="gray">
            <a:xfrm>
              <a:off x="2579037" y="1718868"/>
              <a:ext cx="152160" cy="95874"/>
            </a:xfrm>
            <a:custGeom>
              <a:avLst/>
              <a:gdLst/>
              <a:ahLst/>
              <a:cxnLst>
                <a:cxn ang="0">
                  <a:pos x="0" y="67"/>
                </a:cxn>
                <a:cxn ang="0">
                  <a:pos x="18" y="42"/>
                </a:cxn>
                <a:cxn ang="0">
                  <a:pos x="51" y="46"/>
                </a:cxn>
                <a:cxn ang="0">
                  <a:pos x="10" y="22"/>
                </a:cxn>
                <a:cxn ang="0">
                  <a:pos x="19" y="7"/>
                </a:cxn>
                <a:cxn ang="0">
                  <a:pos x="88" y="40"/>
                </a:cxn>
                <a:cxn ang="0">
                  <a:pos x="49" y="4"/>
                </a:cxn>
                <a:cxn ang="0">
                  <a:pos x="151" y="0"/>
                </a:cxn>
                <a:cxn ang="0">
                  <a:pos x="169" y="75"/>
                </a:cxn>
                <a:cxn ang="0">
                  <a:pos x="148" y="63"/>
                </a:cxn>
                <a:cxn ang="0">
                  <a:pos x="147" y="103"/>
                </a:cxn>
                <a:cxn ang="0">
                  <a:pos x="64" y="99"/>
                </a:cxn>
                <a:cxn ang="0">
                  <a:pos x="81" y="88"/>
                </a:cxn>
                <a:cxn ang="0">
                  <a:pos x="59" y="73"/>
                </a:cxn>
                <a:cxn ang="0">
                  <a:pos x="118" y="52"/>
                </a:cxn>
                <a:cxn ang="0">
                  <a:pos x="0" y="67"/>
                </a:cxn>
              </a:cxnLst>
              <a:rect l="0" t="0" r="r" b="b"/>
              <a:pathLst>
                <a:path w="169" h="103">
                  <a:moveTo>
                    <a:pt x="0" y="67"/>
                  </a:moveTo>
                  <a:lnTo>
                    <a:pt x="18" y="42"/>
                  </a:lnTo>
                  <a:lnTo>
                    <a:pt x="51" y="46"/>
                  </a:lnTo>
                  <a:lnTo>
                    <a:pt x="10" y="22"/>
                  </a:lnTo>
                  <a:lnTo>
                    <a:pt x="19" y="7"/>
                  </a:lnTo>
                  <a:lnTo>
                    <a:pt x="88" y="40"/>
                  </a:lnTo>
                  <a:lnTo>
                    <a:pt x="49" y="4"/>
                  </a:lnTo>
                  <a:lnTo>
                    <a:pt x="151" y="0"/>
                  </a:lnTo>
                  <a:lnTo>
                    <a:pt x="169" y="75"/>
                  </a:lnTo>
                  <a:lnTo>
                    <a:pt x="148" y="63"/>
                  </a:lnTo>
                  <a:lnTo>
                    <a:pt x="147" y="103"/>
                  </a:lnTo>
                  <a:lnTo>
                    <a:pt x="64" y="99"/>
                  </a:lnTo>
                  <a:lnTo>
                    <a:pt x="81" y="88"/>
                  </a:lnTo>
                  <a:lnTo>
                    <a:pt x="59" y="73"/>
                  </a:lnTo>
                  <a:lnTo>
                    <a:pt x="118" y="52"/>
                  </a:lnTo>
                  <a:lnTo>
                    <a:pt x="0" y="67"/>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9" name="30435221.25181.3759.12511.255">
              <a:extLst>
                <a:ext uri="{FF2B5EF4-FFF2-40B4-BE49-F238E27FC236}">
                  <a16:creationId xmlns:a16="http://schemas.microsoft.com/office/drawing/2014/main" id="{A1D3664C-D319-4917-B4F1-51F1A563B44D}"/>
                </a:ext>
              </a:extLst>
            </p:cNvPr>
            <p:cNvSpPr>
              <a:spLocks noChangeAspect="1"/>
            </p:cNvSpPr>
            <p:nvPr/>
          </p:nvSpPr>
          <p:spPr bwMode="gray">
            <a:xfrm>
              <a:off x="2582842" y="1882023"/>
              <a:ext cx="180692" cy="149699"/>
            </a:xfrm>
            <a:custGeom>
              <a:avLst/>
              <a:gdLst/>
              <a:ahLst/>
              <a:cxnLst>
                <a:cxn ang="0">
                  <a:pos x="0" y="81"/>
                </a:cxn>
                <a:cxn ang="0">
                  <a:pos x="10" y="61"/>
                </a:cxn>
                <a:cxn ang="0">
                  <a:pos x="76" y="73"/>
                </a:cxn>
                <a:cxn ang="0">
                  <a:pos x="66" y="47"/>
                </a:cxn>
                <a:cxn ang="0">
                  <a:pos x="84" y="48"/>
                </a:cxn>
                <a:cxn ang="0">
                  <a:pos x="40" y="35"/>
                </a:cxn>
                <a:cxn ang="0">
                  <a:pos x="60" y="28"/>
                </a:cxn>
                <a:cxn ang="0">
                  <a:pos x="41" y="14"/>
                </a:cxn>
                <a:cxn ang="0">
                  <a:pos x="168" y="0"/>
                </a:cxn>
                <a:cxn ang="0">
                  <a:pos x="172" y="36"/>
                </a:cxn>
                <a:cxn ang="0">
                  <a:pos x="133" y="65"/>
                </a:cxn>
                <a:cxn ang="0">
                  <a:pos x="191" y="73"/>
                </a:cxn>
                <a:cxn ang="0">
                  <a:pos x="198" y="131"/>
                </a:cxn>
                <a:cxn ang="0">
                  <a:pos x="113" y="162"/>
                </a:cxn>
                <a:cxn ang="0">
                  <a:pos x="76" y="117"/>
                </a:cxn>
                <a:cxn ang="0">
                  <a:pos x="0" y="81"/>
                </a:cxn>
              </a:cxnLst>
              <a:rect l="0" t="0" r="r" b="b"/>
              <a:pathLst>
                <a:path w="198" h="162">
                  <a:moveTo>
                    <a:pt x="0" y="81"/>
                  </a:moveTo>
                  <a:lnTo>
                    <a:pt x="10" y="61"/>
                  </a:lnTo>
                  <a:lnTo>
                    <a:pt x="76" y="73"/>
                  </a:lnTo>
                  <a:lnTo>
                    <a:pt x="66" y="47"/>
                  </a:lnTo>
                  <a:lnTo>
                    <a:pt x="84" y="48"/>
                  </a:lnTo>
                  <a:lnTo>
                    <a:pt x="40" y="35"/>
                  </a:lnTo>
                  <a:lnTo>
                    <a:pt x="60" y="28"/>
                  </a:lnTo>
                  <a:lnTo>
                    <a:pt x="41" y="14"/>
                  </a:lnTo>
                  <a:lnTo>
                    <a:pt x="168" y="0"/>
                  </a:lnTo>
                  <a:lnTo>
                    <a:pt x="172" y="36"/>
                  </a:lnTo>
                  <a:lnTo>
                    <a:pt x="133" y="65"/>
                  </a:lnTo>
                  <a:lnTo>
                    <a:pt x="191" y="73"/>
                  </a:lnTo>
                  <a:lnTo>
                    <a:pt x="198" y="131"/>
                  </a:lnTo>
                  <a:lnTo>
                    <a:pt x="113" y="162"/>
                  </a:lnTo>
                  <a:lnTo>
                    <a:pt x="76" y="117"/>
                  </a:lnTo>
                  <a:lnTo>
                    <a:pt x="0" y="81"/>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0" name="30436201.625189.254.756.755">
              <a:extLst>
                <a:ext uri="{FF2B5EF4-FFF2-40B4-BE49-F238E27FC236}">
                  <a16:creationId xmlns:a16="http://schemas.microsoft.com/office/drawing/2014/main" id="{1931AE71-64C5-4A03-BE29-9498E39E3C97}"/>
                </a:ext>
              </a:extLst>
            </p:cNvPr>
            <p:cNvSpPr>
              <a:spLocks noChangeAspect="1"/>
            </p:cNvSpPr>
            <p:nvPr/>
          </p:nvSpPr>
          <p:spPr bwMode="gray">
            <a:xfrm>
              <a:off x="2706474" y="1564127"/>
              <a:ext cx="110316" cy="77372"/>
            </a:xfrm>
            <a:custGeom>
              <a:avLst/>
              <a:gdLst/>
              <a:ahLst/>
              <a:cxnLst>
                <a:cxn ang="0">
                  <a:pos x="0" y="0"/>
                </a:cxn>
                <a:cxn ang="0">
                  <a:pos x="14" y="49"/>
                </a:cxn>
                <a:cxn ang="0">
                  <a:pos x="51" y="52"/>
                </a:cxn>
                <a:cxn ang="0">
                  <a:pos x="19" y="59"/>
                </a:cxn>
                <a:cxn ang="0">
                  <a:pos x="34" y="82"/>
                </a:cxn>
                <a:cxn ang="0">
                  <a:pos x="108" y="69"/>
                </a:cxn>
                <a:cxn ang="0">
                  <a:pos x="119" y="41"/>
                </a:cxn>
                <a:cxn ang="0">
                  <a:pos x="0" y="0"/>
                </a:cxn>
              </a:cxnLst>
              <a:rect l="0" t="0" r="r" b="b"/>
              <a:pathLst>
                <a:path w="119" h="82">
                  <a:moveTo>
                    <a:pt x="0" y="0"/>
                  </a:moveTo>
                  <a:lnTo>
                    <a:pt x="14" y="49"/>
                  </a:lnTo>
                  <a:lnTo>
                    <a:pt x="51" y="52"/>
                  </a:lnTo>
                  <a:lnTo>
                    <a:pt x="19" y="59"/>
                  </a:lnTo>
                  <a:lnTo>
                    <a:pt x="34" y="82"/>
                  </a:lnTo>
                  <a:lnTo>
                    <a:pt x="108" y="69"/>
                  </a:lnTo>
                  <a:lnTo>
                    <a:pt x="119" y="41"/>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1" name="30437208.875191.7510.12532.3755">
              <a:extLst>
                <a:ext uri="{FF2B5EF4-FFF2-40B4-BE49-F238E27FC236}">
                  <a16:creationId xmlns:a16="http://schemas.microsoft.com/office/drawing/2014/main" id="{F1A5A7C8-AC38-40F1-9793-D5D0ED92EBBB}"/>
                </a:ext>
              </a:extLst>
            </p:cNvPr>
            <p:cNvSpPr>
              <a:spLocks noChangeAspect="1"/>
            </p:cNvSpPr>
            <p:nvPr/>
          </p:nvSpPr>
          <p:spPr bwMode="gray">
            <a:xfrm>
              <a:off x="2746413" y="1680184"/>
              <a:ext cx="519249" cy="166517"/>
            </a:xfrm>
            <a:custGeom>
              <a:avLst/>
              <a:gdLst/>
              <a:ahLst/>
              <a:cxnLst>
                <a:cxn ang="0">
                  <a:pos x="0" y="29"/>
                </a:cxn>
                <a:cxn ang="0">
                  <a:pos x="36" y="0"/>
                </a:cxn>
                <a:cxn ang="0">
                  <a:pos x="87" y="16"/>
                </a:cxn>
                <a:cxn ang="0">
                  <a:pos x="121" y="29"/>
                </a:cxn>
                <a:cxn ang="0">
                  <a:pos x="110" y="50"/>
                </a:cxn>
                <a:cxn ang="0">
                  <a:pos x="176" y="32"/>
                </a:cxn>
                <a:cxn ang="0">
                  <a:pos x="219" y="50"/>
                </a:cxn>
                <a:cxn ang="0">
                  <a:pos x="183" y="50"/>
                </a:cxn>
                <a:cxn ang="0">
                  <a:pos x="256" y="64"/>
                </a:cxn>
                <a:cxn ang="0">
                  <a:pos x="176" y="69"/>
                </a:cxn>
                <a:cxn ang="0">
                  <a:pos x="219" y="82"/>
                </a:cxn>
                <a:cxn ang="0">
                  <a:pos x="187" y="97"/>
                </a:cxn>
                <a:cxn ang="0">
                  <a:pos x="227" y="84"/>
                </a:cxn>
                <a:cxn ang="0">
                  <a:pos x="263" y="120"/>
                </a:cxn>
                <a:cxn ang="0">
                  <a:pos x="271" y="104"/>
                </a:cxn>
                <a:cxn ang="0">
                  <a:pos x="377" y="120"/>
                </a:cxn>
                <a:cxn ang="0">
                  <a:pos x="486" y="86"/>
                </a:cxn>
                <a:cxn ang="0">
                  <a:pos x="575" y="126"/>
                </a:cxn>
                <a:cxn ang="0">
                  <a:pos x="547" y="145"/>
                </a:cxn>
                <a:cxn ang="0">
                  <a:pos x="557" y="175"/>
                </a:cxn>
                <a:cxn ang="0">
                  <a:pos x="505" y="182"/>
                </a:cxn>
                <a:cxn ang="0">
                  <a:pos x="446" y="153"/>
                </a:cxn>
                <a:cxn ang="0">
                  <a:pos x="446" y="175"/>
                </a:cxn>
                <a:cxn ang="0">
                  <a:pos x="414" y="179"/>
                </a:cxn>
                <a:cxn ang="0">
                  <a:pos x="285" y="182"/>
                </a:cxn>
                <a:cxn ang="0">
                  <a:pos x="271" y="157"/>
                </a:cxn>
                <a:cxn ang="0">
                  <a:pos x="240" y="179"/>
                </a:cxn>
                <a:cxn ang="0">
                  <a:pos x="200" y="157"/>
                </a:cxn>
                <a:cxn ang="0">
                  <a:pos x="174" y="172"/>
                </a:cxn>
                <a:cxn ang="0">
                  <a:pos x="124" y="54"/>
                </a:cxn>
                <a:cxn ang="0">
                  <a:pos x="65" y="65"/>
                </a:cxn>
                <a:cxn ang="0">
                  <a:pos x="0" y="29"/>
                </a:cxn>
              </a:cxnLst>
              <a:rect l="0" t="0" r="r" b="b"/>
              <a:pathLst>
                <a:path w="575" h="182">
                  <a:moveTo>
                    <a:pt x="0" y="29"/>
                  </a:moveTo>
                  <a:lnTo>
                    <a:pt x="36" y="0"/>
                  </a:lnTo>
                  <a:lnTo>
                    <a:pt x="87" y="16"/>
                  </a:lnTo>
                  <a:lnTo>
                    <a:pt x="121" y="29"/>
                  </a:lnTo>
                  <a:lnTo>
                    <a:pt x="110" y="50"/>
                  </a:lnTo>
                  <a:lnTo>
                    <a:pt x="176" y="32"/>
                  </a:lnTo>
                  <a:lnTo>
                    <a:pt x="219" y="50"/>
                  </a:lnTo>
                  <a:lnTo>
                    <a:pt x="183" y="50"/>
                  </a:lnTo>
                  <a:lnTo>
                    <a:pt x="256" y="64"/>
                  </a:lnTo>
                  <a:lnTo>
                    <a:pt x="176" y="69"/>
                  </a:lnTo>
                  <a:lnTo>
                    <a:pt x="219" y="82"/>
                  </a:lnTo>
                  <a:lnTo>
                    <a:pt x="187" y="97"/>
                  </a:lnTo>
                  <a:lnTo>
                    <a:pt x="227" y="84"/>
                  </a:lnTo>
                  <a:lnTo>
                    <a:pt x="263" y="120"/>
                  </a:lnTo>
                  <a:lnTo>
                    <a:pt x="271" y="104"/>
                  </a:lnTo>
                  <a:lnTo>
                    <a:pt x="377" y="120"/>
                  </a:lnTo>
                  <a:lnTo>
                    <a:pt x="486" y="86"/>
                  </a:lnTo>
                  <a:lnTo>
                    <a:pt x="575" y="126"/>
                  </a:lnTo>
                  <a:lnTo>
                    <a:pt x="547" y="145"/>
                  </a:lnTo>
                  <a:lnTo>
                    <a:pt x="557" y="175"/>
                  </a:lnTo>
                  <a:lnTo>
                    <a:pt x="505" y="182"/>
                  </a:lnTo>
                  <a:lnTo>
                    <a:pt x="446" y="153"/>
                  </a:lnTo>
                  <a:lnTo>
                    <a:pt x="446" y="175"/>
                  </a:lnTo>
                  <a:lnTo>
                    <a:pt x="414" y="179"/>
                  </a:lnTo>
                  <a:lnTo>
                    <a:pt x="285" y="182"/>
                  </a:lnTo>
                  <a:lnTo>
                    <a:pt x="271" y="157"/>
                  </a:lnTo>
                  <a:lnTo>
                    <a:pt x="240" y="179"/>
                  </a:lnTo>
                  <a:lnTo>
                    <a:pt x="200" y="157"/>
                  </a:lnTo>
                  <a:lnTo>
                    <a:pt x="174" y="172"/>
                  </a:lnTo>
                  <a:lnTo>
                    <a:pt x="124" y="54"/>
                  </a:lnTo>
                  <a:lnTo>
                    <a:pt x="65" y="65"/>
                  </a:lnTo>
                  <a:lnTo>
                    <a:pt x="0" y="2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2" name="30438191.2519313.7521.1255">
              <a:extLst>
                <a:ext uri="{FF2B5EF4-FFF2-40B4-BE49-F238E27FC236}">
                  <a16:creationId xmlns:a16="http://schemas.microsoft.com/office/drawing/2014/main" id="{24091918-F080-4EE2-9176-26EBA7C23DC1}"/>
                </a:ext>
              </a:extLst>
            </p:cNvPr>
            <p:cNvSpPr>
              <a:spLocks noChangeAspect="1"/>
            </p:cNvSpPr>
            <p:nvPr/>
          </p:nvSpPr>
          <p:spPr bwMode="gray">
            <a:xfrm>
              <a:off x="2765435" y="1394245"/>
              <a:ext cx="338557" cy="223706"/>
            </a:xfrm>
            <a:custGeom>
              <a:avLst/>
              <a:gdLst/>
              <a:ahLst/>
              <a:cxnLst>
                <a:cxn ang="0">
                  <a:pos x="0" y="75"/>
                </a:cxn>
                <a:cxn ang="0">
                  <a:pos x="90" y="61"/>
                </a:cxn>
                <a:cxn ang="0">
                  <a:pos x="42" y="28"/>
                </a:cxn>
                <a:cxn ang="0">
                  <a:pos x="122" y="13"/>
                </a:cxn>
                <a:cxn ang="0">
                  <a:pos x="59" y="0"/>
                </a:cxn>
                <a:cxn ang="0">
                  <a:pos x="159" y="17"/>
                </a:cxn>
                <a:cxn ang="0">
                  <a:pos x="188" y="63"/>
                </a:cxn>
                <a:cxn ang="0">
                  <a:pos x="240" y="64"/>
                </a:cxn>
                <a:cxn ang="0">
                  <a:pos x="260" y="96"/>
                </a:cxn>
                <a:cxn ang="0">
                  <a:pos x="264" y="74"/>
                </a:cxn>
                <a:cxn ang="0">
                  <a:pos x="290" y="75"/>
                </a:cxn>
                <a:cxn ang="0">
                  <a:pos x="279" y="96"/>
                </a:cxn>
                <a:cxn ang="0">
                  <a:pos x="308" y="111"/>
                </a:cxn>
                <a:cxn ang="0">
                  <a:pos x="290" y="133"/>
                </a:cxn>
                <a:cxn ang="0">
                  <a:pos x="349" y="130"/>
                </a:cxn>
                <a:cxn ang="0">
                  <a:pos x="375" y="162"/>
                </a:cxn>
                <a:cxn ang="0">
                  <a:pos x="304" y="173"/>
                </a:cxn>
                <a:cxn ang="0">
                  <a:pos x="284" y="202"/>
                </a:cxn>
                <a:cxn ang="0">
                  <a:pos x="271" y="171"/>
                </a:cxn>
                <a:cxn ang="0">
                  <a:pos x="251" y="240"/>
                </a:cxn>
                <a:cxn ang="0">
                  <a:pos x="206" y="205"/>
                </a:cxn>
                <a:cxn ang="0">
                  <a:pos x="229" y="242"/>
                </a:cxn>
                <a:cxn ang="0">
                  <a:pos x="141" y="236"/>
                </a:cxn>
                <a:cxn ang="0">
                  <a:pos x="114" y="217"/>
                </a:cxn>
                <a:cxn ang="0">
                  <a:pos x="155" y="214"/>
                </a:cxn>
                <a:cxn ang="0">
                  <a:pos x="111" y="207"/>
                </a:cxn>
                <a:cxn ang="0">
                  <a:pos x="99" y="196"/>
                </a:cxn>
                <a:cxn ang="0">
                  <a:pos x="122" y="195"/>
                </a:cxn>
                <a:cxn ang="0">
                  <a:pos x="85" y="180"/>
                </a:cxn>
                <a:cxn ang="0">
                  <a:pos x="203" y="158"/>
                </a:cxn>
                <a:cxn ang="0">
                  <a:pos x="59" y="162"/>
                </a:cxn>
                <a:cxn ang="0">
                  <a:pos x="33" y="138"/>
                </a:cxn>
                <a:cxn ang="0">
                  <a:pos x="85" y="127"/>
                </a:cxn>
                <a:cxn ang="0">
                  <a:pos x="5" y="111"/>
                </a:cxn>
                <a:cxn ang="0">
                  <a:pos x="23" y="110"/>
                </a:cxn>
                <a:cxn ang="0">
                  <a:pos x="1" y="93"/>
                </a:cxn>
                <a:cxn ang="0">
                  <a:pos x="90" y="93"/>
                </a:cxn>
                <a:cxn ang="0">
                  <a:pos x="0" y="75"/>
                </a:cxn>
              </a:cxnLst>
              <a:rect l="0" t="0" r="r" b="b"/>
              <a:pathLst>
                <a:path w="375" h="242">
                  <a:moveTo>
                    <a:pt x="0" y="75"/>
                  </a:moveTo>
                  <a:lnTo>
                    <a:pt x="90" y="61"/>
                  </a:lnTo>
                  <a:lnTo>
                    <a:pt x="42" y="28"/>
                  </a:lnTo>
                  <a:lnTo>
                    <a:pt x="122" y="13"/>
                  </a:lnTo>
                  <a:lnTo>
                    <a:pt x="59" y="0"/>
                  </a:lnTo>
                  <a:lnTo>
                    <a:pt x="159" y="17"/>
                  </a:lnTo>
                  <a:lnTo>
                    <a:pt x="188" y="63"/>
                  </a:lnTo>
                  <a:lnTo>
                    <a:pt x="240" y="64"/>
                  </a:lnTo>
                  <a:lnTo>
                    <a:pt x="260" y="96"/>
                  </a:lnTo>
                  <a:lnTo>
                    <a:pt x="264" y="74"/>
                  </a:lnTo>
                  <a:lnTo>
                    <a:pt x="290" y="75"/>
                  </a:lnTo>
                  <a:lnTo>
                    <a:pt x="279" y="96"/>
                  </a:lnTo>
                  <a:lnTo>
                    <a:pt x="308" y="111"/>
                  </a:lnTo>
                  <a:lnTo>
                    <a:pt x="290" y="133"/>
                  </a:lnTo>
                  <a:lnTo>
                    <a:pt x="349" y="130"/>
                  </a:lnTo>
                  <a:lnTo>
                    <a:pt x="375" y="162"/>
                  </a:lnTo>
                  <a:lnTo>
                    <a:pt x="304" y="173"/>
                  </a:lnTo>
                  <a:lnTo>
                    <a:pt x="284" y="202"/>
                  </a:lnTo>
                  <a:lnTo>
                    <a:pt x="271" y="171"/>
                  </a:lnTo>
                  <a:lnTo>
                    <a:pt x="251" y="240"/>
                  </a:lnTo>
                  <a:lnTo>
                    <a:pt x="206" y="205"/>
                  </a:lnTo>
                  <a:lnTo>
                    <a:pt x="229" y="242"/>
                  </a:lnTo>
                  <a:lnTo>
                    <a:pt x="141" y="236"/>
                  </a:lnTo>
                  <a:lnTo>
                    <a:pt x="114" y="217"/>
                  </a:lnTo>
                  <a:lnTo>
                    <a:pt x="155" y="214"/>
                  </a:lnTo>
                  <a:lnTo>
                    <a:pt x="111" y="207"/>
                  </a:lnTo>
                  <a:lnTo>
                    <a:pt x="99" y="196"/>
                  </a:lnTo>
                  <a:lnTo>
                    <a:pt x="122" y="195"/>
                  </a:lnTo>
                  <a:lnTo>
                    <a:pt x="85" y="180"/>
                  </a:lnTo>
                  <a:lnTo>
                    <a:pt x="203" y="158"/>
                  </a:lnTo>
                  <a:lnTo>
                    <a:pt x="59" y="162"/>
                  </a:lnTo>
                  <a:lnTo>
                    <a:pt x="33" y="138"/>
                  </a:lnTo>
                  <a:lnTo>
                    <a:pt x="85" y="127"/>
                  </a:lnTo>
                  <a:lnTo>
                    <a:pt x="5" y="111"/>
                  </a:lnTo>
                  <a:lnTo>
                    <a:pt x="23" y="110"/>
                  </a:lnTo>
                  <a:lnTo>
                    <a:pt x="1" y="93"/>
                  </a:lnTo>
                  <a:lnTo>
                    <a:pt x="90" y="93"/>
                  </a:lnTo>
                  <a:lnTo>
                    <a:pt x="0" y="7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3" name="30439214.8751933.55.1255">
              <a:extLst>
                <a:ext uri="{FF2B5EF4-FFF2-40B4-BE49-F238E27FC236}">
                  <a16:creationId xmlns:a16="http://schemas.microsoft.com/office/drawing/2014/main" id="{2D735C08-13C1-4A13-8A3A-36AEB876B3CB}"/>
                </a:ext>
              </a:extLst>
            </p:cNvPr>
            <p:cNvSpPr>
              <a:spLocks noChangeAspect="1"/>
            </p:cNvSpPr>
            <p:nvPr/>
          </p:nvSpPr>
          <p:spPr bwMode="gray">
            <a:xfrm>
              <a:off x="2765435" y="1777738"/>
              <a:ext cx="81787" cy="57186"/>
            </a:xfrm>
            <a:custGeom>
              <a:avLst/>
              <a:gdLst/>
              <a:ahLst/>
              <a:cxnLst>
                <a:cxn ang="0">
                  <a:pos x="0" y="43"/>
                </a:cxn>
                <a:cxn ang="0">
                  <a:pos x="15" y="0"/>
                </a:cxn>
                <a:cxn ang="0">
                  <a:pos x="74" y="13"/>
                </a:cxn>
                <a:cxn ang="0">
                  <a:pos x="90" y="62"/>
                </a:cxn>
                <a:cxn ang="0">
                  <a:pos x="0" y="43"/>
                </a:cxn>
              </a:cxnLst>
              <a:rect l="0" t="0" r="r" b="b"/>
              <a:pathLst>
                <a:path w="90" h="62">
                  <a:moveTo>
                    <a:pt x="0" y="43"/>
                  </a:moveTo>
                  <a:lnTo>
                    <a:pt x="15" y="0"/>
                  </a:lnTo>
                  <a:lnTo>
                    <a:pt x="74" y="13"/>
                  </a:lnTo>
                  <a:lnTo>
                    <a:pt x="90" y="62"/>
                  </a:lnTo>
                  <a:lnTo>
                    <a:pt x="0" y="43"/>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4" name="30440206.3751931.255.8755">
              <a:extLst>
                <a:ext uri="{FF2B5EF4-FFF2-40B4-BE49-F238E27FC236}">
                  <a16:creationId xmlns:a16="http://schemas.microsoft.com/office/drawing/2014/main" id="{15245051-BDAB-4AD5-B172-F20D6A7152B1}"/>
                </a:ext>
              </a:extLst>
            </p:cNvPr>
            <p:cNvSpPr>
              <a:spLocks noChangeAspect="1"/>
            </p:cNvSpPr>
            <p:nvPr/>
          </p:nvSpPr>
          <p:spPr bwMode="gray">
            <a:xfrm>
              <a:off x="2765435" y="1641496"/>
              <a:ext cx="95099" cy="20183"/>
            </a:xfrm>
            <a:custGeom>
              <a:avLst/>
              <a:gdLst/>
              <a:ahLst/>
              <a:cxnLst>
                <a:cxn ang="0">
                  <a:pos x="0" y="9"/>
                </a:cxn>
                <a:cxn ang="0">
                  <a:pos x="24" y="22"/>
                </a:cxn>
                <a:cxn ang="0">
                  <a:pos x="102" y="9"/>
                </a:cxn>
                <a:cxn ang="0">
                  <a:pos x="28" y="0"/>
                </a:cxn>
                <a:cxn ang="0">
                  <a:pos x="0" y="9"/>
                </a:cxn>
              </a:cxnLst>
              <a:rect l="0" t="0" r="r" b="b"/>
              <a:pathLst>
                <a:path w="102" h="22">
                  <a:moveTo>
                    <a:pt x="0" y="9"/>
                  </a:moveTo>
                  <a:lnTo>
                    <a:pt x="24" y="22"/>
                  </a:lnTo>
                  <a:lnTo>
                    <a:pt x="102" y="9"/>
                  </a:lnTo>
                  <a:lnTo>
                    <a:pt x="28" y="0"/>
                  </a:lnTo>
                  <a:lnTo>
                    <a:pt x="0" y="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5" name="30441220.75194.1257.25105">
              <a:extLst>
                <a:ext uri="{FF2B5EF4-FFF2-40B4-BE49-F238E27FC236}">
                  <a16:creationId xmlns:a16="http://schemas.microsoft.com/office/drawing/2014/main" id="{BA519DF9-7CDA-4EDC-8C43-54879447468A}"/>
                </a:ext>
              </a:extLst>
            </p:cNvPr>
            <p:cNvSpPr>
              <a:spLocks noChangeAspect="1"/>
            </p:cNvSpPr>
            <p:nvPr/>
          </p:nvSpPr>
          <p:spPr bwMode="gray">
            <a:xfrm>
              <a:off x="2784456" y="1873613"/>
              <a:ext cx="161670" cy="119422"/>
            </a:xfrm>
            <a:custGeom>
              <a:avLst/>
              <a:gdLst/>
              <a:ahLst/>
              <a:cxnLst>
                <a:cxn ang="0">
                  <a:pos x="0" y="21"/>
                </a:cxn>
                <a:cxn ang="0">
                  <a:pos x="4" y="81"/>
                </a:cxn>
                <a:cxn ang="0">
                  <a:pos x="23" y="92"/>
                </a:cxn>
                <a:cxn ang="0">
                  <a:pos x="17" y="126"/>
                </a:cxn>
                <a:cxn ang="0">
                  <a:pos x="44" y="128"/>
                </a:cxn>
                <a:cxn ang="0">
                  <a:pos x="73" y="100"/>
                </a:cxn>
                <a:cxn ang="0">
                  <a:pos x="44" y="81"/>
                </a:cxn>
                <a:cxn ang="0">
                  <a:pos x="117" y="81"/>
                </a:cxn>
                <a:cxn ang="0">
                  <a:pos x="179" y="8"/>
                </a:cxn>
                <a:cxn ang="0">
                  <a:pos x="14" y="0"/>
                </a:cxn>
                <a:cxn ang="0">
                  <a:pos x="36" y="23"/>
                </a:cxn>
                <a:cxn ang="0">
                  <a:pos x="0" y="21"/>
                </a:cxn>
              </a:cxnLst>
              <a:rect l="0" t="0" r="r" b="b"/>
              <a:pathLst>
                <a:path w="179" h="128">
                  <a:moveTo>
                    <a:pt x="0" y="21"/>
                  </a:moveTo>
                  <a:lnTo>
                    <a:pt x="4" y="81"/>
                  </a:lnTo>
                  <a:lnTo>
                    <a:pt x="23" y="92"/>
                  </a:lnTo>
                  <a:lnTo>
                    <a:pt x="17" y="126"/>
                  </a:lnTo>
                  <a:lnTo>
                    <a:pt x="44" y="128"/>
                  </a:lnTo>
                  <a:lnTo>
                    <a:pt x="73" y="100"/>
                  </a:lnTo>
                  <a:lnTo>
                    <a:pt x="44" y="81"/>
                  </a:lnTo>
                  <a:lnTo>
                    <a:pt x="117" y="81"/>
                  </a:lnTo>
                  <a:lnTo>
                    <a:pt x="179" y="8"/>
                  </a:lnTo>
                  <a:lnTo>
                    <a:pt x="14" y="0"/>
                  </a:lnTo>
                  <a:lnTo>
                    <a:pt x="36" y="23"/>
                  </a:lnTo>
                  <a:lnTo>
                    <a:pt x="0" y="21"/>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6" name="30442183.2520129.557.8755">
              <a:extLst>
                <a:ext uri="{FF2B5EF4-FFF2-40B4-BE49-F238E27FC236}">
                  <a16:creationId xmlns:a16="http://schemas.microsoft.com/office/drawing/2014/main" id="{34D085CC-0E2B-4825-ACAD-B38102F87EA7}"/>
                </a:ext>
              </a:extLst>
            </p:cNvPr>
            <p:cNvSpPr>
              <a:spLocks noChangeAspect="1"/>
            </p:cNvSpPr>
            <p:nvPr/>
          </p:nvSpPr>
          <p:spPr bwMode="gray">
            <a:xfrm>
              <a:off x="2894772" y="1266413"/>
              <a:ext cx="928178" cy="479367"/>
            </a:xfrm>
            <a:custGeom>
              <a:avLst/>
              <a:gdLst/>
              <a:ahLst/>
              <a:cxnLst>
                <a:cxn ang="0">
                  <a:pos x="58" y="143"/>
                </a:cxn>
                <a:cxn ang="0">
                  <a:pos x="109" y="151"/>
                </a:cxn>
                <a:cxn ang="0">
                  <a:pos x="250" y="147"/>
                </a:cxn>
                <a:cxn ang="0">
                  <a:pos x="223" y="166"/>
                </a:cxn>
                <a:cxn ang="0">
                  <a:pos x="190" y="203"/>
                </a:cxn>
                <a:cxn ang="0">
                  <a:pos x="281" y="204"/>
                </a:cxn>
                <a:cxn ang="0">
                  <a:pos x="396" y="155"/>
                </a:cxn>
                <a:cxn ang="0">
                  <a:pos x="550" y="171"/>
                </a:cxn>
                <a:cxn ang="0">
                  <a:pos x="399" y="270"/>
                </a:cxn>
                <a:cxn ang="0">
                  <a:pos x="183" y="220"/>
                </a:cxn>
                <a:cxn ang="0">
                  <a:pos x="182" y="261"/>
                </a:cxn>
                <a:cxn ang="0">
                  <a:pos x="348" y="324"/>
                </a:cxn>
                <a:cxn ang="0">
                  <a:pos x="227" y="326"/>
                </a:cxn>
                <a:cxn ang="0">
                  <a:pos x="204" y="370"/>
                </a:cxn>
                <a:cxn ang="0">
                  <a:pos x="246" y="350"/>
                </a:cxn>
                <a:cxn ang="0">
                  <a:pos x="208" y="397"/>
                </a:cxn>
                <a:cxn ang="0">
                  <a:pos x="239" y="427"/>
                </a:cxn>
                <a:cxn ang="0">
                  <a:pos x="250" y="444"/>
                </a:cxn>
                <a:cxn ang="0">
                  <a:pos x="173" y="452"/>
                </a:cxn>
                <a:cxn ang="0">
                  <a:pos x="112" y="478"/>
                </a:cxn>
                <a:cxn ang="0">
                  <a:pos x="217" y="518"/>
                </a:cxn>
                <a:cxn ang="0">
                  <a:pos x="286" y="503"/>
                </a:cxn>
                <a:cxn ang="0">
                  <a:pos x="323" y="502"/>
                </a:cxn>
                <a:cxn ang="0">
                  <a:pos x="365" y="522"/>
                </a:cxn>
                <a:cxn ang="0">
                  <a:pos x="428" y="478"/>
                </a:cxn>
                <a:cxn ang="0">
                  <a:pos x="459" y="442"/>
                </a:cxn>
                <a:cxn ang="0">
                  <a:pos x="534" y="397"/>
                </a:cxn>
                <a:cxn ang="0">
                  <a:pos x="565" y="376"/>
                </a:cxn>
                <a:cxn ang="0">
                  <a:pos x="572" y="334"/>
                </a:cxn>
                <a:cxn ang="0">
                  <a:pos x="472" y="310"/>
                </a:cxn>
                <a:cxn ang="0">
                  <a:pos x="470" y="301"/>
                </a:cxn>
                <a:cxn ang="0">
                  <a:pos x="675" y="270"/>
                </a:cxn>
                <a:cxn ang="0">
                  <a:pos x="722" y="236"/>
                </a:cxn>
                <a:cxn ang="0">
                  <a:pos x="917" y="134"/>
                </a:cxn>
                <a:cxn ang="0">
                  <a:pos x="769" y="132"/>
                </a:cxn>
                <a:cxn ang="0">
                  <a:pos x="1026" y="79"/>
                </a:cxn>
                <a:cxn ang="0">
                  <a:pos x="944" y="22"/>
                </a:cxn>
                <a:cxn ang="0">
                  <a:pos x="611" y="0"/>
                </a:cxn>
                <a:cxn ang="0">
                  <a:pos x="565" y="9"/>
                </a:cxn>
                <a:cxn ang="0">
                  <a:pos x="509" y="57"/>
                </a:cxn>
                <a:cxn ang="0">
                  <a:pos x="395" y="33"/>
                </a:cxn>
                <a:cxn ang="0">
                  <a:pos x="301" y="37"/>
                </a:cxn>
                <a:cxn ang="0">
                  <a:pos x="359" y="92"/>
                </a:cxn>
                <a:cxn ang="0">
                  <a:pos x="222" y="93"/>
                </a:cxn>
              </a:cxnLst>
              <a:rect l="0" t="0" r="r" b="b"/>
              <a:pathLst>
                <a:path w="1026" h="522">
                  <a:moveTo>
                    <a:pt x="0" y="123"/>
                  </a:moveTo>
                  <a:lnTo>
                    <a:pt x="90" y="123"/>
                  </a:lnTo>
                  <a:lnTo>
                    <a:pt x="58" y="143"/>
                  </a:lnTo>
                  <a:lnTo>
                    <a:pt x="184" y="129"/>
                  </a:lnTo>
                  <a:lnTo>
                    <a:pt x="75" y="143"/>
                  </a:lnTo>
                  <a:lnTo>
                    <a:pt x="109" y="151"/>
                  </a:lnTo>
                  <a:lnTo>
                    <a:pt x="72" y="154"/>
                  </a:lnTo>
                  <a:lnTo>
                    <a:pt x="87" y="167"/>
                  </a:lnTo>
                  <a:lnTo>
                    <a:pt x="250" y="147"/>
                  </a:lnTo>
                  <a:lnTo>
                    <a:pt x="90" y="178"/>
                  </a:lnTo>
                  <a:lnTo>
                    <a:pt x="160" y="203"/>
                  </a:lnTo>
                  <a:lnTo>
                    <a:pt x="223" y="166"/>
                  </a:lnTo>
                  <a:lnTo>
                    <a:pt x="330" y="160"/>
                  </a:lnTo>
                  <a:lnTo>
                    <a:pt x="217" y="174"/>
                  </a:lnTo>
                  <a:lnTo>
                    <a:pt x="190" y="203"/>
                  </a:lnTo>
                  <a:lnTo>
                    <a:pt x="257" y="207"/>
                  </a:lnTo>
                  <a:lnTo>
                    <a:pt x="330" y="177"/>
                  </a:lnTo>
                  <a:lnTo>
                    <a:pt x="281" y="204"/>
                  </a:lnTo>
                  <a:lnTo>
                    <a:pt x="330" y="204"/>
                  </a:lnTo>
                  <a:lnTo>
                    <a:pt x="406" y="184"/>
                  </a:lnTo>
                  <a:lnTo>
                    <a:pt x="396" y="155"/>
                  </a:lnTo>
                  <a:lnTo>
                    <a:pt x="480" y="132"/>
                  </a:lnTo>
                  <a:lnTo>
                    <a:pt x="419" y="181"/>
                  </a:lnTo>
                  <a:lnTo>
                    <a:pt x="550" y="171"/>
                  </a:lnTo>
                  <a:lnTo>
                    <a:pt x="286" y="220"/>
                  </a:lnTo>
                  <a:lnTo>
                    <a:pt x="347" y="270"/>
                  </a:lnTo>
                  <a:lnTo>
                    <a:pt x="399" y="270"/>
                  </a:lnTo>
                  <a:lnTo>
                    <a:pt x="371" y="281"/>
                  </a:lnTo>
                  <a:lnTo>
                    <a:pt x="270" y="228"/>
                  </a:lnTo>
                  <a:lnTo>
                    <a:pt x="183" y="220"/>
                  </a:lnTo>
                  <a:lnTo>
                    <a:pt x="180" y="242"/>
                  </a:lnTo>
                  <a:lnTo>
                    <a:pt x="220" y="253"/>
                  </a:lnTo>
                  <a:lnTo>
                    <a:pt x="182" y="261"/>
                  </a:lnTo>
                  <a:lnTo>
                    <a:pt x="286" y="317"/>
                  </a:lnTo>
                  <a:lnTo>
                    <a:pt x="244" y="320"/>
                  </a:lnTo>
                  <a:lnTo>
                    <a:pt x="348" y="324"/>
                  </a:lnTo>
                  <a:lnTo>
                    <a:pt x="289" y="337"/>
                  </a:lnTo>
                  <a:lnTo>
                    <a:pt x="321" y="356"/>
                  </a:lnTo>
                  <a:lnTo>
                    <a:pt x="227" y="326"/>
                  </a:lnTo>
                  <a:lnTo>
                    <a:pt x="172" y="338"/>
                  </a:lnTo>
                  <a:lnTo>
                    <a:pt x="150" y="385"/>
                  </a:lnTo>
                  <a:lnTo>
                    <a:pt x="204" y="370"/>
                  </a:lnTo>
                  <a:lnTo>
                    <a:pt x="195" y="386"/>
                  </a:lnTo>
                  <a:lnTo>
                    <a:pt x="215" y="386"/>
                  </a:lnTo>
                  <a:lnTo>
                    <a:pt x="246" y="350"/>
                  </a:lnTo>
                  <a:lnTo>
                    <a:pt x="235" y="379"/>
                  </a:lnTo>
                  <a:lnTo>
                    <a:pt x="266" y="383"/>
                  </a:lnTo>
                  <a:lnTo>
                    <a:pt x="208" y="397"/>
                  </a:lnTo>
                  <a:lnTo>
                    <a:pt x="244" y="398"/>
                  </a:lnTo>
                  <a:lnTo>
                    <a:pt x="215" y="408"/>
                  </a:lnTo>
                  <a:lnTo>
                    <a:pt x="239" y="427"/>
                  </a:lnTo>
                  <a:lnTo>
                    <a:pt x="281" y="427"/>
                  </a:lnTo>
                  <a:lnTo>
                    <a:pt x="321" y="390"/>
                  </a:lnTo>
                  <a:lnTo>
                    <a:pt x="250" y="444"/>
                  </a:lnTo>
                  <a:lnTo>
                    <a:pt x="182" y="404"/>
                  </a:lnTo>
                  <a:lnTo>
                    <a:pt x="123" y="411"/>
                  </a:lnTo>
                  <a:lnTo>
                    <a:pt x="173" y="452"/>
                  </a:lnTo>
                  <a:lnTo>
                    <a:pt x="87" y="475"/>
                  </a:lnTo>
                  <a:lnTo>
                    <a:pt x="95" y="506"/>
                  </a:lnTo>
                  <a:lnTo>
                    <a:pt x="112" y="478"/>
                  </a:lnTo>
                  <a:lnTo>
                    <a:pt x="114" y="506"/>
                  </a:lnTo>
                  <a:lnTo>
                    <a:pt x="175" y="493"/>
                  </a:lnTo>
                  <a:lnTo>
                    <a:pt x="217" y="518"/>
                  </a:lnTo>
                  <a:lnTo>
                    <a:pt x="248" y="517"/>
                  </a:lnTo>
                  <a:lnTo>
                    <a:pt x="226" y="496"/>
                  </a:lnTo>
                  <a:lnTo>
                    <a:pt x="286" y="503"/>
                  </a:lnTo>
                  <a:lnTo>
                    <a:pt x="281" y="484"/>
                  </a:lnTo>
                  <a:lnTo>
                    <a:pt x="308" y="506"/>
                  </a:lnTo>
                  <a:lnTo>
                    <a:pt x="323" y="502"/>
                  </a:lnTo>
                  <a:lnTo>
                    <a:pt x="315" y="486"/>
                  </a:lnTo>
                  <a:lnTo>
                    <a:pt x="363" y="502"/>
                  </a:lnTo>
                  <a:lnTo>
                    <a:pt x="365" y="522"/>
                  </a:lnTo>
                  <a:lnTo>
                    <a:pt x="451" y="502"/>
                  </a:lnTo>
                  <a:lnTo>
                    <a:pt x="468" y="471"/>
                  </a:lnTo>
                  <a:lnTo>
                    <a:pt x="428" y="478"/>
                  </a:lnTo>
                  <a:lnTo>
                    <a:pt x="428" y="451"/>
                  </a:lnTo>
                  <a:lnTo>
                    <a:pt x="330" y="449"/>
                  </a:lnTo>
                  <a:lnTo>
                    <a:pt x="459" y="442"/>
                  </a:lnTo>
                  <a:lnTo>
                    <a:pt x="479" y="422"/>
                  </a:lnTo>
                  <a:lnTo>
                    <a:pt x="459" y="396"/>
                  </a:lnTo>
                  <a:lnTo>
                    <a:pt x="534" y="397"/>
                  </a:lnTo>
                  <a:lnTo>
                    <a:pt x="549" y="386"/>
                  </a:lnTo>
                  <a:lnTo>
                    <a:pt x="499" y="379"/>
                  </a:lnTo>
                  <a:lnTo>
                    <a:pt x="565" y="376"/>
                  </a:lnTo>
                  <a:lnTo>
                    <a:pt x="521" y="359"/>
                  </a:lnTo>
                  <a:lnTo>
                    <a:pt x="575" y="348"/>
                  </a:lnTo>
                  <a:lnTo>
                    <a:pt x="572" y="334"/>
                  </a:lnTo>
                  <a:lnTo>
                    <a:pt x="473" y="326"/>
                  </a:lnTo>
                  <a:lnTo>
                    <a:pt x="529" y="314"/>
                  </a:lnTo>
                  <a:lnTo>
                    <a:pt x="472" y="310"/>
                  </a:lnTo>
                  <a:lnTo>
                    <a:pt x="575" y="320"/>
                  </a:lnTo>
                  <a:lnTo>
                    <a:pt x="579" y="306"/>
                  </a:lnTo>
                  <a:lnTo>
                    <a:pt x="470" y="301"/>
                  </a:lnTo>
                  <a:lnTo>
                    <a:pt x="612" y="281"/>
                  </a:lnTo>
                  <a:lnTo>
                    <a:pt x="573" y="264"/>
                  </a:lnTo>
                  <a:lnTo>
                    <a:pt x="675" y="270"/>
                  </a:lnTo>
                  <a:lnTo>
                    <a:pt x="707" y="242"/>
                  </a:lnTo>
                  <a:lnTo>
                    <a:pt x="656" y="239"/>
                  </a:lnTo>
                  <a:lnTo>
                    <a:pt x="722" y="236"/>
                  </a:lnTo>
                  <a:lnTo>
                    <a:pt x="714" y="215"/>
                  </a:lnTo>
                  <a:lnTo>
                    <a:pt x="745" y="220"/>
                  </a:lnTo>
                  <a:lnTo>
                    <a:pt x="917" y="134"/>
                  </a:lnTo>
                  <a:lnTo>
                    <a:pt x="727" y="165"/>
                  </a:lnTo>
                  <a:lnTo>
                    <a:pt x="833" y="129"/>
                  </a:lnTo>
                  <a:lnTo>
                    <a:pt x="769" y="132"/>
                  </a:lnTo>
                  <a:lnTo>
                    <a:pt x="753" y="115"/>
                  </a:lnTo>
                  <a:lnTo>
                    <a:pt x="873" y="123"/>
                  </a:lnTo>
                  <a:lnTo>
                    <a:pt x="1026" y="79"/>
                  </a:lnTo>
                  <a:lnTo>
                    <a:pt x="1024" y="57"/>
                  </a:lnTo>
                  <a:lnTo>
                    <a:pt x="960" y="57"/>
                  </a:lnTo>
                  <a:lnTo>
                    <a:pt x="944" y="22"/>
                  </a:lnTo>
                  <a:lnTo>
                    <a:pt x="769" y="38"/>
                  </a:lnTo>
                  <a:lnTo>
                    <a:pt x="844" y="13"/>
                  </a:lnTo>
                  <a:lnTo>
                    <a:pt x="611" y="0"/>
                  </a:lnTo>
                  <a:lnTo>
                    <a:pt x="591" y="17"/>
                  </a:lnTo>
                  <a:lnTo>
                    <a:pt x="608" y="27"/>
                  </a:lnTo>
                  <a:lnTo>
                    <a:pt x="565" y="9"/>
                  </a:lnTo>
                  <a:lnTo>
                    <a:pt x="461" y="11"/>
                  </a:lnTo>
                  <a:lnTo>
                    <a:pt x="535" y="46"/>
                  </a:lnTo>
                  <a:lnTo>
                    <a:pt x="509" y="57"/>
                  </a:lnTo>
                  <a:lnTo>
                    <a:pt x="472" y="20"/>
                  </a:lnTo>
                  <a:lnTo>
                    <a:pt x="376" y="16"/>
                  </a:lnTo>
                  <a:lnTo>
                    <a:pt x="395" y="33"/>
                  </a:lnTo>
                  <a:lnTo>
                    <a:pt x="322" y="27"/>
                  </a:lnTo>
                  <a:lnTo>
                    <a:pt x="358" y="52"/>
                  </a:lnTo>
                  <a:lnTo>
                    <a:pt x="301" y="37"/>
                  </a:lnTo>
                  <a:lnTo>
                    <a:pt x="319" y="52"/>
                  </a:lnTo>
                  <a:lnTo>
                    <a:pt x="285" y="57"/>
                  </a:lnTo>
                  <a:lnTo>
                    <a:pt x="359" y="92"/>
                  </a:lnTo>
                  <a:lnTo>
                    <a:pt x="198" y="53"/>
                  </a:lnTo>
                  <a:lnTo>
                    <a:pt x="158" y="81"/>
                  </a:lnTo>
                  <a:lnTo>
                    <a:pt x="222" y="93"/>
                  </a:lnTo>
                  <a:lnTo>
                    <a:pt x="114" y="83"/>
                  </a:lnTo>
                  <a:lnTo>
                    <a:pt x="0" y="123"/>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7" name="30443221.375204.62538.375545">
              <a:extLst>
                <a:ext uri="{FF2B5EF4-FFF2-40B4-BE49-F238E27FC236}">
                  <a16:creationId xmlns:a16="http://schemas.microsoft.com/office/drawing/2014/main" id="{4CBB3ACF-0E67-46A2-901E-C0A67ED0E7E3}"/>
                </a:ext>
              </a:extLst>
            </p:cNvPr>
            <p:cNvSpPr>
              <a:spLocks noChangeAspect="1"/>
            </p:cNvSpPr>
            <p:nvPr/>
          </p:nvSpPr>
          <p:spPr bwMode="gray">
            <a:xfrm>
              <a:off x="2951832" y="1885385"/>
              <a:ext cx="867316" cy="620656"/>
            </a:xfrm>
            <a:custGeom>
              <a:avLst/>
              <a:gdLst/>
              <a:ahLst/>
              <a:cxnLst>
                <a:cxn ang="0">
                  <a:pos x="7" y="78"/>
                </a:cxn>
                <a:cxn ang="0">
                  <a:pos x="114" y="0"/>
                </a:cxn>
                <a:cxn ang="0">
                  <a:pos x="110" y="78"/>
                </a:cxn>
                <a:cxn ang="0">
                  <a:pos x="169" y="161"/>
                </a:cxn>
                <a:cxn ang="0">
                  <a:pos x="172" y="175"/>
                </a:cxn>
                <a:cxn ang="0">
                  <a:pos x="136" y="117"/>
                </a:cxn>
                <a:cxn ang="0">
                  <a:pos x="144" y="60"/>
                </a:cxn>
                <a:cxn ang="0">
                  <a:pos x="150" y="52"/>
                </a:cxn>
                <a:cxn ang="0">
                  <a:pos x="168" y="33"/>
                </a:cxn>
                <a:cxn ang="0">
                  <a:pos x="245" y="10"/>
                </a:cxn>
                <a:cxn ang="0">
                  <a:pos x="286" y="40"/>
                </a:cxn>
                <a:cxn ang="0">
                  <a:pos x="304" y="120"/>
                </a:cxn>
                <a:cxn ang="0">
                  <a:pos x="363" y="102"/>
                </a:cxn>
                <a:cxn ang="0">
                  <a:pos x="495" y="88"/>
                </a:cxn>
                <a:cxn ang="0">
                  <a:pos x="504" y="139"/>
                </a:cxn>
                <a:cxn ang="0">
                  <a:pos x="536" y="150"/>
                </a:cxn>
                <a:cxn ang="0">
                  <a:pos x="587" y="136"/>
                </a:cxn>
                <a:cxn ang="0">
                  <a:pos x="632" y="169"/>
                </a:cxn>
                <a:cxn ang="0">
                  <a:pos x="649" y="175"/>
                </a:cxn>
                <a:cxn ang="0">
                  <a:pos x="675" y="187"/>
                </a:cxn>
                <a:cxn ang="0">
                  <a:pos x="721" y="203"/>
                </a:cxn>
                <a:cxn ang="0">
                  <a:pos x="716" y="225"/>
                </a:cxn>
                <a:cxn ang="0">
                  <a:pos x="734" y="220"/>
                </a:cxn>
                <a:cxn ang="0">
                  <a:pos x="709" y="263"/>
                </a:cxn>
                <a:cxn ang="0">
                  <a:pos x="720" y="285"/>
                </a:cxn>
                <a:cxn ang="0">
                  <a:pos x="726" y="318"/>
                </a:cxn>
                <a:cxn ang="0">
                  <a:pos x="844" y="351"/>
                </a:cxn>
                <a:cxn ang="0">
                  <a:pos x="903" y="395"/>
                </a:cxn>
                <a:cxn ang="0">
                  <a:pos x="958" y="426"/>
                </a:cxn>
                <a:cxn ang="0">
                  <a:pos x="921" y="448"/>
                </a:cxn>
                <a:cxn ang="0">
                  <a:pos x="918" y="488"/>
                </a:cxn>
                <a:cxn ang="0">
                  <a:pos x="885" y="525"/>
                </a:cxn>
                <a:cxn ang="0">
                  <a:pos x="735" y="446"/>
                </a:cxn>
                <a:cxn ang="0">
                  <a:pos x="742" y="488"/>
                </a:cxn>
                <a:cxn ang="0">
                  <a:pos x="783" y="531"/>
                </a:cxn>
                <a:cxn ang="0">
                  <a:pos x="831" y="565"/>
                </a:cxn>
                <a:cxn ang="0">
                  <a:pos x="845" y="646"/>
                </a:cxn>
                <a:cxn ang="0">
                  <a:pos x="800" y="679"/>
                </a:cxn>
                <a:cxn ang="0">
                  <a:pos x="603" y="595"/>
                </a:cxn>
                <a:cxn ang="0">
                  <a:pos x="572" y="573"/>
                </a:cxn>
                <a:cxn ang="0">
                  <a:pos x="513" y="525"/>
                </a:cxn>
                <a:cxn ang="0">
                  <a:pos x="484" y="538"/>
                </a:cxn>
                <a:cxn ang="0">
                  <a:pos x="398" y="538"/>
                </a:cxn>
                <a:cxn ang="0">
                  <a:pos x="551" y="496"/>
                </a:cxn>
                <a:cxn ang="0">
                  <a:pos x="592" y="395"/>
                </a:cxn>
                <a:cxn ang="0">
                  <a:pos x="507" y="308"/>
                </a:cxn>
                <a:cxn ang="0">
                  <a:pos x="448" y="316"/>
                </a:cxn>
                <a:cxn ang="0">
                  <a:pos x="475" y="279"/>
                </a:cxn>
                <a:cxn ang="0">
                  <a:pos x="415" y="224"/>
                </a:cxn>
                <a:cxn ang="0">
                  <a:pos x="375" y="245"/>
                </a:cxn>
                <a:cxn ang="0">
                  <a:pos x="305" y="252"/>
                </a:cxn>
                <a:cxn ang="0">
                  <a:pos x="21" y="175"/>
                </a:cxn>
                <a:cxn ang="0">
                  <a:pos x="0" y="151"/>
                </a:cxn>
              </a:cxnLst>
              <a:rect l="0" t="0" r="r" b="b"/>
              <a:pathLst>
                <a:path w="958" h="679">
                  <a:moveTo>
                    <a:pt x="0" y="151"/>
                  </a:moveTo>
                  <a:lnTo>
                    <a:pt x="7" y="78"/>
                  </a:lnTo>
                  <a:lnTo>
                    <a:pt x="47" y="25"/>
                  </a:lnTo>
                  <a:lnTo>
                    <a:pt x="114" y="0"/>
                  </a:lnTo>
                  <a:lnTo>
                    <a:pt x="169" y="10"/>
                  </a:lnTo>
                  <a:lnTo>
                    <a:pt x="110" y="78"/>
                  </a:lnTo>
                  <a:lnTo>
                    <a:pt x="125" y="120"/>
                  </a:lnTo>
                  <a:lnTo>
                    <a:pt x="169" y="161"/>
                  </a:lnTo>
                  <a:lnTo>
                    <a:pt x="114" y="176"/>
                  </a:lnTo>
                  <a:lnTo>
                    <a:pt x="172" y="175"/>
                  </a:lnTo>
                  <a:lnTo>
                    <a:pt x="179" y="139"/>
                  </a:lnTo>
                  <a:lnTo>
                    <a:pt x="136" y="117"/>
                  </a:lnTo>
                  <a:lnTo>
                    <a:pt x="172" y="93"/>
                  </a:lnTo>
                  <a:lnTo>
                    <a:pt x="144" y="60"/>
                  </a:lnTo>
                  <a:lnTo>
                    <a:pt x="201" y="69"/>
                  </a:lnTo>
                  <a:lnTo>
                    <a:pt x="150" y="52"/>
                  </a:lnTo>
                  <a:lnTo>
                    <a:pt x="207" y="56"/>
                  </a:lnTo>
                  <a:lnTo>
                    <a:pt x="168" y="33"/>
                  </a:lnTo>
                  <a:lnTo>
                    <a:pt x="214" y="34"/>
                  </a:lnTo>
                  <a:lnTo>
                    <a:pt x="245" y="10"/>
                  </a:lnTo>
                  <a:lnTo>
                    <a:pt x="283" y="8"/>
                  </a:lnTo>
                  <a:lnTo>
                    <a:pt x="286" y="40"/>
                  </a:lnTo>
                  <a:lnTo>
                    <a:pt x="313" y="52"/>
                  </a:lnTo>
                  <a:lnTo>
                    <a:pt x="304" y="120"/>
                  </a:lnTo>
                  <a:lnTo>
                    <a:pt x="341" y="88"/>
                  </a:lnTo>
                  <a:lnTo>
                    <a:pt x="363" y="102"/>
                  </a:lnTo>
                  <a:lnTo>
                    <a:pt x="415" y="70"/>
                  </a:lnTo>
                  <a:lnTo>
                    <a:pt x="495" y="88"/>
                  </a:lnTo>
                  <a:lnTo>
                    <a:pt x="528" y="120"/>
                  </a:lnTo>
                  <a:lnTo>
                    <a:pt x="504" y="139"/>
                  </a:lnTo>
                  <a:lnTo>
                    <a:pt x="551" y="131"/>
                  </a:lnTo>
                  <a:lnTo>
                    <a:pt x="536" y="150"/>
                  </a:lnTo>
                  <a:lnTo>
                    <a:pt x="565" y="161"/>
                  </a:lnTo>
                  <a:lnTo>
                    <a:pt x="587" y="136"/>
                  </a:lnTo>
                  <a:lnTo>
                    <a:pt x="622" y="148"/>
                  </a:lnTo>
                  <a:lnTo>
                    <a:pt x="632" y="169"/>
                  </a:lnTo>
                  <a:lnTo>
                    <a:pt x="602" y="175"/>
                  </a:lnTo>
                  <a:lnTo>
                    <a:pt x="649" y="175"/>
                  </a:lnTo>
                  <a:lnTo>
                    <a:pt x="642" y="201"/>
                  </a:lnTo>
                  <a:lnTo>
                    <a:pt x="675" y="187"/>
                  </a:lnTo>
                  <a:lnTo>
                    <a:pt x="654" y="209"/>
                  </a:lnTo>
                  <a:lnTo>
                    <a:pt x="721" y="203"/>
                  </a:lnTo>
                  <a:lnTo>
                    <a:pt x="684" y="225"/>
                  </a:lnTo>
                  <a:lnTo>
                    <a:pt x="716" y="225"/>
                  </a:lnTo>
                  <a:lnTo>
                    <a:pt x="704" y="242"/>
                  </a:lnTo>
                  <a:lnTo>
                    <a:pt x="734" y="220"/>
                  </a:lnTo>
                  <a:lnTo>
                    <a:pt x="764" y="243"/>
                  </a:lnTo>
                  <a:lnTo>
                    <a:pt x="709" y="263"/>
                  </a:lnTo>
                  <a:lnTo>
                    <a:pt x="789" y="279"/>
                  </a:lnTo>
                  <a:lnTo>
                    <a:pt x="720" y="285"/>
                  </a:lnTo>
                  <a:lnTo>
                    <a:pt x="746" y="296"/>
                  </a:lnTo>
                  <a:lnTo>
                    <a:pt x="726" y="318"/>
                  </a:lnTo>
                  <a:lnTo>
                    <a:pt x="805" y="358"/>
                  </a:lnTo>
                  <a:lnTo>
                    <a:pt x="844" y="351"/>
                  </a:lnTo>
                  <a:lnTo>
                    <a:pt x="863" y="399"/>
                  </a:lnTo>
                  <a:lnTo>
                    <a:pt x="903" y="395"/>
                  </a:lnTo>
                  <a:lnTo>
                    <a:pt x="897" y="415"/>
                  </a:lnTo>
                  <a:lnTo>
                    <a:pt x="958" y="426"/>
                  </a:lnTo>
                  <a:lnTo>
                    <a:pt x="950" y="452"/>
                  </a:lnTo>
                  <a:lnTo>
                    <a:pt x="921" y="448"/>
                  </a:lnTo>
                  <a:lnTo>
                    <a:pt x="933" y="465"/>
                  </a:lnTo>
                  <a:lnTo>
                    <a:pt x="918" y="488"/>
                  </a:lnTo>
                  <a:lnTo>
                    <a:pt x="890" y="477"/>
                  </a:lnTo>
                  <a:lnTo>
                    <a:pt x="885" y="525"/>
                  </a:lnTo>
                  <a:lnTo>
                    <a:pt x="776" y="436"/>
                  </a:lnTo>
                  <a:lnTo>
                    <a:pt x="735" y="446"/>
                  </a:lnTo>
                  <a:lnTo>
                    <a:pt x="764" y="466"/>
                  </a:lnTo>
                  <a:lnTo>
                    <a:pt x="742" y="488"/>
                  </a:lnTo>
                  <a:lnTo>
                    <a:pt x="760" y="487"/>
                  </a:lnTo>
                  <a:lnTo>
                    <a:pt x="783" y="531"/>
                  </a:lnTo>
                  <a:lnTo>
                    <a:pt x="835" y="540"/>
                  </a:lnTo>
                  <a:lnTo>
                    <a:pt x="831" y="565"/>
                  </a:lnTo>
                  <a:lnTo>
                    <a:pt x="860" y="587"/>
                  </a:lnTo>
                  <a:lnTo>
                    <a:pt x="845" y="646"/>
                  </a:lnTo>
                  <a:lnTo>
                    <a:pt x="709" y="586"/>
                  </a:lnTo>
                  <a:lnTo>
                    <a:pt x="800" y="679"/>
                  </a:lnTo>
                  <a:lnTo>
                    <a:pt x="628" y="627"/>
                  </a:lnTo>
                  <a:lnTo>
                    <a:pt x="603" y="595"/>
                  </a:lnTo>
                  <a:lnTo>
                    <a:pt x="627" y="593"/>
                  </a:lnTo>
                  <a:lnTo>
                    <a:pt x="572" y="573"/>
                  </a:lnTo>
                  <a:lnTo>
                    <a:pt x="555" y="538"/>
                  </a:lnTo>
                  <a:lnTo>
                    <a:pt x="513" y="525"/>
                  </a:lnTo>
                  <a:lnTo>
                    <a:pt x="510" y="550"/>
                  </a:lnTo>
                  <a:lnTo>
                    <a:pt x="484" y="538"/>
                  </a:lnTo>
                  <a:lnTo>
                    <a:pt x="447" y="561"/>
                  </a:lnTo>
                  <a:lnTo>
                    <a:pt x="398" y="538"/>
                  </a:lnTo>
                  <a:lnTo>
                    <a:pt x="425" y="496"/>
                  </a:lnTo>
                  <a:lnTo>
                    <a:pt x="551" y="496"/>
                  </a:lnTo>
                  <a:lnTo>
                    <a:pt x="521" y="455"/>
                  </a:lnTo>
                  <a:lnTo>
                    <a:pt x="592" y="395"/>
                  </a:lnTo>
                  <a:lnTo>
                    <a:pt x="541" y="315"/>
                  </a:lnTo>
                  <a:lnTo>
                    <a:pt x="507" y="308"/>
                  </a:lnTo>
                  <a:lnTo>
                    <a:pt x="526" y="294"/>
                  </a:lnTo>
                  <a:lnTo>
                    <a:pt x="448" y="316"/>
                  </a:lnTo>
                  <a:lnTo>
                    <a:pt x="447" y="293"/>
                  </a:lnTo>
                  <a:lnTo>
                    <a:pt x="475" y="279"/>
                  </a:lnTo>
                  <a:lnTo>
                    <a:pt x="416" y="249"/>
                  </a:lnTo>
                  <a:lnTo>
                    <a:pt x="415" y="224"/>
                  </a:lnTo>
                  <a:lnTo>
                    <a:pt x="361" y="212"/>
                  </a:lnTo>
                  <a:lnTo>
                    <a:pt x="375" y="245"/>
                  </a:lnTo>
                  <a:lnTo>
                    <a:pt x="282" y="232"/>
                  </a:lnTo>
                  <a:lnTo>
                    <a:pt x="305" y="252"/>
                  </a:lnTo>
                  <a:lnTo>
                    <a:pt x="63" y="219"/>
                  </a:lnTo>
                  <a:lnTo>
                    <a:pt x="21" y="175"/>
                  </a:lnTo>
                  <a:lnTo>
                    <a:pt x="96" y="177"/>
                  </a:lnTo>
                  <a:lnTo>
                    <a:pt x="0" y="151"/>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8" name="30444247.875210.1258.37512.55">
              <a:extLst>
                <a:ext uri="{FF2B5EF4-FFF2-40B4-BE49-F238E27FC236}">
                  <a16:creationId xmlns:a16="http://schemas.microsoft.com/office/drawing/2014/main" id="{4392E46F-B823-4A3E-8B55-919B14C227E1}"/>
                </a:ext>
              </a:extLst>
            </p:cNvPr>
            <p:cNvSpPr>
              <a:spLocks noChangeAspect="1"/>
            </p:cNvSpPr>
            <p:nvPr/>
          </p:nvSpPr>
          <p:spPr bwMode="gray">
            <a:xfrm>
              <a:off x="3041226" y="2314296"/>
              <a:ext cx="199713" cy="136239"/>
            </a:xfrm>
            <a:custGeom>
              <a:avLst/>
              <a:gdLst/>
              <a:ahLst/>
              <a:cxnLst>
                <a:cxn ang="0">
                  <a:pos x="0" y="121"/>
                </a:cxn>
                <a:cxn ang="0">
                  <a:pos x="33" y="92"/>
                </a:cxn>
                <a:cxn ang="0">
                  <a:pos x="54" y="0"/>
                </a:cxn>
                <a:cxn ang="0">
                  <a:pos x="73" y="33"/>
                </a:cxn>
                <a:cxn ang="0">
                  <a:pos x="124" y="41"/>
                </a:cxn>
                <a:cxn ang="0">
                  <a:pos x="223" y="109"/>
                </a:cxn>
                <a:cxn ang="0">
                  <a:pos x="209" y="132"/>
                </a:cxn>
                <a:cxn ang="0">
                  <a:pos x="120" y="100"/>
                </a:cxn>
                <a:cxn ang="0">
                  <a:pos x="65" y="148"/>
                </a:cxn>
                <a:cxn ang="0">
                  <a:pos x="51" y="109"/>
                </a:cxn>
                <a:cxn ang="0">
                  <a:pos x="0" y="121"/>
                </a:cxn>
              </a:cxnLst>
              <a:rect l="0" t="0" r="r" b="b"/>
              <a:pathLst>
                <a:path w="223" h="148">
                  <a:moveTo>
                    <a:pt x="0" y="121"/>
                  </a:moveTo>
                  <a:lnTo>
                    <a:pt x="33" y="92"/>
                  </a:lnTo>
                  <a:lnTo>
                    <a:pt x="54" y="0"/>
                  </a:lnTo>
                  <a:lnTo>
                    <a:pt x="73" y="33"/>
                  </a:lnTo>
                  <a:lnTo>
                    <a:pt x="124" y="41"/>
                  </a:lnTo>
                  <a:lnTo>
                    <a:pt x="223" y="109"/>
                  </a:lnTo>
                  <a:lnTo>
                    <a:pt x="209" y="132"/>
                  </a:lnTo>
                  <a:lnTo>
                    <a:pt x="120" y="100"/>
                  </a:lnTo>
                  <a:lnTo>
                    <a:pt x="65" y="148"/>
                  </a:lnTo>
                  <a:lnTo>
                    <a:pt x="51" y="109"/>
                  </a:lnTo>
                  <a:lnTo>
                    <a:pt x="0" y="121"/>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9" name="30445287.375262.6251212.6255">
              <a:extLst>
                <a:ext uri="{FF2B5EF4-FFF2-40B4-BE49-F238E27FC236}">
                  <a16:creationId xmlns:a16="http://schemas.microsoft.com/office/drawing/2014/main" id="{C368BC91-4817-40B3-AE72-C039AB90B766}"/>
                </a:ext>
              </a:extLst>
            </p:cNvPr>
            <p:cNvSpPr>
              <a:spLocks noChangeAspect="1"/>
            </p:cNvSpPr>
            <p:nvPr/>
          </p:nvSpPr>
          <p:spPr bwMode="gray">
            <a:xfrm>
              <a:off x="3883815" y="2951769"/>
              <a:ext cx="201614" cy="196794"/>
            </a:xfrm>
            <a:custGeom>
              <a:avLst/>
              <a:gdLst/>
              <a:ahLst/>
              <a:cxnLst>
                <a:cxn ang="0">
                  <a:pos x="0" y="168"/>
                </a:cxn>
                <a:cxn ang="0">
                  <a:pos x="92" y="11"/>
                </a:cxn>
                <a:cxn ang="0">
                  <a:pos x="127" y="0"/>
                </a:cxn>
                <a:cxn ang="0">
                  <a:pos x="85" y="84"/>
                </a:cxn>
                <a:cxn ang="0">
                  <a:pos x="114" y="65"/>
                </a:cxn>
                <a:cxn ang="0">
                  <a:pos x="133" y="100"/>
                </a:cxn>
                <a:cxn ang="0">
                  <a:pos x="192" y="100"/>
                </a:cxn>
                <a:cxn ang="0">
                  <a:pos x="180" y="133"/>
                </a:cxn>
                <a:cxn ang="0">
                  <a:pos x="210" y="131"/>
                </a:cxn>
                <a:cxn ang="0">
                  <a:pos x="189" y="165"/>
                </a:cxn>
                <a:cxn ang="0">
                  <a:pos x="217" y="146"/>
                </a:cxn>
                <a:cxn ang="0">
                  <a:pos x="224" y="179"/>
                </a:cxn>
                <a:cxn ang="0">
                  <a:pos x="195" y="215"/>
                </a:cxn>
                <a:cxn ang="0">
                  <a:pos x="192" y="188"/>
                </a:cxn>
                <a:cxn ang="0">
                  <a:pos x="178" y="202"/>
                </a:cxn>
                <a:cxn ang="0">
                  <a:pos x="178" y="161"/>
                </a:cxn>
                <a:cxn ang="0">
                  <a:pos x="123" y="202"/>
                </a:cxn>
                <a:cxn ang="0">
                  <a:pos x="155" y="175"/>
                </a:cxn>
                <a:cxn ang="0">
                  <a:pos x="109" y="179"/>
                </a:cxn>
                <a:cxn ang="0">
                  <a:pos x="120" y="162"/>
                </a:cxn>
                <a:cxn ang="0">
                  <a:pos x="0" y="168"/>
                </a:cxn>
              </a:cxnLst>
              <a:rect l="0" t="0" r="r" b="b"/>
              <a:pathLst>
                <a:path w="224" h="215">
                  <a:moveTo>
                    <a:pt x="0" y="168"/>
                  </a:moveTo>
                  <a:lnTo>
                    <a:pt x="92" y="11"/>
                  </a:lnTo>
                  <a:lnTo>
                    <a:pt x="127" y="0"/>
                  </a:lnTo>
                  <a:lnTo>
                    <a:pt x="85" y="84"/>
                  </a:lnTo>
                  <a:lnTo>
                    <a:pt x="114" y="65"/>
                  </a:lnTo>
                  <a:lnTo>
                    <a:pt x="133" y="100"/>
                  </a:lnTo>
                  <a:lnTo>
                    <a:pt x="192" y="100"/>
                  </a:lnTo>
                  <a:lnTo>
                    <a:pt x="180" y="133"/>
                  </a:lnTo>
                  <a:lnTo>
                    <a:pt x="210" y="131"/>
                  </a:lnTo>
                  <a:lnTo>
                    <a:pt x="189" y="165"/>
                  </a:lnTo>
                  <a:lnTo>
                    <a:pt x="217" y="146"/>
                  </a:lnTo>
                  <a:lnTo>
                    <a:pt x="224" y="179"/>
                  </a:lnTo>
                  <a:lnTo>
                    <a:pt x="195" y="215"/>
                  </a:lnTo>
                  <a:lnTo>
                    <a:pt x="192" y="188"/>
                  </a:lnTo>
                  <a:lnTo>
                    <a:pt x="178" y="202"/>
                  </a:lnTo>
                  <a:lnTo>
                    <a:pt x="178" y="161"/>
                  </a:lnTo>
                  <a:lnTo>
                    <a:pt x="123" y="202"/>
                  </a:lnTo>
                  <a:lnTo>
                    <a:pt x="155" y="175"/>
                  </a:lnTo>
                  <a:lnTo>
                    <a:pt x="109" y="179"/>
                  </a:lnTo>
                  <a:lnTo>
                    <a:pt x="120" y="162"/>
                  </a:lnTo>
                  <a:lnTo>
                    <a:pt x="0" y="168"/>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30" name="30448372.75212.8755.1255.8755">
              <a:extLst>
                <a:ext uri="{FF2B5EF4-FFF2-40B4-BE49-F238E27FC236}">
                  <a16:creationId xmlns:a16="http://schemas.microsoft.com/office/drawing/2014/main" id="{CF036C72-7F6A-48A7-8D20-22147CD13A4D}"/>
                </a:ext>
              </a:extLst>
            </p:cNvPr>
            <p:cNvSpPr>
              <a:spLocks noChangeAspect="1"/>
            </p:cNvSpPr>
            <p:nvPr/>
          </p:nvSpPr>
          <p:spPr bwMode="gray">
            <a:xfrm>
              <a:off x="3084970" y="4334369"/>
              <a:ext cx="95099" cy="84099"/>
            </a:xfrm>
            <a:custGeom>
              <a:avLst/>
              <a:gdLst/>
              <a:ahLst/>
              <a:cxnLst>
                <a:cxn ang="0">
                  <a:pos x="0" y="0"/>
                </a:cxn>
                <a:cxn ang="0">
                  <a:pos x="1" y="34"/>
                </a:cxn>
                <a:cxn ang="0">
                  <a:pos x="23" y="29"/>
                </a:cxn>
                <a:cxn ang="0">
                  <a:pos x="89" y="89"/>
                </a:cxn>
                <a:cxn ang="0">
                  <a:pos x="104" y="44"/>
                </a:cxn>
                <a:cxn ang="0">
                  <a:pos x="69" y="3"/>
                </a:cxn>
                <a:cxn ang="0">
                  <a:pos x="0" y="0"/>
                </a:cxn>
              </a:cxnLst>
              <a:rect l="0" t="0" r="r" b="b"/>
              <a:pathLst>
                <a:path w="104" h="89">
                  <a:moveTo>
                    <a:pt x="0" y="0"/>
                  </a:moveTo>
                  <a:lnTo>
                    <a:pt x="1" y="34"/>
                  </a:lnTo>
                  <a:lnTo>
                    <a:pt x="23" y="29"/>
                  </a:lnTo>
                  <a:lnTo>
                    <a:pt x="89" y="89"/>
                  </a:lnTo>
                  <a:lnTo>
                    <a:pt x="104" y="44"/>
                  </a:lnTo>
                  <a:lnTo>
                    <a:pt x="69" y="3"/>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31" name="30449349.375214.256.37520.3755">
              <a:extLst>
                <a:ext uri="{FF2B5EF4-FFF2-40B4-BE49-F238E27FC236}">
                  <a16:creationId xmlns:a16="http://schemas.microsoft.com/office/drawing/2014/main" id="{DD8E7F51-2007-48AB-9B3C-19A0BD81C6A4}"/>
                </a:ext>
              </a:extLst>
            </p:cNvPr>
            <p:cNvSpPr>
              <a:spLocks noChangeAspect="1"/>
            </p:cNvSpPr>
            <p:nvPr/>
          </p:nvSpPr>
          <p:spPr bwMode="gray">
            <a:xfrm>
              <a:off x="3107797" y="3957602"/>
              <a:ext cx="325241" cy="104285"/>
            </a:xfrm>
            <a:custGeom>
              <a:avLst/>
              <a:gdLst/>
              <a:ahLst/>
              <a:cxnLst>
                <a:cxn ang="0">
                  <a:pos x="0" y="44"/>
                </a:cxn>
                <a:cxn ang="0">
                  <a:pos x="48" y="5"/>
                </a:cxn>
                <a:cxn ang="0">
                  <a:pos x="140" y="0"/>
                </a:cxn>
                <a:cxn ang="0">
                  <a:pos x="358" y="96"/>
                </a:cxn>
                <a:cxn ang="0">
                  <a:pos x="242" y="113"/>
                </a:cxn>
                <a:cxn ang="0">
                  <a:pos x="262" y="91"/>
                </a:cxn>
                <a:cxn ang="0">
                  <a:pos x="206" y="55"/>
                </a:cxn>
                <a:cxn ang="0">
                  <a:pos x="97" y="34"/>
                </a:cxn>
                <a:cxn ang="0">
                  <a:pos x="103" y="18"/>
                </a:cxn>
                <a:cxn ang="0">
                  <a:pos x="0" y="44"/>
                </a:cxn>
              </a:cxnLst>
              <a:rect l="0" t="0" r="r" b="b"/>
              <a:pathLst>
                <a:path w="358" h="113">
                  <a:moveTo>
                    <a:pt x="0" y="44"/>
                  </a:moveTo>
                  <a:lnTo>
                    <a:pt x="48" y="5"/>
                  </a:lnTo>
                  <a:lnTo>
                    <a:pt x="140" y="0"/>
                  </a:lnTo>
                  <a:lnTo>
                    <a:pt x="358" y="96"/>
                  </a:lnTo>
                  <a:lnTo>
                    <a:pt x="242" y="113"/>
                  </a:lnTo>
                  <a:lnTo>
                    <a:pt x="262" y="91"/>
                  </a:lnTo>
                  <a:lnTo>
                    <a:pt x="206" y="55"/>
                  </a:lnTo>
                  <a:lnTo>
                    <a:pt x="97" y="34"/>
                  </a:lnTo>
                  <a:lnTo>
                    <a:pt x="103" y="18"/>
                  </a:lnTo>
                  <a:lnTo>
                    <a:pt x="0" y="4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32" name="30453355.75239.1253.6256.255">
              <a:extLst>
                <a:ext uri="{FF2B5EF4-FFF2-40B4-BE49-F238E27FC236}">
                  <a16:creationId xmlns:a16="http://schemas.microsoft.com/office/drawing/2014/main" id="{95634833-8CB1-484B-BC08-316240BF6DC0}"/>
                </a:ext>
              </a:extLst>
            </p:cNvPr>
            <p:cNvSpPr>
              <a:spLocks noChangeAspect="1"/>
            </p:cNvSpPr>
            <p:nvPr/>
          </p:nvSpPr>
          <p:spPr bwMode="gray">
            <a:xfrm>
              <a:off x="3507219" y="4061884"/>
              <a:ext cx="100805" cy="55506"/>
            </a:xfrm>
            <a:custGeom>
              <a:avLst/>
              <a:gdLst/>
              <a:ahLst/>
              <a:cxnLst>
                <a:cxn ang="0">
                  <a:pos x="0" y="0"/>
                </a:cxn>
                <a:cxn ang="0">
                  <a:pos x="0" y="63"/>
                </a:cxn>
                <a:cxn ang="0">
                  <a:pos x="113" y="42"/>
                </a:cxn>
                <a:cxn ang="0">
                  <a:pos x="63" y="6"/>
                </a:cxn>
                <a:cxn ang="0">
                  <a:pos x="0" y="0"/>
                </a:cxn>
              </a:cxnLst>
              <a:rect l="0" t="0" r="r" b="b"/>
              <a:pathLst>
                <a:path w="113" h="63">
                  <a:moveTo>
                    <a:pt x="0" y="0"/>
                  </a:moveTo>
                  <a:lnTo>
                    <a:pt x="0" y="63"/>
                  </a:lnTo>
                  <a:lnTo>
                    <a:pt x="113" y="42"/>
                  </a:lnTo>
                  <a:lnTo>
                    <a:pt x="63" y="6"/>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33" name="30454366.125204.62524.55">
              <a:extLst>
                <a:ext uri="{FF2B5EF4-FFF2-40B4-BE49-F238E27FC236}">
                  <a16:creationId xmlns:a16="http://schemas.microsoft.com/office/drawing/2014/main" id="{3747D0F3-EACD-4640-9A2D-26D62C0E37C1}"/>
                </a:ext>
              </a:extLst>
            </p:cNvPr>
            <p:cNvSpPr>
              <a:spLocks noChangeAspect="1"/>
            </p:cNvSpPr>
            <p:nvPr/>
          </p:nvSpPr>
          <p:spPr bwMode="gray">
            <a:xfrm>
              <a:off x="2951832" y="4228404"/>
              <a:ext cx="74177" cy="31958"/>
            </a:xfrm>
            <a:custGeom>
              <a:avLst/>
              <a:gdLst/>
              <a:ahLst/>
              <a:cxnLst>
                <a:cxn ang="0">
                  <a:pos x="0" y="26"/>
                </a:cxn>
                <a:cxn ang="0">
                  <a:pos x="22" y="0"/>
                </a:cxn>
                <a:cxn ang="0">
                  <a:pos x="77" y="34"/>
                </a:cxn>
                <a:cxn ang="0">
                  <a:pos x="0" y="26"/>
                </a:cxn>
              </a:cxnLst>
              <a:rect l="0" t="0" r="r" b="b"/>
              <a:pathLst>
                <a:path w="77" h="34">
                  <a:moveTo>
                    <a:pt x="0" y="26"/>
                  </a:moveTo>
                  <a:lnTo>
                    <a:pt x="22" y="0"/>
                  </a:lnTo>
                  <a:lnTo>
                    <a:pt x="77" y="34"/>
                  </a:lnTo>
                  <a:lnTo>
                    <a:pt x="0" y="26"/>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34" name="30455499259.6251.62535">
              <a:extLst>
                <a:ext uri="{FF2B5EF4-FFF2-40B4-BE49-F238E27FC236}">
                  <a16:creationId xmlns:a16="http://schemas.microsoft.com/office/drawing/2014/main" id="{B3267026-9147-4E27-93AE-C3EC92BB5F37}"/>
                </a:ext>
              </a:extLst>
            </p:cNvPr>
            <p:cNvSpPr>
              <a:spLocks noChangeAspect="1"/>
            </p:cNvSpPr>
            <p:nvPr/>
          </p:nvSpPr>
          <p:spPr bwMode="gray">
            <a:xfrm>
              <a:off x="3836265" y="6379671"/>
              <a:ext cx="47550" cy="26912"/>
            </a:xfrm>
            <a:custGeom>
              <a:avLst/>
              <a:gdLst/>
              <a:ahLst/>
              <a:cxnLst>
                <a:cxn ang="0">
                  <a:pos x="0" y="29"/>
                </a:cxn>
                <a:cxn ang="0">
                  <a:pos x="30" y="14"/>
                </a:cxn>
                <a:cxn ang="0">
                  <a:pos x="15" y="0"/>
                </a:cxn>
                <a:cxn ang="0">
                  <a:pos x="51" y="3"/>
                </a:cxn>
                <a:cxn ang="0">
                  <a:pos x="0" y="29"/>
                </a:cxn>
              </a:cxnLst>
              <a:rect l="0" t="0" r="r" b="b"/>
              <a:pathLst>
                <a:path w="51" h="29">
                  <a:moveTo>
                    <a:pt x="0" y="29"/>
                  </a:moveTo>
                  <a:lnTo>
                    <a:pt x="30" y="14"/>
                  </a:lnTo>
                  <a:lnTo>
                    <a:pt x="15" y="0"/>
                  </a:lnTo>
                  <a:lnTo>
                    <a:pt x="51" y="3"/>
                  </a:lnTo>
                  <a:lnTo>
                    <a:pt x="0" y="2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35" name="30456498.87526223.3755">
              <a:extLst>
                <a:ext uri="{FF2B5EF4-FFF2-40B4-BE49-F238E27FC236}">
                  <a16:creationId xmlns:a16="http://schemas.microsoft.com/office/drawing/2014/main" id="{8136BBA2-E3E1-4F16-9F0F-565103E38A1E}"/>
                </a:ext>
              </a:extLst>
            </p:cNvPr>
            <p:cNvSpPr>
              <a:spLocks noChangeAspect="1"/>
            </p:cNvSpPr>
            <p:nvPr/>
          </p:nvSpPr>
          <p:spPr bwMode="gray">
            <a:xfrm>
              <a:off x="3874304" y="6376309"/>
              <a:ext cx="53255" cy="33639"/>
            </a:xfrm>
            <a:custGeom>
              <a:avLst/>
              <a:gdLst/>
              <a:ahLst/>
              <a:cxnLst>
                <a:cxn ang="0">
                  <a:pos x="0" y="35"/>
                </a:cxn>
                <a:cxn ang="0">
                  <a:pos x="27" y="0"/>
                </a:cxn>
                <a:cxn ang="0">
                  <a:pos x="60" y="12"/>
                </a:cxn>
                <a:cxn ang="0">
                  <a:pos x="0" y="35"/>
                </a:cxn>
              </a:cxnLst>
              <a:rect l="0" t="0" r="r" b="b"/>
              <a:pathLst>
                <a:path w="60" h="35">
                  <a:moveTo>
                    <a:pt x="0" y="35"/>
                  </a:moveTo>
                  <a:lnTo>
                    <a:pt x="27" y="0"/>
                  </a:lnTo>
                  <a:lnTo>
                    <a:pt x="60" y="12"/>
                  </a:lnTo>
                  <a:lnTo>
                    <a:pt x="0" y="3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36" name="30460383271.8756.55.55">
              <a:extLst>
                <a:ext uri="{FF2B5EF4-FFF2-40B4-BE49-F238E27FC236}">
                  <a16:creationId xmlns:a16="http://schemas.microsoft.com/office/drawing/2014/main" id="{D478B391-89F9-48A9-A34A-F1288E1252FC}"/>
                </a:ext>
              </a:extLst>
            </p:cNvPr>
            <p:cNvSpPr>
              <a:spLocks noChangeAspect="1"/>
            </p:cNvSpPr>
            <p:nvPr/>
          </p:nvSpPr>
          <p:spPr bwMode="gray">
            <a:xfrm>
              <a:off x="4032173" y="4500886"/>
              <a:ext cx="87493" cy="107646"/>
            </a:xfrm>
            <a:custGeom>
              <a:avLst/>
              <a:gdLst/>
              <a:ahLst/>
              <a:cxnLst>
                <a:cxn ang="0">
                  <a:pos x="0" y="110"/>
                </a:cxn>
                <a:cxn ang="0">
                  <a:pos x="14" y="0"/>
                </a:cxn>
                <a:cxn ang="0">
                  <a:pos x="96" y="49"/>
                </a:cxn>
                <a:cxn ang="0">
                  <a:pos x="47" y="114"/>
                </a:cxn>
                <a:cxn ang="0">
                  <a:pos x="0" y="110"/>
                </a:cxn>
              </a:cxnLst>
              <a:rect l="0" t="0" r="r" b="b"/>
              <a:pathLst>
                <a:path w="96" h="114">
                  <a:moveTo>
                    <a:pt x="0" y="110"/>
                  </a:moveTo>
                  <a:lnTo>
                    <a:pt x="14" y="0"/>
                  </a:lnTo>
                  <a:lnTo>
                    <a:pt x="96" y="49"/>
                  </a:lnTo>
                  <a:lnTo>
                    <a:pt x="47" y="114"/>
                  </a:lnTo>
                  <a:lnTo>
                    <a:pt x="0" y="11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37" name="30464181.25236.87583.625114.55">
              <a:extLst>
                <a:ext uri="{FF2B5EF4-FFF2-40B4-BE49-F238E27FC236}">
                  <a16:creationId xmlns:a16="http://schemas.microsoft.com/office/drawing/2014/main" id="{10284F9C-A864-4CED-AD9B-C463094DEE7B}"/>
                </a:ext>
              </a:extLst>
            </p:cNvPr>
            <p:cNvSpPr>
              <a:spLocks noChangeAspect="1"/>
            </p:cNvSpPr>
            <p:nvPr/>
          </p:nvSpPr>
          <p:spPr bwMode="gray">
            <a:xfrm>
              <a:off x="3471081" y="1234455"/>
              <a:ext cx="1835437" cy="1355688"/>
            </a:xfrm>
            <a:custGeom>
              <a:avLst/>
              <a:gdLst/>
              <a:ahLst/>
              <a:cxnLst>
                <a:cxn ang="0">
                  <a:pos x="226" y="350"/>
                </a:cxn>
                <a:cxn ang="0">
                  <a:pos x="263" y="287"/>
                </a:cxn>
                <a:cxn ang="0">
                  <a:pos x="176" y="256"/>
                </a:cxn>
                <a:cxn ang="0">
                  <a:pos x="378" y="140"/>
                </a:cxn>
                <a:cxn ang="0">
                  <a:pos x="585" y="96"/>
                </a:cxn>
                <a:cxn ang="0">
                  <a:pos x="746" y="152"/>
                </a:cxn>
                <a:cxn ang="0">
                  <a:pos x="706" y="88"/>
                </a:cxn>
                <a:cxn ang="0">
                  <a:pos x="951" y="122"/>
                </a:cxn>
                <a:cxn ang="0">
                  <a:pos x="1074" y="88"/>
                </a:cxn>
                <a:cxn ang="0">
                  <a:pos x="889" y="33"/>
                </a:cxn>
                <a:cxn ang="0">
                  <a:pos x="1111" y="63"/>
                </a:cxn>
                <a:cxn ang="0">
                  <a:pos x="1105" y="8"/>
                </a:cxn>
                <a:cxn ang="0">
                  <a:pos x="1529" y="29"/>
                </a:cxn>
                <a:cxn ang="0">
                  <a:pos x="1564" y="33"/>
                </a:cxn>
                <a:cxn ang="0">
                  <a:pos x="1704" y="80"/>
                </a:cxn>
                <a:cxn ang="0">
                  <a:pos x="1297" y="139"/>
                </a:cxn>
                <a:cxn ang="0">
                  <a:pos x="1513" y="170"/>
                </a:cxn>
                <a:cxn ang="0">
                  <a:pos x="1756" y="157"/>
                </a:cxn>
                <a:cxn ang="0">
                  <a:pos x="1929" y="133"/>
                </a:cxn>
                <a:cxn ang="0">
                  <a:pos x="1717" y="239"/>
                </a:cxn>
                <a:cxn ang="0">
                  <a:pos x="1855" y="275"/>
                </a:cxn>
                <a:cxn ang="0">
                  <a:pos x="1731" y="373"/>
                </a:cxn>
                <a:cxn ang="0">
                  <a:pos x="1748" y="448"/>
                </a:cxn>
                <a:cxn ang="0">
                  <a:pos x="1712" y="502"/>
                </a:cxn>
                <a:cxn ang="0">
                  <a:pos x="1771" y="554"/>
                </a:cxn>
                <a:cxn ang="0">
                  <a:pos x="1696" y="604"/>
                </a:cxn>
                <a:cxn ang="0">
                  <a:pos x="1735" y="660"/>
                </a:cxn>
                <a:cxn ang="0">
                  <a:pos x="1756" y="710"/>
                </a:cxn>
                <a:cxn ang="0">
                  <a:pos x="1537" y="745"/>
                </a:cxn>
                <a:cxn ang="0">
                  <a:pos x="1584" y="822"/>
                </a:cxn>
                <a:cxn ang="0">
                  <a:pos x="1700" y="846"/>
                </a:cxn>
                <a:cxn ang="0">
                  <a:pos x="1682" y="899"/>
                </a:cxn>
                <a:cxn ang="0">
                  <a:pos x="1514" y="840"/>
                </a:cxn>
                <a:cxn ang="0">
                  <a:pos x="1550" y="930"/>
                </a:cxn>
                <a:cxn ang="0">
                  <a:pos x="1555" y="1026"/>
                </a:cxn>
                <a:cxn ang="0">
                  <a:pos x="1364" y="1060"/>
                </a:cxn>
                <a:cxn ang="0">
                  <a:pos x="1230" y="1180"/>
                </a:cxn>
                <a:cxn ang="0">
                  <a:pos x="1171" y="1157"/>
                </a:cxn>
                <a:cxn ang="0">
                  <a:pos x="1059" y="1235"/>
                </a:cxn>
                <a:cxn ang="0">
                  <a:pos x="1052" y="1295"/>
                </a:cxn>
                <a:cxn ang="0">
                  <a:pos x="1048" y="1342"/>
                </a:cxn>
                <a:cxn ang="0">
                  <a:pos x="977" y="1461"/>
                </a:cxn>
                <a:cxn ang="0">
                  <a:pos x="828" y="1447"/>
                </a:cxn>
                <a:cxn ang="0">
                  <a:pos x="790" y="1412"/>
                </a:cxn>
                <a:cxn ang="0">
                  <a:pos x="718" y="1276"/>
                </a:cxn>
                <a:cxn ang="0">
                  <a:pos x="698" y="1209"/>
                </a:cxn>
                <a:cxn ang="0">
                  <a:pos x="676" y="1063"/>
                </a:cxn>
                <a:cxn ang="0">
                  <a:pos x="672" y="1042"/>
                </a:cxn>
                <a:cxn ang="0">
                  <a:pos x="687" y="946"/>
                </a:cxn>
                <a:cxn ang="0">
                  <a:pos x="746" y="908"/>
                </a:cxn>
                <a:cxn ang="0">
                  <a:pos x="702" y="861"/>
                </a:cxn>
                <a:cxn ang="0">
                  <a:pos x="635" y="861"/>
                </a:cxn>
                <a:cxn ang="0">
                  <a:pos x="582" y="828"/>
                </a:cxn>
                <a:cxn ang="0">
                  <a:pos x="540" y="671"/>
                </a:cxn>
                <a:cxn ang="0">
                  <a:pos x="402" y="560"/>
                </a:cxn>
                <a:cxn ang="0">
                  <a:pos x="222" y="575"/>
                </a:cxn>
                <a:cxn ang="0">
                  <a:pos x="50" y="502"/>
                </a:cxn>
                <a:cxn ang="0">
                  <a:pos x="220" y="469"/>
                </a:cxn>
              </a:cxnLst>
              <a:rect l="0" t="0" r="r" b="b"/>
              <a:pathLst>
                <a:path w="2028" h="1481">
                  <a:moveTo>
                    <a:pt x="0" y="415"/>
                  </a:moveTo>
                  <a:lnTo>
                    <a:pt x="11" y="393"/>
                  </a:lnTo>
                  <a:lnTo>
                    <a:pt x="143" y="350"/>
                  </a:lnTo>
                  <a:lnTo>
                    <a:pt x="226" y="350"/>
                  </a:lnTo>
                  <a:lnTo>
                    <a:pt x="273" y="317"/>
                  </a:lnTo>
                  <a:lnTo>
                    <a:pt x="259" y="306"/>
                  </a:lnTo>
                  <a:lnTo>
                    <a:pt x="288" y="295"/>
                  </a:lnTo>
                  <a:lnTo>
                    <a:pt x="263" y="287"/>
                  </a:lnTo>
                  <a:lnTo>
                    <a:pt x="309" y="273"/>
                  </a:lnTo>
                  <a:lnTo>
                    <a:pt x="292" y="262"/>
                  </a:lnTo>
                  <a:lnTo>
                    <a:pt x="233" y="284"/>
                  </a:lnTo>
                  <a:lnTo>
                    <a:pt x="176" y="256"/>
                  </a:lnTo>
                  <a:lnTo>
                    <a:pt x="250" y="239"/>
                  </a:lnTo>
                  <a:lnTo>
                    <a:pt x="291" y="192"/>
                  </a:lnTo>
                  <a:lnTo>
                    <a:pt x="382" y="191"/>
                  </a:lnTo>
                  <a:lnTo>
                    <a:pt x="378" y="140"/>
                  </a:lnTo>
                  <a:lnTo>
                    <a:pt x="445" y="139"/>
                  </a:lnTo>
                  <a:lnTo>
                    <a:pt x="514" y="174"/>
                  </a:lnTo>
                  <a:lnTo>
                    <a:pt x="433" y="128"/>
                  </a:lnTo>
                  <a:lnTo>
                    <a:pt x="585" y="96"/>
                  </a:lnTo>
                  <a:lnTo>
                    <a:pt x="622" y="118"/>
                  </a:lnTo>
                  <a:lnTo>
                    <a:pt x="628" y="163"/>
                  </a:lnTo>
                  <a:lnTo>
                    <a:pt x="647" y="125"/>
                  </a:lnTo>
                  <a:lnTo>
                    <a:pt x="746" y="152"/>
                  </a:lnTo>
                  <a:lnTo>
                    <a:pt x="712" y="130"/>
                  </a:lnTo>
                  <a:lnTo>
                    <a:pt x="760" y="133"/>
                  </a:lnTo>
                  <a:lnTo>
                    <a:pt x="718" y="108"/>
                  </a:lnTo>
                  <a:lnTo>
                    <a:pt x="706" y="88"/>
                  </a:lnTo>
                  <a:lnTo>
                    <a:pt x="728" y="84"/>
                  </a:lnTo>
                  <a:lnTo>
                    <a:pt x="923" y="146"/>
                  </a:lnTo>
                  <a:lnTo>
                    <a:pt x="908" y="125"/>
                  </a:lnTo>
                  <a:lnTo>
                    <a:pt x="951" y="122"/>
                  </a:lnTo>
                  <a:lnTo>
                    <a:pt x="923" y="104"/>
                  </a:lnTo>
                  <a:lnTo>
                    <a:pt x="989" y="108"/>
                  </a:lnTo>
                  <a:lnTo>
                    <a:pt x="885" y="63"/>
                  </a:lnTo>
                  <a:lnTo>
                    <a:pt x="1074" y="88"/>
                  </a:lnTo>
                  <a:lnTo>
                    <a:pt x="1032" y="62"/>
                  </a:lnTo>
                  <a:lnTo>
                    <a:pt x="920" y="58"/>
                  </a:lnTo>
                  <a:lnTo>
                    <a:pt x="958" y="55"/>
                  </a:lnTo>
                  <a:lnTo>
                    <a:pt x="889" y="33"/>
                  </a:lnTo>
                  <a:lnTo>
                    <a:pt x="970" y="38"/>
                  </a:lnTo>
                  <a:lnTo>
                    <a:pt x="937" y="29"/>
                  </a:lnTo>
                  <a:lnTo>
                    <a:pt x="973" y="22"/>
                  </a:lnTo>
                  <a:lnTo>
                    <a:pt x="1111" y="63"/>
                  </a:lnTo>
                  <a:lnTo>
                    <a:pt x="1096" y="48"/>
                  </a:lnTo>
                  <a:lnTo>
                    <a:pt x="1158" y="33"/>
                  </a:lnTo>
                  <a:lnTo>
                    <a:pt x="1106" y="29"/>
                  </a:lnTo>
                  <a:lnTo>
                    <a:pt x="1105" y="8"/>
                  </a:lnTo>
                  <a:lnTo>
                    <a:pt x="1139" y="0"/>
                  </a:lnTo>
                  <a:lnTo>
                    <a:pt x="1513" y="9"/>
                  </a:lnTo>
                  <a:lnTo>
                    <a:pt x="1540" y="20"/>
                  </a:lnTo>
                  <a:lnTo>
                    <a:pt x="1529" y="29"/>
                  </a:lnTo>
                  <a:lnTo>
                    <a:pt x="1278" y="31"/>
                  </a:lnTo>
                  <a:lnTo>
                    <a:pt x="1307" y="42"/>
                  </a:lnTo>
                  <a:lnTo>
                    <a:pt x="1209" y="55"/>
                  </a:lnTo>
                  <a:lnTo>
                    <a:pt x="1564" y="33"/>
                  </a:lnTo>
                  <a:lnTo>
                    <a:pt x="1576" y="52"/>
                  </a:lnTo>
                  <a:lnTo>
                    <a:pt x="1529" y="64"/>
                  </a:lnTo>
                  <a:lnTo>
                    <a:pt x="1610" y="56"/>
                  </a:lnTo>
                  <a:lnTo>
                    <a:pt x="1704" y="80"/>
                  </a:lnTo>
                  <a:lnTo>
                    <a:pt x="1564" y="118"/>
                  </a:lnTo>
                  <a:lnTo>
                    <a:pt x="1338" y="115"/>
                  </a:lnTo>
                  <a:lnTo>
                    <a:pt x="1392" y="122"/>
                  </a:lnTo>
                  <a:lnTo>
                    <a:pt x="1297" y="139"/>
                  </a:lnTo>
                  <a:lnTo>
                    <a:pt x="1297" y="158"/>
                  </a:lnTo>
                  <a:lnTo>
                    <a:pt x="1544" y="128"/>
                  </a:lnTo>
                  <a:lnTo>
                    <a:pt x="1565" y="140"/>
                  </a:lnTo>
                  <a:lnTo>
                    <a:pt x="1513" y="170"/>
                  </a:lnTo>
                  <a:lnTo>
                    <a:pt x="1674" y="122"/>
                  </a:lnTo>
                  <a:lnTo>
                    <a:pt x="1682" y="168"/>
                  </a:lnTo>
                  <a:lnTo>
                    <a:pt x="1603" y="247"/>
                  </a:lnTo>
                  <a:lnTo>
                    <a:pt x="1756" y="157"/>
                  </a:lnTo>
                  <a:lnTo>
                    <a:pt x="1755" y="170"/>
                  </a:lnTo>
                  <a:lnTo>
                    <a:pt x="1827" y="169"/>
                  </a:lnTo>
                  <a:lnTo>
                    <a:pt x="1849" y="139"/>
                  </a:lnTo>
                  <a:lnTo>
                    <a:pt x="1929" y="133"/>
                  </a:lnTo>
                  <a:lnTo>
                    <a:pt x="2028" y="161"/>
                  </a:lnTo>
                  <a:lnTo>
                    <a:pt x="1932" y="201"/>
                  </a:lnTo>
                  <a:lnTo>
                    <a:pt x="1937" y="217"/>
                  </a:lnTo>
                  <a:lnTo>
                    <a:pt x="1717" y="239"/>
                  </a:lnTo>
                  <a:lnTo>
                    <a:pt x="1893" y="242"/>
                  </a:lnTo>
                  <a:lnTo>
                    <a:pt x="1749" y="275"/>
                  </a:lnTo>
                  <a:lnTo>
                    <a:pt x="1759" y="300"/>
                  </a:lnTo>
                  <a:lnTo>
                    <a:pt x="1855" y="275"/>
                  </a:lnTo>
                  <a:lnTo>
                    <a:pt x="1785" y="306"/>
                  </a:lnTo>
                  <a:lnTo>
                    <a:pt x="1775" y="346"/>
                  </a:lnTo>
                  <a:lnTo>
                    <a:pt x="1799" y="337"/>
                  </a:lnTo>
                  <a:lnTo>
                    <a:pt x="1731" y="373"/>
                  </a:lnTo>
                  <a:lnTo>
                    <a:pt x="1707" y="448"/>
                  </a:lnTo>
                  <a:lnTo>
                    <a:pt x="1744" y="432"/>
                  </a:lnTo>
                  <a:lnTo>
                    <a:pt x="1794" y="448"/>
                  </a:lnTo>
                  <a:lnTo>
                    <a:pt x="1748" y="448"/>
                  </a:lnTo>
                  <a:lnTo>
                    <a:pt x="1748" y="470"/>
                  </a:lnTo>
                  <a:lnTo>
                    <a:pt x="1825" y="480"/>
                  </a:lnTo>
                  <a:lnTo>
                    <a:pt x="1827" y="507"/>
                  </a:lnTo>
                  <a:lnTo>
                    <a:pt x="1712" y="502"/>
                  </a:lnTo>
                  <a:lnTo>
                    <a:pt x="1744" y="514"/>
                  </a:lnTo>
                  <a:lnTo>
                    <a:pt x="1679" y="522"/>
                  </a:lnTo>
                  <a:lnTo>
                    <a:pt x="1712" y="553"/>
                  </a:lnTo>
                  <a:lnTo>
                    <a:pt x="1771" y="554"/>
                  </a:lnTo>
                  <a:lnTo>
                    <a:pt x="1735" y="572"/>
                  </a:lnTo>
                  <a:lnTo>
                    <a:pt x="1782" y="588"/>
                  </a:lnTo>
                  <a:lnTo>
                    <a:pt x="1781" y="627"/>
                  </a:lnTo>
                  <a:lnTo>
                    <a:pt x="1696" y="604"/>
                  </a:lnTo>
                  <a:lnTo>
                    <a:pt x="1746" y="624"/>
                  </a:lnTo>
                  <a:lnTo>
                    <a:pt x="1715" y="638"/>
                  </a:lnTo>
                  <a:lnTo>
                    <a:pt x="1744" y="635"/>
                  </a:lnTo>
                  <a:lnTo>
                    <a:pt x="1735" y="660"/>
                  </a:lnTo>
                  <a:lnTo>
                    <a:pt x="1797" y="672"/>
                  </a:lnTo>
                  <a:lnTo>
                    <a:pt x="1700" y="665"/>
                  </a:lnTo>
                  <a:lnTo>
                    <a:pt x="1682" y="679"/>
                  </a:lnTo>
                  <a:lnTo>
                    <a:pt x="1756" y="710"/>
                  </a:lnTo>
                  <a:lnTo>
                    <a:pt x="1746" y="736"/>
                  </a:lnTo>
                  <a:lnTo>
                    <a:pt x="1686" y="751"/>
                  </a:lnTo>
                  <a:lnTo>
                    <a:pt x="1627" y="714"/>
                  </a:lnTo>
                  <a:lnTo>
                    <a:pt x="1537" y="745"/>
                  </a:lnTo>
                  <a:lnTo>
                    <a:pt x="1601" y="765"/>
                  </a:lnTo>
                  <a:lnTo>
                    <a:pt x="1540" y="782"/>
                  </a:lnTo>
                  <a:lnTo>
                    <a:pt x="1606" y="785"/>
                  </a:lnTo>
                  <a:lnTo>
                    <a:pt x="1584" y="822"/>
                  </a:lnTo>
                  <a:lnTo>
                    <a:pt x="1610" y="800"/>
                  </a:lnTo>
                  <a:lnTo>
                    <a:pt x="1682" y="831"/>
                  </a:lnTo>
                  <a:lnTo>
                    <a:pt x="1660" y="855"/>
                  </a:lnTo>
                  <a:lnTo>
                    <a:pt x="1700" y="846"/>
                  </a:lnTo>
                  <a:lnTo>
                    <a:pt x="1682" y="872"/>
                  </a:lnTo>
                  <a:lnTo>
                    <a:pt x="1709" y="859"/>
                  </a:lnTo>
                  <a:lnTo>
                    <a:pt x="1713" y="923"/>
                  </a:lnTo>
                  <a:lnTo>
                    <a:pt x="1682" y="899"/>
                  </a:lnTo>
                  <a:lnTo>
                    <a:pt x="1682" y="923"/>
                  </a:lnTo>
                  <a:lnTo>
                    <a:pt x="1650" y="921"/>
                  </a:lnTo>
                  <a:lnTo>
                    <a:pt x="1610" y="869"/>
                  </a:lnTo>
                  <a:lnTo>
                    <a:pt x="1514" y="840"/>
                  </a:lnTo>
                  <a:lnTo>
                    <a:pt x="1581" y="875"/>
                  </a:lnTo>
                  <a:lnTo>
                    <a:pt x="1492" y="892"/>
                  </a:lnTo>
                  <a:lnTo>
                    <a:pt x="1467" y="923"/>
                  </a:lnTo>
                  <a:lnTo>
                    <a:pt x="1550" y="930"/>
                  </a:lnTo>
                  <a:lnTo>
                    <a:pt x="1480" y="947"/>
                  </a:lnTo>
                  <a:lnTo>
                    <a:pt x="1586" y="925"/>
                  </a:lnTo>
                  <a:lnTo>
                    <a:pt x="1689" y="953"/>
                  </a:lnTo>
                  <a:lnTo>
                    <a:pt x="1555" y="1026"/>
                  </a:lnTo>
                  <a:lnTo>
                    <a:pt x="1426" y="1058"/>
                  </a:lnTo>
                  <a:lnTo>
                    <a:pt x="1379" y="1060"/>
                  </a:lnTo>
                  <a:lnTo>
                    <a:pt x="1349" y="1027"/>
                  </a:lnTo>
                  <a:lnTo>
                    <a:pt x="1364" y="1060"/>
                  </a:lnTo>
                  <a:lnTo>
                    <a:pt x="1326" y="1080"/>
                  </a:lnTo>
                  <a:lnTo>
                    <a:pt x="1278" y="1158"/>
                  </a:lnTo>
                  <a:lnTo>
                    <a:pt x="1238" y="1157"/>
                  </a:lnTo>
                  <a:lnTo>
                    <a:pt x="1230" y="1180"/>
                  </a:lnTo>
                  <a:lnTo>
                    <a:pt x="1191" y="1184"/>
                  </a:lnTo>
                  <a:lnTo>
                    <a:pt x="1172" y="1176"/>
                  </a:lnTo>
                  <a:lnTo>
                    <a:pt x="1198" y="1159"/>
                  </a:lnTo>
                  <a:lnTo>
                    <a:pt x="1171" y="1157"/>
                  </a:lnTo>
                  <a:lnTo>
                    <a:pt x="1157" y="1196"/>
                  </a:lnTo>
                  <a:lnTo>
                    <a:pt x="1095" y="1201"/>
                  </a:lnTo>
                  <a:lnTo>
                    <a:pt x="1096" y="1232"/>
                  </a:lnTo>
                  <a:lnTo>
                    <a:pt x="1059" y="1235"/>
                  </a:lnTo>
                  <a:lnTo>
                    <a:pt x="1092" y="1261"/>
                  </a:lnTo>
                  <a:lnTo>
                    <a:pt x="1048" y="1267"/>
                  </a:lnTo>
                  <a:lnTo>
                    <a:pt x="1083" y="1295"/>
                  </a:lnTo>
                  <a:lnTo>
                    <a:pt x="1052" y="1295"/>
                  </a:lnTo>
                  <a:lnTo>
                    <a:pt x="1076" y="1302"/>
                  </a:lnTo>
                  <a:lnTo>
                    <a:pt x="1052" y="1334"/>
                  </a:lnTo>
                  <a:lnTo>
                    <a:pt x="1032" y="1328"/>
                  </a:lnTo>
                  <a:lnTo>
                    <a:pt x="1048" y="1342"/>
                  </a:lnTo>
                  <a:lnTo>
                    <a:pt x="1007" y="1355"/>
                  </a:lnTo>
                  <a:lnTo>
                    <a:pt x="1032" y="1399"/>
                  </a:lnTo>
                  <a:lnTo>
                    <a:pt x="1007" y="1459"/>
                  </a:lnTo>
                  <a:lnTo>
                    <a:pt x="977" y="1461"/>
                  </a:lnTo>
                  <a:lnTo>
                    <a:pt x="1000" y="1481"/>
                  </a:lnTo>
                  <a:lnTo>
                    <a:pt x="931" y="1481"/>
                  </a:lnTo>
                  <a:lnTo>
                    <a:pt x="923" y="1441"/>
                  </a:lnTo>
                  <a:lnTo>
                    <a:pt x="828" y="1447"/>
                  </a:lnTo>
                  <a:lnTo>
                    <a:pt x="850" y="1436"/>
                  </a:lnTo>
                  <a:lnTo>
                    <a:pt x="801" y="1419"/>
                  </a:lnTo>
                  <a:lnTo>
                    <a:pt x="826" y="1412"/>
                  </a:lnTo>
                  <a:lnTo>
                    <a:pt x="790" y="1412"/>
                  </a:lnTo>
                  <a:lnTo>
                    <a:pt x="802" y="1381"/>
                  </a:lnTo>
                  <a:lnTo>
                    <a:pt x="782" y="1388"/>
                  </a:lnTo>
                  <a:lnTo>
                    <a:pt x="718" y="1302"/>
                  </a:lnTo>
                  <a:lnTo>
                    <a:pt x="718" y="1276"/>
                  </a:lnTo>
                  <a:lnTo>
                    <a:pt x="765" y="1249"/>
                  </a:lnTo>
                  <a:lnTo>
                    <a:pt x="746" y="1240"/>
                  </a:lnTo>
                  <a:lnTo>
                    <a:pt x="698" y="1272"/>
                  </a:lnTo>
                  <a:lnTo>
                    <a:pt x="698" y="1209"/>
                  </a:lnTo>
                  <a:lnTo>
                    <a:pt x="654" y="1176"/>
                  </a:lnTo>
                  <a:lnTo>
                    <a:pt x="666" y="1125"/>
                  </a:lnTo>
                  <a:lnTo>
                    <a:pt x="639" y="1106"/>
                  </a:lnTo>
                  <a:lnTo>
                    <a:pt x="676" y="1063"/>
                  </a:lnTo>
                  <a:lnTo>
                    <a:pt x="654" y="1058"/>
                  </a:lnTo>
                  <a:lnTo>
                    <a:pt x="735" y="1058"/>
                  </a:lnTo>
                  <a:lnTo>
                    <a:pt x="727" y="1041"/>
                  </a:lnTo>
                  <a:lnTo>
                    <a:pt x="672" y="1042"/>
                  </a:lnTo>
                  <a:lnTo>
                    <a:pt x="754" y="1004"/>
                  </a:lnTo>
                  <a:lnTo>
                    <a:pt x="735" y="990"/>
                  </a:lnTo>
                  <a:lnTo>
                    <a:pt x="754" y="947"/>
                  </a:lnTo>
                  <a:lnTo>
                    <a:pt x="687" y="946"/>
                  </a:lnTo>
                  <a:lnTo>
                    <a:pt x="613" y="910"/>
                  </a:lnTo>
                  <a:lnTo>
                    <a:pt x="746" y="930"/>
                  </a:lnTo>
                  <a:lnTo>
                    <a:pt x="723" y="914"/>
                  </a:lnTo>
                  <a:lnTo>
                    <a:pt x="746" y="908"/>
                  </a:lnTo>
                  <a:lnTo>
                    <a:pt x="694" y="881"/>
                  </a:lnTo>
                  <a:lnTo>
                    <a:pt x="712" y="869"/>
                  </a:lnTo>
                  <a:lnTo>
                    <a:pt x="684" y="879"/>
                  </a:lnTo>
                  <a:lnTo>
                    <a:pt x="702" y="861"/>
                  </a:lnTo>
                  <a:lnTo>
                    <a:pt x="668" y="862"/>
                  </a:lnTo>
                  <a:lnTo>
                    <a:pt x="706" y="848"/>
                  </a:lnTo>
                  <a:lnTo>
                    <a:pt x="647" y="828"/>
                  </a:lnTo>
                  <a:lnTo>
                    <a:pt x="635" y="861"/>
                  </a:lnTo>
                  <a:lnTo>
                    <a:pt x="585" y="862"/>
                  </a:lnTo>
                  <a:lnTo>
                    <a:pt x="575" y="848"/>
                  </a:lnTo>
                  <a:lnTo>
                    <a:pt x="608" y="828"/>
                  </a:lnTo>
                  <a:lnTo>
                    <a:pt x="582" y="828"/>
                  </a:lnTo>
                  <a:lnTo>
                    <a:pt x="613" y="773"/>
                  </a:lnTo>
                  <a:lnTo>
                    <a:pt x="578" y="763"/>
                  </a:lnTo>
                  <a:lnTo>
                    <a:pt x="595" y="738"/>
                  </a:lnTo>
                  <a:lnTo>
                    <a:pt x="540" y="671"/>
                  </a:lnTo>
                  <a:lnTo>
                    <a:pt x="558" y="670"/>
                  </a:lnTo>
                  <a:lnTo>
                    <a:pt x="483" y="610"/>
                  </a:lnTo>
                  <a:lnTo>
                    <a:pt x="483" y="588"/>
                  </a:lnTo>
                  <a:lnTo>
                    <a:pt x="402" y="560"/>
                  </a:lnTo>
                  <a:lnTo>
                    <a:pt x="327" y="543"/>
                  </a:lnTo>
                  <a:lnTo>
                    <a:pt x="258" y="571"/>
                  </a:lnTo>
                  <a:lnTo>
                    <a:pt x="202" y="553"/>
                  </a:lnTo>
                  <a:lnTo>
                    <a:pt x="222" y="575"/>
                  </a:lnTo>
                  <a:lnTo>
                    <a:pt x="163" y="565"/>
                  </a:lnTo>
                  <a:lnTo>
                    <a:pt x="112" y="542"/>
                  </a:lnTo>
                  <a:lnTo>
                    <a:pt x="163" y="522"/>
                  </a:lnTo>
                  <a:lnTo>
                    <a:pt x="50" y="502"/>
                  </a:lnTo>
                  <a:lnTo>
                    <a:pt x="92" y="483"/>
                  </a:lnTo>
                  <a:lnTo>
                    <a:pt x="226" y="488"/>
                  </a:lnTo>
                  <a:lnTo>
                    <a:pt x="243" y="481"/>
                  </a:lnTo>
                  <a:lnTo>
                    <a:pt x="220" y="469"/>
                  </a:lnTo>
                  <a:lnTo>
                    <a:pt x="242" y="458"/>
                  </a:lnTo>
                  <a:lnTo>
                    <a:pt x="121" y="466"/>
                  </a:lnTo>
                  <a:lnTo>
                    <a:pt x="0" y="41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38" name="30465359.5200.58.1257.55">
              <a:extLst>
                <a:ext uri="{FF2B5EF4-FFF2-40B4-BE49-F238E27FC236}">
                  <a16:creationId xmlns:a16="http://schemas.microsoft.com/office/drawing/2014/main" id="{54053A34-7D0B-4C38-901B-1006CA172896}"/>
                </a:ext>
              </a:extLst>
            </p:cNvPr>
            <p:cNvSpPr>
              <a:spLocks noChangeAspect="1"/>
            </p:cNvSpPr>
            <p:nvPr/>
          </p:nvSpPr>
          <p:spPr bwMode="gray">
            <a:xfrm>
              <a:off x="2885261" y="4120754"/>
              <a:ext cx="121727" cy="131197"/>
            </a:xfrm>
            <a:custGeom>
              <a:avLst/>
              <a:gdLst/>
              <a:ahLst/>
              <a:cxnLst>
                <a:cxn ang="0">
                  <a:pos x="0" y="115"/>
                </a:cxn>
                <a:cxn ang="0">
                  <a:pos x="28" y="63"/>
                </a:cxn>
                <a:cxn ang="0">
                  <a:pos x="62" y="62"/>
                </a:cxn>
                <a:cxn ang="0">
                  <a:pos x="26" y="18"/>
                </a:cxn>
                <a:cxn ang="0">
                  <a:pos x="103" y="0"/>
                </a:cxn>
                <a:cxn ang="0">
                  <a:pos x="114" y="68"/>
                </a:cxn>
                <a:cxn ang="0">
                  <a:pos x="132" y="74"/>
                </a:cxn>
                <a:cxn ang="0">
                  <a:pos x="96" y="118"/>
                </a:cxn>
                <a:cxn ang="0">
                  <a:pos x="74" y="144"/>
                </a:cxn>
                <a:cxn ang="0">
                  <a:pos x="0" y="115"/>
                </a:cxn>
              </a:cxnLst>
              <a:rect l="0" t="0" r="r" b="b"/>
              <a:pathLst>
                <a:path w="132" h="144">
                  <a:moveTo>
                    <a:pt x="0" y="115"/>
                  </a:moveTo>
                  <a:lnTo>
                    <a:pt x="28" y="63"/>
                  </a:lnTo>
                  <a:lnTo>
                    <a:pt x="62" y="62"/>
                  </a:lnTo>
                  <a:lnTo>
                    <a:pt x="26" y="18"/>
                  </a:lnTo>
                  <a:lnTo>
                    <a:pt x="103" y="0"/>
                  </a:lnTo>
                  <a:lnTo>
                    <a:pt x="114" y="68"/>
                  </a:lnTo>
                  <a:lnTo>
                    <a:pt x="132" y="74"/>
                  </a:lnTo>
                  <a:lnTo>
                    <a:pt x="96" y="118"/>
                  </a:lnTo>
                  <a:lnTo>
                    <a:pt x="74" y="144"/>
                  </a:lnTo>
                  <a:lnTo>
                    <a:pt x="0" y="11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39" name="30466377.87525912.7595">
              <a:extLst>
                <a:ext uri="{FF2B5EF4-FFF2-40B4-BE49-F238E27FC236}">
                  <a16:creationId xmlns:a16="http://schemas.microsoft.com/office/drawing/2014/main" id="{6CA1C792-3DFF-4977-AB2E-7D0B021E9553}"/>
                </a:ext>
              </a:extLst>
            </p:cNvPr>
            <p:cNvSpPr>
              <a:spLocks noChangeAspect="1"/>
            </p:cNvSpPr>
            <p:nvPr/>
          </p:nvSpPr>
          <p:spPr bwMode="gray">
            <a:xfrm>
              <a:off x="3826754" y="4418468"/>
              <a:ext cx="140748" cy="206885"/>
            </a:xfrm>
            <a:custGeom>
              <a:avLst/>
              <a:gdLst/>
              <a:ahLst/>
              <a:cxnLst>
                <a:cxn ang="0">
                  <a:pos x="0" y="75"/>
                </a:cxn>
                <a:cxn ang="0">
                  <a:pos x="24" y="106"/>
                </a:cxn>
                <a:cxn ang="0">
                  <a:pos x="54" y="130"/>
                </a:cxn>
                <a:cxn ang="0">
                  <a:pos x="47" y="193"/>
                </a:cxn>
                <a:cxn ang="0">
                  <a:pos x="65" y="227"/>
                </a:cxn>
                <a:cxn ang="0">
                  <a:pos x="160" y="213"/>
                </a:cxn>
                <a:cxn ang="0">
                  <a:pos x="106" y="143"/>
                </a:cxn>
                <a:cxn ang="0">
                  <a:pos x="143" y="83"/>
                </a:cxn>
                <a:cxn ang="0">
                  <a:pos x="48" y="0"/>
                </a:cxn>
                <a:cxn ang="0">
                  <a:pos x="17" y="24"/>
                </a:cxn>
                <a:cxn ang="0">
                  <a:pos x="29" y="46"/>
                </a:cxn>
                <a:cxn ang="0">
                  <a:pos x="0" y="75"/>
                </a:cxn>
              </a:cxnLst>
              <a:rect l="0" t="0" r="r" b="b"/>
              <a:pathLst>
                <a:path w="160" h="227">
                  <a:moveTo>
                    <a:pt x="0" y="75"/>
                  </a:moveTo>
                  <a:lnTo>
                    <a:pt x="24" y="106"/>
                  </a:lnTo>
                  <a:lnTo>
                    <a:pt x="54" y="130"/>
                  </a:lnTo>
                  <a:lnTo>
                    <a:pt x="47" y="193"/>
                  </a:lnTo>
                  <a:lnTo>
                    <a:pt x="65" y="227"/>
                  </a:lnTo>
                  <a:lnTo>
                    <a:pt x="160" y="213"/>
                  </a:lnTo>
                  <a:lnTo>
                    <a:pt x="106" y="143"/>
                  </a:lnTo>
                  <a:lnTo>
                    <a:pt x="143" y="83"/>
                  </a:lnTo>
                  <a:lnTo>
                    <a:pt x="48" y="0"/>
                  </a:lnTo>
                  <a:lnTo>
                    <a:pt x="17" y="24"/>
                  </a:lnTo>
                  <a:lnTo>
                    <a:pt x="29" y="46"/>
                  </a:lnTo>
                  <a:lnTo>
                    <a:pt x="0" y="7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40" name="30467355.75234.1253.62555">
              <a:extLst>
                <a:ext uri="{FF2B5EF4-FFF2-40B4-BE49-F238E27FC236}">
                  <a16:creationId xmlns:a16="http://schemas.microsoft.com/office/drawing/2014/main" id="{619CC260-9740-4F28-A8A7-61BDD3BAAF85}"/>
                </a:ext>
              </a:extLst>
            </p:cNvPr>
            <p:cNvSpPr>
              <a:spLocks noChangeAspect="1"/>
            </p:cNvSpPr>
            <p:nvPr/>
          </p:nvSpPr>
          <p:spPr bwMode="gray">
            <a:xfrm>
              <a:off x="3427332" y="4061884"/>
              <a:ext cx="79883" cy="55506"/>
            </a:xfrm>
            <a:custGeom>
              <a:avLst/>
              <a:gdLst/>
              <a:ahLst/>
              <a:cxnLst>
                <a:cxn ang="0">
                  <a:pos x="0" y="46"/>
                </a:cxn>
                <a:cxn ang="0">
                  <a:pos x="65" y="45"/>
                </a:cxn>
                <a:cxn ang="0">
                  <a:pos x="34" y="4"/>
                </a:cxn>
                <a:cxn ang="0">
                  <a:pos x="86" y="0"/>
                </a:cxn>
                <a:cxn ang="0">
                  <a:pos x="86" y="63"/>
                </a:cxn>
                <a:cxn ang="0">
                  <a:pos x="0" y="46"/>
                </a:cxn>
              </a:cxnLst>
              <a:rect l="0" t="0" r="r" b="b"/>
              <a:pathLst>
                <a:path w="86" h="63">
                  <a:moveTo>
                    <a:pt x="0" y="46"/>
                  </a:moveTo>
                  <a:lnTo>
                    <a:pt x="65" y="45"/>
                  </a:lnTo>
                  <a:lnTo>
                    <a:pt x="34" y="4"/>
                  </a:lnTo>
                  <a:lnTo>
                    <a:pt x="86" y="0"/>
                  </a:lnTo>
                  <a:lnTo>
                    <a:pt x="86" y="63"/>
                  </a:lnTo>
                  <a:lnTo>
                    <a:pt x="0" y="46"/>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41" name="30468363.375205.8755.62511.55">
              <a:extLst>
                <a:ext uri="{FF2B5EF4-FFF2-40B4-BE49-F238E27FC236}">
                  <a16:creationId xmlns:a16="http://schemas.microsoft.com/office/drawing/2014/main" id="{5E3410FA-E3FB-4D84-A2ED-6FB343F02B9A}"/>
                </a:ext>
              </a:extLst>
            </p:cNvPr>
            <p:cNvSpPr>
              <a:spLocks noChangeAspect="1"/>
            </p:cNvSpPr>
            <p:nvPr/>
          </p:nvSpPr>
          <p:spPr bwMode="gray">
            <a:xfrm>
              <a:off x="2974655" y="4182989"/>
              <a:ext cx="184493" cy="92509"/>
            </a:xfrm>
            <a:custGeom>
              <a:avLst/>
              <a:gdLst/>
              <a:ahLst/>
              <a:cxnLst>
                <a:cxn ang="0">
                  <a:pos x="0" y="50"/>
                </a:cxn>
                <a:cxn ang="0">
                  <a:pos x="36" y="6"/>
                </a:cxn>
                <a:cxn ang="0">
                  <a:pos x="146" y="0"/>
                </a:cxn>
                <a:cxn ang="0">
                  <a:pos x="204" y="31"/>
                </a:cxn>
                <a:cxn ang="0">
                  <a:pos x="156" y="38"/>
                </a:cxn>
                <a:cxn ang="0">
                  <a:pos x="70" y="101"/>
                </a:cxn>
                <a:cxn ang="0">
                  <a:pos x="55" y="84"/>
                </a:cxn>
                <a:cxn ang="0">
                  <a:pos x="0" y="50"/>
                </a:cxn>
              </a:cxnLst>
              <a:rect l="0" t="0" r="r" b="b"/>
              <a:pathLst>
                <a:path w="204" h="101">
                  <a:moveTo>
                    <a:pt x="0" y="50"/>
                  </a:moveTo>
                  <a:lnTo>
                    <a:pt x="36" y="6"/>
                  </a:lnTo>
                  <a:lnTo>
                    <a:pt x="146" y="0"/>
                  </a:lnTo>
                  <a:lnTo>
                    <a:pt x="204" y="31"/>
                  </a:lnTo>
                  <a:lnTo>
                    <a:pt x="156" y="38"/>
                  </a:lnTo>
                  <a:lnTo>
                    <a:pt x="70" y="101"/>
                  </a:lnTo>
                  <a:lnTo>
                    <a:pt x="55" y="84"/>
                  </a:lnTo>
                  <a:lnTo>
                    <a:pt x="0" y="5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42" name="30469245.875328.259.62520.6255">
              <a:extLst>
                <a:ext uri="{FF2B5EF4-FFF2-40B4-BE49-F238E27FC236}">
                  <a16:creationId xmlns:a16="http://schemas.microsoft.com/office/drawing/2014/main" id="{CEFFBDD9-2AFF-48E8-8053-C139DE8C1626}"/>
                </a:ext>
              </a:extLst>
            </p:cNvPr>
            <p:cNvSpPr>
              <a:spLocks noChangeAspect="1"/>
            </p:cNvSpPr>
            <p:nvPr/>
          </p:nvSpPr>
          <p:spPr bwMode="gray">
            <a:xfrm>
              <a:off x="4937528" y="2280653"/>
              <a:ext cx="329046" cy="158106"/>
            </a:xfrm>
            <a:custGeom>
              <a:avLst/>
              <a:gdLst/>
              <a:ahLst/>
              <a:cxnLst>
                <a:cxn ang="0">
                  <a:pos x="0" y="60"/>
                </a:cxn>
                <a:cxn ang="0">
                  <a:pos x="23" y="52"/>
                </a:cxn>
                <a:cxn ang="0">
                  <a:pos x="9" y="37"/>
                </a:cxn>
                <a:cxn ang="0">
                  <a:pos x="41" y="47"/>
                </a:cxn>
                <a:cxn ang="0">
                  <a:pos x="27" y="19"/>
                </a:cxn>
                <a:cxn ang="0">
                  <a:pos x="63" y="36"/>
                </a:cxn>
                <a:cxn ang="0">
                  <a:pos x="45" y="3"/>
                </a:cxn>
                <a:cxn ang="0">
                  <a:pos x="103" y="29"/>
                </a:cxn>
                <a:cxn ang="0">
                  <a:pos x="107" y="71"/>
                </a:cxn>
                <a:cxn ang="0">
                  <a:pos x="137" y="23"/>
                </a:cxn>
                <a:cxn ang="0">
                  <a:pos x="167" y="41"/>
                </a:cxn>
                <a:cxn ang="0">
                  <a:pos x="191" y="18"/>
                </a:cxn>
                <a:cxn ang="0">
                  <a:pos x="211" y="48"/>
                </a:cxn>
                <a:cxn ang="0">
                  <a:pos x="206" y="19"/>
                </a:cxn>
                <a:cxn ang="0">
                  <a:pos x="266" y="19"/>
                </a:cxn>
                <a:cxn ang="0">
                  <a:pos x="274" y="0"/>
                </a:cxn>
                <a:cxn ang="0">
                  <a:pos x="301" y="18"/>
                </a:cxn>
                <a:cxn ang="0">
                  <a:pos x="333" y="11"/>
                </a:cxn>
                <a:cxn ang="0">
                  <a:pos x="310" y="23"/>
                </a:cxn>
                <a:cxn ang="0">
                  <a:pos x="366" y="77"/>
                </a:cxn>
                <a:cxn ang="0">
                  <a:pos x="318" y="124"/>
                </a:cxn>
                <a:cxn ang="0">
                  <a:pos x="182" y="169"/>
                </a:cxn>
                <a:cxn ang="0">
                  <a:pos x="61" y="148"/>
                </a:cxn>
                <a:cxn ang="0">
                  <a:pos x="90" y="104"/>
                </a:cxn>
                <a:cxn ang="0">
                  <a:pos x="19" y="89"/>
                </a:cxn>
                <a:cxn ang="0">
                  <a:pos x="88" y="85"/>
                </a:cxn>
                <a:cxn ang="0">
                  <a:pos x="63" y="73"/>
                </a:cxn>
                <a:cxn ang="0">
                  <a:pos x="89" y="60"/>
                </a:cxn>
                <a:cxn ang="0">
                  <a:pos x="0" y="60"/>
                </a:cxn>
              </a:cxnLst>
              <a:rect l="0" t="0" r="r" b="b"/>
              <a:pathLst>
                <a:path w="366" h="169">
                  <a:moveTo>
                    <a:pt x="0" y="60"/>
                  </a:moveTo>
                  <a:lnTo>
                    <a:pt x="23" y="52"/>
                  </a:lnTo>
                  <a:lnTo>
                    <a:pt x="9" y="37"/>
                  </a:lnTo>
                  <a:lnTo>
                    <a:pt x="41" y="47"/>
                  </a:lnTo>
                  <a:lnTo>
                    <a:pt x="27" y="19"/>
                  </a:lnTo>
                  <a:lnTo>
                    <a:pt x="63" y="36"/>
                  </a:lnTo>
                  <a:lnTo>
                    <a:pt x="45" y="3"/>
                  </a:lnTo>
                  <a:lnTo>
                    <a:pt x="103" y="29"/>
                  </a:lnTo>
                  <a:lnTo>
                    <a:pt x="107" y="71"/>
                  </a:lnTo>
                  <a:lnTo>
                    <a:pt x="137" y="23"/>
                  </a:lnTo>
                  <a:lnTo>
                    <a:pt x="167" y="41"/>
                  </a:lnTo>
                  <a:lnTo>
                    <a:pt x="191" y="18"/>
                  </a:lnTo>
                  <a:lnTo>
                    <a:pt x="211" y="48"/>
                  </a:lnTo>
                  <a:lnTo>
                    <a:pt x="206" y="19"/>
                  </a:lnTo>
                  <a:lnTo>
                    <a:pt x="266" y="19"/>
                  </a:lnTo>
                  <a:lnTo>
                    <a:pt x="274" y="0"/>
                  </a:lnTo>
                  <a:lnTo>
                    <a:pt x="301" y="18"/>
                  </a:lnTo>
                  <a:lnTo>
                    <a:pt x="333" y="11"/>
                  </a:lnTo>
                  <a:lnTo>
                    <a:pt x="310" y="23"/>
                  </a:lnTo>
                  <a:lnTo>
                    <a:pt x="366" y="77"/>
                  </a:lnTo>
                  <a:lnTo>
                    <a:pt x="318" y="124"/>
                  </a:lnTo>
                  <a:lnTo>
                    <a:pt x="182" y="169"/>
                  </a:lnTo>
                  <a:lnTo>
                    <a:pt x="61" y="148"/>
                  </a:lnTo>
                  <a:lnTo>
                    <a:pt x="90" y="104"/>
                  </a:lnTo>
                  <a:lnTo>
                    <a:pt x="19" y="89"/>
                  </a:lnTo>
                  <a:lnTo>
                    <a:pt x="88" y="85"/>
                  </a:lnTo>
                  <a:lnTo>
                    <a:pt x="63" y="73"/>
                  </a:lnTo>
                  <a:lnTo>
                    <a:pt x="89" y="60"/>
                  </a:lnTo>
                  <a:lnTo>
                    <a:pt x="0" y="6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43" name="30482330.25153.87535.7556.8755">
              <a:extLst>
                <a:ext uri="{FF2B5EF4-FFF2-40B4-BE49-F238E27FC236}">
                  <a16:creationId xmlns:a16="http://schemas.microsoft.com/office/drawing/2014/main" id="{6EF80DC9-0BC1-4E32-A07C-C5670727518F}"/>
                </a:ext>
              </a:extLst>
            </p:cNvPr>
            <p:cNvSpPr>
              <a:spLocks noChangeAspect="1"/>
            </p:cNvSpPr>
            <p:nvPr/>
          </p:nvSpPr>
          <p:spPr bwMode="gray">
            <a:xfrm>
              <a:off x="2139675" y="3648113"/>
              <a:ext cx="911061" cy="580287"/>
            </a:xfrm>
            <a:custGeom>
              <a:avLst/>
              <a:gdLst/>
              <a:ahLst/>
              <a:cxnLst>
                <a:cxn ang="0">
                  <a:pos x="0" y="7"/>
                </a:cxn>
                <a:cxn ang="0">
                  <a:pos x="48" y="106"/>
                </a:cxn>
                <a:cxn ang="0">
                  <a:pos x="105" y="152"/>
                </a:cxn>
                <a:cxn ang="0">
                  <a:pos x="100" y="179"/>
                </a:cxn>
                <a:cxn ang="0">
                  <a:pos x="72" y="185"/>
                </a:cxn>
                <a:cxn ang="0">
                  <a:pos x="135" y="207"/>
                </a:cxn>
                <a:cxn ang="0">
                  <a:pos x="169" y="252"/>
                </a:cxn>
                <a:cxn ang="0">
                  <a:pos x="166" y="289"/>
                </a:cxn>
                <a:cxn ang="0">
                  <a:pos x="239" y="351"/>
                </a:cxn>
                <a:cxn ang="0">
                  <a:pos x="256" y="330"/>
                </a:cxn>
                <a:cxn ang="0">
                  <a:pos x="85" y="91"/>
                </a:cxn>
                <a:cxn ang="0">
                  <a:pos x="74" y="26"/>
                </a:cxn>
                <a:cxn ang="0">
                  <a:pos x="111" y="43"/>
                </a:cxn>
                <a:cxn ang="0">
                  <a:pos x="175" y="147"/>
                </a:cxn>
                <a:cxn ang="0">
                  <a:pos x="264" y="226"/>
                </a:cxn>
                <a:cxn ang="0">
                  <a:pos x="261" y="256"/>
                </a:cxn>
                <a:cxn ang="0">
                  <a:pos x="385" y="363"/>
                </a:cxn>
                <a:cxn ang="0">
                  <a:pos x="400" y="409"/>
                </a:cxn>
                <a:cxn ang="0">
                  <a:pos x="385" y="439"/>
                </a:cxn>
                <a:cxn ang="0">
                  <a:pos x="414" y="480"/>
                </a:cxn>
                <a:cxn ang="0">
                  <a:pos x="653" y="592"/>
                </a:cxn>
                <a:cxn ang="0">
                  <a:pos x="757" y="584"/>
                </a:cxn>
                <a:cxn ang="0">
                  <a:pos x="826" y="637"/>
                </a:cxn>
                <a:cxn ang="0">
                  <a:pos x="854" y="585"/>
                </a:cxn>
                <a:cxn ang="0">
                  <a:pos x="888" y="584"/>
                </a:cxn>
                <a:cxn ang="0">
                  <a:pos x="852" y="540"/>
                </a:cxn>
                <a:cxn ang="0">
                  <a:pos x="929" y="522"/>
                </a:cxn>
                <a:cxn ang="0">
                  <a:pos x="957" y="502"/>
                </a:cxn>
                <a:cxn ang="0">
                  <a:pos x="966" y="491"/>
                </a:cxn>
                <a:cxn ang="0">
                  <a:pos x="975" y="516"/>
                </a:cxn>
                <a:cxn ang="0">
                  <a:pos x="1007" y="410"/>
                </a:cxn>
                <a:cxn ang="0">
                  <a:pos x="965" y="394"/>
                </a:cxn>
                <a:cxn ang="0">
                  <a:pos x="889" y="410"/>
                </a:cxn>
                <a:cxn ang="0">
                  <a:pos x="849" y="502"/>
                </a:cxn>
                <a:cxn ang="0">
                  <a:pos x="752" y="512"/>
                </a:cxn>
                <a:cxn ang="0">
                  <a:pos x="712" y="489"/>
                </a:cxn>
                <a:cxn ang="0">
                  <a:pos x="647" y="376"/>
                </a:cxn>
                <a:cxn ang="0">
                  <a:pos x="645" y="289"/>
                </a:cxn>
                <a:cxn ang="0">
                  <a:pos x="667" y="247"/>
                </a:cxn>
                <a:cxn ang="0">
                  <a:pos x="601" y="225"/>
                </a:cxn>
                <a:cxn ang="0">
                  <a:pos x="517" y="105"/>
                </a:cxn>
                <a:cxn ang="0">
                  <a:pos x="447" y="131"/>
                </a:cxn>
                <a:cxn ang="0">
                  <a:pos x="355" y="32"/>
                </a:cxn>
                <a:cxn ang="0">
                  <a:pos x="204" y="53"/>
                </a:cxn>
                <a:cxn ang="0">
                  <a:pos x="77" y="0"/>
                </a:cxn>
                <a:cxn ang="0">
                  <a:pos x="0" y="7"/>
                </a:cxn>
              </a:cxnLst>
              <a:rect l="0" t="0" r="r" b="b"/>
              <a:pathLst>
                <a:path w="1007" h="637">
                  <a:moveTo>
                    <a:pt x="0" y="7"/>
                  </a:moveTo>
                  <a:lnTo>
                    <a:pt x="48" y="106"/>
                  </a:lnTo>
                  <a:lnTo>
                    <a:pt x="105" y="152"/>
                  </a:lnTo>
                  <a:lnTo>
                    <a:pt x="100" y="179"/>
                  </a:lnTo>
                  <a:lnTo>
                    <a:pt x="72" y="185"/>
                  </a:lnTo>
                  <a:lnTo>
                    <a:pt x="135" y="207"/>
                  </a:lnTo>
                  <a:lnTo>
                    <a:pt x="169" y="252"/>
                  </a:lnTo>
                  <a:lnTo>
                    <a:pt x="166" y="289"/>
                  </a:lnTo>
                  <a:lnTo>
                    <a:pt x="239" y="351"/>
                  </a:lnTo>
                  <a:lnTo>
                    <a:pt x="256" y="330"/>
                  </a:lnTo>
                  <a:lnTo>
                    <a:pt x="85" y="91"/>
                  </a:lnTo>
                  <a:lnTo>
                    <a:pt x="74" y="26"/>
                  </a:lnTo>
                  <a:lnTo>
                    <a:pt x="111" y="43"/>
                  </a:lnTo>
                  <a:lnTo>
                    <a:pt x="175" y="147"/>
                  </a:lnTo>
                  <a:lnTo>
                    <a:pt x="264" y="226"/>
                  </a:lnTo>
                  <a:lnTo>
                    <a:pt x="261" y="256"/>
                  </a:lnTo>
                  <a:lnTo>
                    <a:pt x="385" y="363"/>
                  </a:lnTo>
                  <a:lnTo>
                    <a:pt x="400" y="409"/>
                  </a:lnTo>
                  <a:lnTo>
                    <a:pt x="385" y="439"/>
                  </a:lnTo>
                  <a:lnTo>
                    <a:pt x="414" y="480"/>
                  </a:lnTo>
                  <a:lnTo>
                    <a:pt x="653" y="592"/>
                  </a:lnTo>
                  <a:lnTo>
                    <a:pt x="757" y="584"/>
                  </a:lnTo>
                  <a:lnTo>
                    <a:pt x="826" y="637"/>
                  </a:lnTo>
                  <a:lnTo>
                    <a:pt x="854" y="585"/>
                  </a:lnTo>
                  <a:lnTo>
                    <a:pt x="888" y="584"/>
                  </a:lnTo>
                  <a:lnTo>
                    <a:pt x="852" y="540"/>
                  </a:lnTo>
                  <a:lnTo>
                    <a:pt x="929" y="522"/>
                  </a:lnTo>
                  <a:lnTo>
                    <a:pt x="957" y="502"/>
                  </a:lnTo>
                  <a:lnTo>
                    <a:pt x="966" y="491"/>
                  </a:lnTo>
                  <a:lnTo>
                    <a:pt x="975" y="516"/>
                  </a:lnTo>
                  <a:lnTo>
                    <a:pt x="1007" y="410"/>
                  </a:lnTo>
                  <a:lnTo>
                    <a:pt x="965" y="394"/>
                  </a:lnTo>
                  <a:lnTo>
                    <a:pt x="889" y="410"/>
                  </a:lnTo>
                  <a:lnTo>
                    <a:pt x="849" y="502"/>
                  </a:lnTo>
                  <a:lnTo>
                    <a:pt x="752" y="512"/>
                  </a:lnTo>
                  <a:lnTo>
                    <a:pt x="712" y="489"/>
                  </a:lnTo>
                  <a:lnTo>
                    <a:pt x="647" y="376"/>
                  </a:lnTo>
                  <a:lnTo>
                    <a:pt x="645" y="289"/>
                  </a:lnTo>
                  <a:lnTo>
                    <a:pt x="667" y="247"/>
                  </a:lnTo>
                  <a:lnTo>
                    <a:pt x="601" y="225"/>
                  </a:lnTo>
                  <a:lnTo>
                    <a:pt x="517" y="105"/>
                  </a:lnTo>
                  <a:lnTo>
                    <a:pt x="447" y="131"/>
                  </a:lnTo>
                  <a:lnTo>
                    <a:pt x="355" y="32"/>
                  </a:lnTo>
                  <a:lnTo>
                    <a:pt x="204" y="53"/>
                  </a:lnTo>
                  <a:lnTo>
                    <a:pt x="77" y="0"/>
                  </a:lnTo>
                  <a:lnTo>
                    <a:pt x="0" y="7"/>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44" name="30489365.125209.8757.757.55">
              <a:extLst>
                <a:ext uri="{FF2B5EF4-FFF2-40B4-BE49-F238E27FC236}">
                  <a16:creationId xmlns:a16="http://schemas.microsoft.com/office/drawing/2014/main" id="{53991BFB-901C-4C6F-A27C-22094F6D952D}"/>
                </a:ext>
              </a:extLst>
            </p:cNvPr>
            <p:cNvSpPr>
              <a:spLocks noChangeAspect="1"/>
            </p:cNvSpPr>
            <p:nvPr/>
          </p:nvSpPr>
          <p:spPr bwMode="gray">
            <a:xfrm>
              <a:off x="3037420" y="4213263"/>
              <a:ext cx="121727" cy="124467"/>
            </a:xfrm>
            <a:custGeom>
              <a:avLst/>
              <a:gdLst/>
              <a:ahLst/>
              <a:cxnLst>
                <a:cxn ang="0">
                  <a:pos x="0" y="70"/>
                </a:cxn>
                <a:cxn ang="0">
                  <a:pos x="54" y="136"/>
                </a:cxn>
                <a:cxn ang="0">
                  <a:pos x="123" y="139"/>
                </a:cxn>
                <a:cxn ang="0">
                  <a:pos x="134" y="0"/>
                </a:cxn>
                <a:cxn ang="0">
                  <a:pos x="86" y="7"/>
                </a:cxn>
                <a:cxn ang="0">
                  <a:pos x="0" y="70"/>
                </a:cxn>
              </a:cxnLst>
              <a:rect l="0" t="0" r="r" b="b"/>
              <a:pathLst>
                <a:path w="134" h="139">
                  <a:moveTo>
                    <a:pt x="0" y="70"/>
                  </a:moveTo>
                  <a:lnTo>
                    <a:pt x="54" y="136"/>
                  </a:lnTo>
                  <a:lnTo>
                    <a:pt x="123" y="139"/>
                  </a:lnTo>
                  <a:lnTo>
                    <a:pt x="134" y="0"/>
                  </a:lnTo>
                  <a:lnTo>
                    <a:pt x="86" y="7"/>
                  </a:lnTo>
                  <a:lnTo>
                    <a:pt x="0" y="7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45" name="30491375.252184.7510.6255">
              <a:extLst>
                <a:ext uri="{FF2B5EF4-FFF2-40B4-BE49-F238E27FC236}">
                  <a16:creationId xmlns:a16="http://schemas.microsoft.com/office/drawing/2014/main" id="{C1E7F1F7-ED8D-471D-9C44-BE629A97C64D}"/>
                </a:ext>
              </a:extLst>
            </p:cNvPr>
            <p:cNvSpPr>
              <a:spLocks noChangeAspect="1"/>
            </p:cNvSpPr>
            <p:nvPr/>
          </p:nvSpPr>
          <p:spPr bwMode="gray">
            <a:xfrm>
              <a:off x="3168662" y="4376418"/>
              <a:ext cx="169276" cy="77372"/>
            </a:xfrm>
            <a:custGeom>
              <a:avLst/>
              <a:gdLst/>
              <a:ahLst/>
              <a:cxnLst>
                <a:cxn ang="0">
                  <a:pos x="0" y="45"/>
                </a:cxn>
                <a:cxn ang="0">
                  <a:pos x="15" y="0"/>
                </a:cxn>
                <a:cxn ang="0">
                  <a:pos x="55" y="27"/>
                </a:cxn>
                <a:cxn ang="0">
                  <a:pos x="127" y="1"/>
                </a:cxn>
                <a:cxn ang="0">
                  <a:pos x="189" y="33"/>
                </a:cxn>
                <a:cxn ang="0">
                  <a:pos x="172" y="81"/>
                </a:cxn>
                <a:cxn ang="0">
                  <a:pos x="167" y="41"/>
                </a:cxn>
                <a:cxn ang="0">
                  <a:pos x="127" y="26"/>
                </a:cxn>
                <a:cxn ang="0">
                  <a:pos x="88" y="51"/>
                </a:cxn>
                <a:cxn ang="0">
                  <a:pos x="98" y="73"/>
                </a:cxn>
                <a:cxn ang="0">
                  <a:pos x="81" y="84"/>
                </a:cxn>
                <a:cxn ang="0">
                  <a:pos x="0" y="45"/>
                </a:cxn>
              </a:cxnLst>
              <a:rect l="0" t="0" r="r" b="b"/>
              <a:pathLst>
                <a:path w="189" h="84">
                  <a:moveTo>
                    <a:pt x="0" y="45"/>
                  </a:moveTo>
                  <a:lnTo>
                    <a:pt x="15" y="0"/>
                  </a:lnTo>
                  <a:lnTo>
                    <a:pt x="55" y="27"/>
                  </a:lnTo>
                  <a:lnTo>
                    <a:pt x="127" y="1"/>
                  </a:lnTo>
                  <a:lnTo>
                    <a:pt x="189" y="33"/>
                  </a:lnTo>
                  <a:lnTo>
                    <a:pt x="172" y="81"/>
                  </a:lnTo>
                  <a:lnTo>
                    <a:pt x="167" y="41"/>
                  </a:lnTo>
                  <a:lnTo>
                    <a:pt x="127" y="26"/>
                  </a:lnTo>
                  <a:lnTo>
                    <a:pt x="88" y="51"/>
                  </a:lnTo>
                  <a:lnTo>
                    <a:pt x="98" y="73"/>
                  </a:lnTo>
                  <a:lnTo>
                    <a:pt x="81" y="84"/>
                  </a:lnTo>
                  <a:lnTo>
                    <a:pt x="0" y="4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46" name="30495429.75256.3751615.55">
              <a:extLst>
                <a:ext uri="{FF2B5EF4-FFF2-40B4-BE49-F238E27FC236}">
                  <a16:creationId xmlns:a16="http://schemas.microsoft.com/office/drawing/2014/main" id="{993DB399-0DF9-47B2-AB50-6E18C054BF6B}"/>
                </a:ext>
              </a:extLst>
            </p:cNvPr>
            <p:cNvSpPr>
              <a:spLocks noChangeAspect="1"/>
            </p:cNvSpPr>
            <p:nvPr/>
          </p:nvSpPr>
          <p:spPr bwMode="gray">
            <a:xfrm>
              <a:off x="3781105" y="5259465"/>
              <a:ext cx="251064" cy="259026"/>
            </a:xfrm>
            <a:custGeom>
              <a:avLst/>
              <a:gdLst/>
              <a:ahLst/>
              <a:cxnLst>
                <a:cxn ang="0">
                  <a:pos x="0" y="106"/>
                </a:cxn>
                <a:cxn ang="0">
                  <a:pos x="21" y="16"/>
                </a:cxn>
                <a:cxn ang="0">
                  <a:pos x="118" y="0"/>
                </a:cxn>
                <a:cxn ang="0">
                  <a:pos x="151" y="30"/>
                </a:cxn>
                <a:cxn ang="0">
                  <a:pos x="159" y="97"/>
                </a:cxn>
                <a:cxn ang="0">
                  <a:pos x="228" y="108"/>
                </a:cxn>
                <a:cxn ang="0">
                  <a:pos x="238" y="155"/>
                </a:cxn>
                <a:cxn ang="0">
                  <a:pos x="272" y="164"/>
                </a:cxn>
                <a:cxn ang="0">
                  <a:pos x="267" y="223"/>
                </a:cxn>
                <a:cxn ang="0">
                  <a:pos x="232" y="283"/>
                </a:cxn>
                <a:cxn ang="0">
                  <a:pos x="142" y="279"/>
                </a:cxn>
                <a:cxn ang="0">
                  <a:pos x="161" y="212"/>
                </a:cxn>
                <a:cxn ang="0">
                  <a:pos x="0" y="106"/>
                </a:cxn>
              </a:cxnLst>
              <a:rect l="0" t="0" r="r" b="b"/>
              <a:pathLst>
                <a:path w="272" h="283">
                  <a:moveTo>
                    <a:pt x="0" y="106"/>
                  </a:moveTo>
                  <a:lnTo>
                    <a:pt x="21" y="16"/>
                  </a:lnTo>
                  <a:lnTo>
                    <a:pt x="118" y="0"/>
                  </a:lnTo>
                  <a:lnTo>
                    <a:pt x="151" y="30"/>
                  </a:lnTo>
                  <a:lnTo>
                    <a:pt x="159" y="97"/>
                  </a:lnTo>
                  <a:lnTo>
                    <a:pt x="228" y="108"/>
                  </a:lnTo>
                  <a:lnTo>
                    <a:pt x="238" y="155"/>
                  </a:lnTo>
                  <a:lnTo>
                    <a:pt x="272" y="164"/>
                  </a:lnTo>
                  <a:lnTo>
                    <a:pt x="267" y="223"/>
                  </a:lnTo>
                  <a:lnTo>
                    <a:pt x="232" y="283"/>
                  </a:lnTo>
                  <a:lnTo>
                    <a:pt x="142" y="279"/>
                  </a:lnTo>
                  <a:lnTo>
                    <a:pt x="161" y="212"/>
                  </a:lnTo>
                  <a:lnTo>
                    <a:pt x="0" y="106"/>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47" name="30496393.625221.12534.12523.6255">
              <a:extLst>
                <a:ext uri="{FF2B5EF4-FFF2-40B4-BE49-F238E27FC236}">
                  <a16:creationId xmlns:a16="http://schemas.microsoft.com/office/drawing/2014/main" id="{0F941DE0-F0BB-4F64-98E0-034AB5DD4031}"/>
                </a:ext>
              </a:extLst>
            </p:cNvPr>
            <p:cNvSpPr>
              <a:spLocks noChangeAspect="1"/>
            </p:cNvSpPr>
            <p:nvPr/>
          </p:nvSpPr>
          <p:spPr bwMode="gray">
            <a:xfrm>
              <a:off x="3218112" y="4674132"/>
              <a:ext cx="380401" cy="551694"/>
            </a:xfrm>
            <a:custGeom>
              <a:avLst/>
              <a:gdLst/>
              <a:ahLst/>
              <a:cxnLst>
                <a:cxn ang="0">
                  <a:pos x="0" y="142"/>
                </a:cxn>
                <a:cxn ang="0">
                  <a:pos x="8" y="190"/>
                </a:cxn>
                <a:cxn ang="0">
                  <a:pos x="83" y="274"/>
                </a:cxn>
                <a:cxn ang="0">
                  <a:pos x="167" y="472"/>
                </a:cxn>
                <a:cxn ang="0">
                  <a:pos x="358" y="604"/>
                </a:cxn>
                <a:cxn ang="0">
                  <a:pos x="391" y="580"/>
                </a:cxn>
                <a:cxn ang="0">
                  <a:pos x="409" y="538"/>
                </a:cxn>
                <a:cxn ang="0">
                  <a:pos x="380" y="523"/>
                </a:cxn>
                <a:cxn ang="0">
                  <a:pos x="398" y="512"/>
                </a:cxn>
                <a:cxn ang="0">
                  <a:pos x="419" y="408"/>
                </a:cxn>
                <a:cxn ang="0">
                  <a:pos x="389" y="360"/>
                </a:cxn>
                <a:cxn ang="0">
                  <a:pos x="360" y="360"/>
                </a:cxn>
                <a:cxn ang="0">
                  <a:pos x="360" y="305"/>
                </a:cxn>
                <a:cxn ang="0">
                  <a:pos x="324" y="329"/>
                </a:cxn>
                <a:cxn ang="0">
                  <a:pos x="279" y="308"/>
                </a:cxn>
                <a:cxn ang="0">
                  <a:pos x="250" y="246"/>
                </a:cxn>
                <a:cxn ang="0">
                  <a:pos x="296" y="169"/>
                </a:cxn>
                <a:cxn ang="0">
                  <a:pos x="380" y="135"/>
                </a:cxn>
                <a:cxn ang="0">
                  <a:pos x="357" y="121"/>
                </a:cxn>
                <a:cxn ang="0">
                  <a:pos x="371" y="81"/>
                </a:cxn>
                <a:cxn ang="0">
                  <a:pos x="276" y="74"/>
                </a:cxn>
                <a:cxn ang="0">
                  <a:pos x="203" y="0"/>
                </a:cxn>
                <a:cxn ang="0">
                  <a:pos x="187" y="55"/>
                </a:cxn>
                <a:cxn ang="0">
                  <a:pos x="111" y="100"/>
                </a:cxn>
                <a:cxn ang="0">
                  <a:pos x="72" y="158"/>
                </a:cxn>
                <a:cxn ang="0">
                  <a:pos x="29" y="148"/>
                </a:cxn>
                <a:cxn ang="0">
                  <a:pos x="34" y="114"/>
                </a:cxn>
                <a:cxn ang="0">
                  <a:pos x="0" y="142"/>
                </a:cxn>
              </a:cxnLst>
              <a:rect l="0" t="0" r="r" b="b"/>
              <a:pathLst>
                <a:path w="419" h="604">
                  <a:moveTo>
                    <a:pt x="0" y="142"/>
                  </a:moveTo>
                  <a:lnTo>
                    <a:pt x="8" y="190"/>
                  </a:lnTo>
                  <a:lnTo>
                    <a:pt x="83" y="274"/>
                  </a:lnTo>
                  <a:lnTo>
                    <a:pt x="167" y="472"/>
                  </a:lnTo>
                  <a:lnTo>
                    <a:pt x="358" y="604"/>
                  </a:lnTo>
                  <a:lnTo>
                    <a:pt x="391" y="580"/>
                  </a:lnTo>
                  <a:lnTo>
                    <a:pt x="409" y="538"/>
                  </a:lnTo>
                  <a:lnTo>
                    <a:pt x="380" y="523"/>
                  </a:lnTo>
                  <a:lnTo>
                    <a:pt x="398" y="512"/>
                  </a:lnTo>
                  <a:lnTo>
                    <a:pt x="419" y="408"/>
                  </a:lnTo>
                  <a:lnTo>
                    <a:pt x="389" y="360"/>
                  </a:lnTo>
                  <a:lnTo>
                    <a:pt x="360" y="360"/>
                  </a:lnTo>
                  <a:lnTo>
                    <a:pt x="360" y="305"/>
                  </a:lnTo>
                  <a:lnTo>
                    <a:pt x="324" y="329"/>
                  </a:lnTo>
                  <a:lnTo>
                    <a:pt x="279" y="308"/>
                  </a:lnTo>
                  <a:lnTo>
                    <a:pt x="250" y="246"/>
                  </a:lnTo>
                  <a:lnTo>
                    <a:pt x="296" y="169"/>
                  </a:lnTo>
                  <a:lnTo>
                    <a:pt x="380" y="135"/>
                  </a:lnTo>
                  <a:lnTo>
                    <a:pt x="357" y="121"/>
                  </a:lnTo>
                  <a:lnTo>
                    <a:pt x="371" y="81"/>
                  </a:lnTo>
                  <a:lnTo>
                    <a:pt x="276" y="74"/>
                  </a:lnTo>
                  <a:lnTo>
                    <a:pt x="203" y="0"/>
                  </a:lnTo>
                  <a:lnTo>
                    <a:pt x="187" y="55"/>
                  </a:lnTo>
                  <a:lnTo>
                    <a:pt x="111" y="100"/>
                  </a:lnTo>
                  <a:lnTo>
                    <a:pt x="72" y="158"/>
                  </a:lnTo>
                  <a:lnTo>
                    <a:pt x="29" y="148"/>
                  </a:lnTo>
                  <a:lnTo>
                    <a:pt x="34" y="114"/>
                  </a:lnTo>
                  <a:lnTo>
                    <a:pt x="0" y="142"/>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48" name="30514382.52657.257.755">
              <a:extLst>
                <a:ext uri="{FF2B5EF4-FFF2-40B4-BE49-F238E27FC236}">
                  <a16:creationId xmlns:a16="http://schemas.microsoft.com/office/drawing/2014/main" id="{4CD77E65-98B5-413B-A3B0-CFAC3C37B538}"/>
                </a:ext>
              </a:extLst>
            </p:cNvPr>
            <p:cNvSpPr>
              <a:spLocks noChangeAspect="1"/>
            </p:cNvSpPr>
            <p:nvPr/>
          </p:nvSpPr>
          <p:spPr bwMode="gray">
            <a:xfrm>
              <a:off x="3921854" y="4492475"/>
              <a:ext cx="121727" cy="119422"/>
            </a:xfrm>
            <a:custGeom>
              <a:avLst/>
              <a:gdLst/>
              <a:ahLst/>
              <a:cxnLst>
                <a:cxn ang="0">
                  <a:pos x="0" y="60"/>
                </a:cxn>
                <a:cxn ang="0">
                  <a:pos x="37" y="0"/>
                </a:cxn>
                <a:cxn ang="0">
                  <a:pos x="138" y="11"/>
                </a:cxn>
                <a:cxn ang="0">
                  <a:pos x="124" y="121"/>
                </a:cxn>
                <a:cxn ang="0">
                  <a:pos x="54" y="130"/>
                </a:cxn>
                <a:cxn ang="0">
                  <a:pos x="0" y="60"/>
                </a:cxn>
              </a:cxnLst>
              <a:rect l="0" t="0" r="r" b="b"/>
              <a:pathLst>
                <a:path w="138" h="130">
                  <a:moveTo>
                    <a:pt x="0" y="60"/>
                  </a:moveTo>
                  <a:lnTo>
                    <a:pt x="37" y="0"/>
                  </a:lnTo>
                  <a:lnTo>
                    <a:pt x="138" y="11"/>
                  </a:lnTo>
                  <a:lnTo>
                    <a:pt x="124" y="121"/>
                  </a:lnTo>
                  <a:lnTo>
                    <a:pt x="54" y="130"/>
                  </a:lnTo>
                  <a:lnTo>
                    <a:pt x="0" y="6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49" name="30521373.25257.6251.3751.755">
              <a:extLst>
                <a:ext uri="{FF2B5EF4-FFF2-40B4-BE49-F238E27FC236}">
                  <a16:creationId xmlns:a16="http://schemas.microsoft.com/office/drawing/2014/main" id="{C2869713-324A-45FE-BF5B-5A4A7BCACA84}"/>
                </a:ext>
              </a:extLst>
            </p:cNvPr>
            <p:cNvSpPr>
              <a:spLocks noChangeAspect="1"/>
            </p:cNvSpPr>
            <p:nvPr/>
          </p:nvSpPr>
          <p:spPr bwMode="gray">
            <a:xfrm>
              <a:off x="3803932" y="4344460"/>
              <a:ext cx="28528" cy="20183"/>
            </a:xfrm>
            <a:custGeom>
              <a:avLst/>
              <a:gdLst/>
              <a:ahLst/>
              <a:cxnLst>
                <a:cxn ang="0">
                  <a:pos x="0" y="23"/>
                </a:cxn>
                <a:cxn ang="0">
                  <a:pos x="31" y="19"/>
                </a:cxn>
                <a:cxn ang="0">
                  <a:pos x="33" y="0"/>
                </a:cxn>
                <a:cxn ang="0">
                  <a:pos x="0" y="23"/>
                </a:cxn>
              </a:cxnLst>
              <a:rect l="0" t="0" r="r" b="b"/>
              <a:pathLst>
                <a:path w="33" h="23">
                  <a:moveTo>
                    <a:pt x="0" y="23"/>
                  </a:moveTo>
                  <a:lnTo>
                    <a:pt x="31" y="19"/>
                  </a:lnTo>
                  <a:lnTo>
                    <a:pt x="33" y="0"/>
                  </a:lnTo>
                  <a:lnTo>
                    <a:pt x="0" y="23"/>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50" name="3053123057.8754956.255">
              <a:extLst>
                <a:ext uri="{FF2B5EF4-FFF2-40B4-BE49-F238E27FC236}">
                  <a16:creationId xmlns:a16="http://schemas.microsoft.com/office/drawing/2014/main" id="{0AFCC6BE-97D9-4508-98B1-44D7B0478A92}"/>
                </a:ext>
              </a:extLst>
            </p:cNvPr>
            <p:cNvSpPr>
              <a:spLocks noChangeAspect="1"/>
            </p:cNvSpPr>
            <p:nvPr/>
          </p:nvSpPr>
          <p:spPr bwMode="gray">
            <a:xfrm>
              <a:off x="600951" y="2024992"/>
              <a:ext cx="901550" cy="793902"/>
            </a:xfrm>
            <a:custGeom>
              <a:avLst/>
              <a:gdLst/>
              <a:ahLst/>
              <a:cxnLst>
                <a:cxn ang="0">
                  <a:pos x="64" y="348"/>
                </a:cxn>
                <a:cxn ang="0">
                  <a:pos x="66" y="386"/>
                </a:cxn>
                <a:cxn ang="0">
                  <a:pos x="180" y="404"/>
                </a:cxn>
                <a:cxn ang="0">
                  <a:pos x="222" y="389"/>
                </a:cxn>
                <a:cxn ang="0">
                  <a:pos x="98" y="492"/>
                </a:cxn>
                <a:cxn ang="0">
                  <a:pos x="94" y="541"/>
                </a:cxn>
                <a:cxn ang="0">
                  <a:pos x="94" y="574"/>
                </a:cxn>
                <a:cxn ang="0">
                  <a:pos x="116" y="609"/>
                </a:cxn>
                <a:cxn ang="0">
                  <a:pos x="165" y="641"/>
                </a:cxn>
                <a:cxn ang="0">
                  <a:pos x="186" y="609"/>
                </a:cxn>
                <a:cxn ang="0">
                  <a:pos x="200" y="690"/>
                </a:cxn>
                <a:cxn ang="0">
                  <a:pos x="303" y="699"/>
                </a:cxn>
                <a:cxn ang="0">
                  <a:pos x="330" y="690"/>
                </a:cxn>
                <a:cxn ang="0">
                  <a:pos x="312" y="777"/>
                </a:cxn>
                <a:cxn ang="0">
                  <a:pos x="262" y="822"/>
                </a:cxn>
                <a:cxn ang="0">
                  <a:pos x="156" y="868"/>
                </a:cxn>
                <a:cxn ang="0">
                  <a:pos x="278" y="836"/>
                </a:cxn>
                <a:cxn ang="0">
                  <a:pos x="297" y="788"/>
                </a:cxn>
                <a:cxn ang="0">
                  <a:pos x="464" y="710"/>
                </a:cxn>
                <a:cxn ang="0">
                  <a:pos x="465" y="656"/>
                </a:cxn>
                <a:cxn ang="0">
                  <a:pos x="591" y="507"/>
                </a:cxn>
                <a:cxn ang="0">
                  <a:pos x="623" y="547"/>
                </a:cxn>
                <a:cxn ang="0">
                  <a:pos x="634" y="579"/>
                </a:cxn>
                <a:cxn ang="0">
                  <a:pos x="539" y="633"/>
                </a:cxn>
                <a:cxn ang="0">
                  <a:pos x="542" y="664"/>
                </a:cxn>
                <a:cxn ang="0">
                  <a:pos x="663" y="596"/>
                </a:cxn>
                <a:cxn ang="0">
                  <a:pos x="671" y="558"/>
                </a:cxn>
                <a:cxn ang="0">
                  <a:pos x="721" y="567"/>
                </a:cxn>
                <a:cxn ang="0">
                  <a:pos x="797" y="622"/>
                </a:cxn>
                <a:cxn ang="0">
                  <a:pos x="947" y="619"/>
                </a:cxn>
                <a:cxn ang="0">
                  <a:pos x="942" y="648"/>
                </a:cxn>
                <a:cxn ang="0">
                  <a:pos x="997" y="652"/>
                </a:cxn>
                <a:cxn ang="0">
                  <a:pos x="902" y="609"/>
                </a:cxn>
                <a:cxn ang="0">
                  <a:pos x="545" y="58"/>
                </a:cxn>
                <a:cxn ang="0">
                  <a:pos x="432" y="16"/>
                </a:cxn>
                <a:cxn ang="0">
                  <a:pos x="392" y="32"/>
                </a:cxn>
                <a:cxn ang="0">
                  <a:pos x="378" y="0"/>
                </a:cxn>
                <a:cxn ang="0">
                  <a:pos x="274" y="37"/>
                </a:cxn>
                <a:cxn ang="0">
                  <a:pos x="264" y="49"/>
                </a:cxn>
                <a:cxn ang="0">
                  <a:pos x="213" y="89"/>
                </a:cxn>
                <a:cxn ang="0">
                  <a:pos x="149" y="131"/>
                </a:cxn>
                <a:cxn ang="0">
                  <a:pos x="66" y="172"/>
                </a:cxn>
                <a:cxn ang="0">
                  <a:pos x="146" y="249"/>
                </a:cxn>
                <a:cxn ang="0">
                  <a:pos x="200" y="274"/>
                </a:cxn>
                <a:cxn ang="0">
                  <a:pos x="238" y="296"/>
                </a:cxn>
                <a:cxn ang="0">
                  <a:pos x="146" y="307"/>
                </a:cxn>
                <a:cxn ang="0">
                  <a:pos x="113" y="279"/>
                </a:cxn>
              </a:cxnLst>
              <a:rect l="0" t="0" r="r" b="b"/>
              <a:pathLst>
                <a:path w="997" h="868">
                  <a:moveTo>
                    <a:pt x="0" y="331"/>
                  </a:moveTo>
                  <a:lnTo>
                    <a:pt x="64" y="348"/>
                  </a:lnTo>
                  <a:lnTo>
                    <a:pt x="39" y="355"/>
                  </a:lnTo>
                  <a:lnTo>
                    <a:pt x="66" y="386"/>
                  </a:lnTo>
                  <a:lnTo>
                    <a:pt x="165" y="384"/>
                  </a:lnTo>
                  <a:lnTo>
                    <a:pt x="180" y="404"/>
                  </a:lnTo>
                  <a:lnTo>
                    <a:pt x="244" y="378"/>
                  </a:lnTo>
                  <a:lnTo>
                    <a:pt x="222" y="389"/>
                  </a:lnTo>
                  <a:lnTo>
                    <a:pt x="234" y="443"/>
                  </a:lnTo>
                  <a:lnTo>
                    <a:pt x="98" y="492"/>
                  </a:lnTo>
                  <a:lnTo>
                    <a:pt x="61" y="549"/>
                  </a:lnTo>
                  <a:lnTo>
                    <a:pt x="94" y="541"/>
                  </a:lnTo>
                  <a:lnTo>
                    <a:pt x="69" y="554"/>
                  </a:lnTo>
                  <a:lnTo>
                    <a:pt x="94" y="574"/>
                  </a:lnTo>
                  <a:lnTo>
                    <a:pt x="145" y="580"/>
                  </a:lnTo>
                  <a:lnTo>
                    <a:pt x="116" y="609"/>
                  </a:lnTo>
                  <a:lnTo>
                    <a:pt x="139" y="638"/>
                  </a:lnTo>
                  <a:lnTo>
                    <a:pt x="165" y="641"/>
                  </a:lnTo>
                  <a:lnTo>
                    <a:pt x="219" y="580"/>
                  </a:lnTo>
                  <a:lnTo>
                    <a:pt x="186" y="609"/>
                  </a:lnTo>
                  <a:lnTo>
                    <a:pt x="213" y="667"/>
                  </a:lnTo>
                  <a:lnTo>
                    <a:pt x="200" y="690"/>
                  </a:lnTo>
                  <a:lnTo>
                    <a:pt x="262" y="657"/>
                  </a:lnTo>
                  <a:lnTo>
                    <a:pt x="303" y="699"/>
                  </a:lnTo>
                  <a:lnTo>
                    <a:pt x="316" y="674"/>
                  </a:lnTo>
                  <a:lnTo>
                    <a:pt x="330" y="690"/>
                  </a:lnTo>
                  <a:lnTo>
                    <a:pt x="377" y="668"/>
                  </a:lnTo>
                  <a:lnTo>
                    <a:pt x="312" y="777"/>
                  </a:lnTo>
                  <a:lnTo>
                    <a:pt x="263" y="799"/>
                  </a:lnTo>
                  <a:lnTo>
                    <a:pt x="262" y="822"/>
                  </a:lnTo>
                  <a:lnTo>
                    <a:pt x="200" y="824"/>
                  </a:lnTo>
                  <a:lnTo>
                    <a:pt x="156" y="868"/>
                  </a:lnTo>
                  <a:lnTo>
                    <a:pt x="213" y="835"/>
                  </a:lnTo>
                  <a:lnTo>
                    <a:pt x="278" y="836"/>
                  </a:lnTo>
                  <a:lnTo>
                    <a:pt x="314" y="810"/>
                  </a:lnTo>
                  <a:lnTo>
                    <a:pt x="297" y="788"/>
                  </a:lnTo>
                  <a:lnTo>
                    <a:pt x="337" y="792"/>
                  </a:lnTo>
                  <a:lnTo>
                    <a:pt x="464" y="710"/>
                  </a:lnTo>
                  <a:lnTo>
                    <a:pt x="488" y="679"/>
                  </a:lnTo>
                  <a:lnTo>
                    <a:pt x="465" y="656"/>
                  </a:lnTo>
                  <a:lnTo>
                    <a:pt x="575" y="557"/>
                  </a:lnTo>
                  <a:lnTo>
                    <a:pt x="591" y="507"/>
                  </a:lnTo>
                  <a:lnTo>
                    <a:pt x="579" y="557"/>
                  </a:lnTo>
                  <a:lnTo>
                    <a:pt x="623" y="547"/>
                  </a:lnTo>
                  <a:lnTo>
                    <a:pt x="600" y="568"/>
                  </a:lnTo>
                  <a:lnTo>
                    <a:pt x="634" y="579"/>
                  </a:lnTo>
                  <a:lnTo>
                    <a:pt x="554" y="586"/>
                  </a:lnTo>
                  <a:lnTo>
                    <a:pt x="539" y="633"/>
                  </a:lnTo>
                  <a:lnTo>
                    <a:pt x="568" y="631"/>
                  </a:lnTo>
                  <a:lnTo>
                    <a:pt x="542" y="664"/>
                  </a:lnTo>
                  <a:lnTo>
                    <a:pt x="648" y="622"/>
                  </a:lnTo>
                  <a:lnTo>
                    <a:pt x="663" y="596"/>
                  </a:lnTo>
                  <a:lnTo>
                    <a:pt x="646" y="583"/>
                  </a:lnTo>
                  <a:lnTo>
                    <a:pt x="671" y="558"/>
                  </a:lnTo>
                  <a:lnTo>
                    <a:pt x="667" y="579"/>
                  </a:lnTo>
                  <a:lnTo>
                    <a:pt x="721" y="567"/>
                  </a:lnTo>
                  <a:lnTo>
                    <a:pt x="710" y="587"/>
                  </a:lnTo>
                  <a:lnTo>
                    <a:pt x="797" y="622"/>
                  </a:lnTo>
                  <a:lnTo>
                    <a:pt x="925" y="638"/>
                  </a:lnTo>
                  <a:lnTo>
                    <a:pt x="947" y="619"/>
                  </a:lnTo>
                  <a:lnTo>
                    <a:pt x="965" y="629"/>
                  </a:lnTo>
                  <a:lnTo>
                    <a:pt x="942" y="648"/>
                  </a:lnTo>
                  <a:lnTo>
                    <a:pt x="979" y="667"/>
                  </a:lnTo>
                  <a:lnTo>
                    <a:pt x="997" y="652"/>
                  </a:lnTo>
                  <a:lnTo>
                    <a:pt x="964" y="609"/>
                  </a:lnTo>
                  <a:lnTo>
                    <a:pt x="902" y="609"/>
                  </a:lnTo>
                  <a:lnTo>
                    <a:pt x="902" y="99"/>
                  </a:lnTo>
                  <a:lnTo>
                    <a:pt x="545" y="58"/>
                  </a:lnTo>
                  <a:lnTo>
                    <a:pt x="531" y="33"/>
                  </a:lnTo>
                  <a:lnTo>
                    <a:pt x="432" y="16"/>
                  </a:lnTo>
                  <a:lnTo>
                    <a:pt x="421" y="37"/>
                  </a:lnTo>
                  <a:lnTo>
                    <a:pt x="392" y="32"/>
                  </a:lnTo>
                  <a:lnTo>
                    <a:pt x="420" y="14"/>
                  </a:lnTo>
                  <a:lnTo>
                    <a:pt x="378" y="0"/>
                  </a:lnTo>
                  <a:lnTo>
                    <a:pt x="338" y="33"/>
                  </a:lnTo>
                  <a:lnTo>
                    <a:pt x="274" y="37"/>
                  </a:lnTo>
                  <a:lnTo>
                    <a:pt x="271" y="67"/>
                  </a:lnTo>
                  <a:lnTo>
                    <a:pt x="264" y="49"/>
                  </a:lnTo>
                  <a:lnTo>
                    <a:pt x="204" y="66"/>
                  </a:lnTo>
                  <a:lnTo>
                    <a:pt x="213" y="89"/>
                  </a:lnTo>
                  <a:lnTo>
                    <a:pt x="186" y="82"/>
                  </a:lnTo>
                  <a:lnTo>
                    <a:pt x="149" y="131"/>
                  </a:lnTo>
                  <a:lnTo>
                    <a:pt x="61" y="150"/>
                  </a:lnTo>
                  <a:lnTo>
                    <a:pt x="66" y="172"/>
                  </a:lnTo>
                  <a:lnTo>
                    <a:pt x="40" y="177"/>
                  </a:lnTo>
                  <a:lnTo>
                    <a:pt x="146" y="249"/>
                  </a:lnTo>
                  <a:lnTo>
                    <a:pt x="286" y="283"/>
                  </a:lnTo>
                  <a:lnTo>
                    <a:pt x="200" y="274"/>
                  </a:lnTo>
                  <a:lnTo>
                    <a:pt x="204" y="294"/>
                  </a:lnTo>
                  <a:lnTo>
                    <a:pt x="238" y="296"/>
                  </a:lnTo>
                  <a:lnTo>
                    <a:pt x="209" y="311"/>
                  </a:lnTo>
                  <a:lnTo>
                    <a:pt x="146" y="307"/>
                  </a:lnTo>
                  <a:lnTo>
                    <a:pt x="146" y="276"/>
                  </a:lnTo>
                  <a:lnTo>
                    <a:pt x="113" y="279"/>
                  </a:lnTo>
                  <a:lnTo>
                    <a:pt x="0" y="331"/>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51" name="30532271.2582.752.754.8755">
              <a:extLst>
                <a:ext uri="{FF2B5EF4-FFF2-40B4-BE49-F238E27FC236}">
                  <a16:creationId xmlns:a16="http://schemas.microsoft.com/office/drawing/2014/main" id="{B9BF8869-468D-4A7E-9C7B-E68A4671E654}"/>
                </a:ext>
              </a:extLst>
            </p:cNvPr>
            <p:cNvSpPr>
              <a:spLocks noChangeAspect="1"/>
            </p:cNvSpPr>
            <p:nvPr/>
          </p:nvSpPr>
          <p:spPr bwMode="gray">
            <a:xfrm>
              <a:off x="1000373" y="2691062"/>
              <a:ext cx="77982" cy="43734"/>
            </a:xfrm>
            <a:custGeom>
              <a:avLst/>
              <a:gdLst/>
              <a:ahLst/>
              <a:cxnLst>
                <a:cxn ang="0">
                  <a:pos x="0" y="21"/>
                </a:cxn>
                <a:cxn ang="0">
                  <a:pos x="25" y="51"/>
                </a:cxn>
                <a:cxn ang="0">
                  <a:pos x="88" y="8"/>
                </a:cxn>
                <a:cxn ang="0">
                  <a:pos x="29" y="0"/>
                </a:cxn>
                <a:cxn ang="0">
                  <a:pos x="36" y="19"/>
                </a:cxn>
                <a:cxn ang="0">
                  <a:pos x="0" y="21"/>
                </a:cxn>
              </a:cxnLst>
              <a:rect l="0" t="0" r="r" b="b"/>
              <a:pathLst>
                <a:path w="88" h="51">
                  <a:moveTo>
                    <a:pt x="0" y="21"/>
                  </a:moveTo>
                  <a:lnTo>
                    <a:pt x="25" y="51"/>
                  </a:lnTo>
                  <a:lnTo>
                    <a:pt x="88" y="8"/>
                  </a:lnTo>
                  <a:lnTo>
                    <a:pt x="29" y="0"/>
                  </a:lnTo>
                  <a:lnTo>
                    <a:pt x="36" y="19"/>
                  </a:lnTo>
                  <a:lnTo>
                    <a:pt x="0" y="21"/>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52" name="30533265.75114.2513.5155">
              <a:extLst>
                <a:ext uri="{FF2B5EF4-FFF2-40B4-BE49-F238E27FC236}">
                  <a16:creationId xmlns:a16="http://schemas.microsoft.com/office/drawing/2014/main" id="{D28F1E1B-9EFC-4192-8992-C0297C26E5A9}"/>
                </a:ext>
              </a:extLst>
            </p:cNvPr>
            <p:cNvSpPr>
              <a:spLocks noChangeAspect="1"/>
            </p:cNvSpPr>
            <p:nvPr/>
          </p:nvSpPr>
          <p:spPr bwMode="gray">
            <a:xfrm>
              <a:off x="1506306" y="2601915"/>
              <a:ext cx="239653" cy="220341"/>
            </a:xfrm>
            <a:custGeom>
              <a:avLst/>
              <a:gdLst/>
              <a:ahLst/>
              <a:cxnLst>
                <a:cxn ang="0">
                  <a:pos x="0" y="23"/>
                </a:cxn>
                <a:cxn ang="0">
                  <a:pos x="11" y="59"/>
                </a:cxn>
                <a:cxn ang="0">
                  <a:pos x="48" y="73"/>
                </a:cxn>
                <a:cxn ang="0">
                  <a:pos x="64" y="62"/>
                </a:cxn>
                <a:cxn ang="0">
                  <a:pos x="33" y="44"/>
                </a:cxn>
                <a:cxn ang="0">
                  <a:pos x="64" y="44"/>
                </a:cxn>
                <a:cxn ang="0">
                  <a:pos x="92" y="74"/>
                </a:cxn>
                <a:cxn ang="0">
                  <a:pos x="84" y="20"/>
                </a:cxn>
                <a:cxn ang="0">
                  <a:pos x="106" y="67"/>
                </a:cxn>
                <a:cxn ang="0">
                  <a:pos x="162" y="95"/>
                </a:cxn>
                <a:cxn ang="0">
                  <a:pos x="151" y="128"/>
                </a:cxn>
                <a:cxn ang="0">
                  <a:pos x="216" y="169"/>
                </a:cxn>
                <a:cxn ang="0">
                  <a:pos x="198" y="203"/>
                </a:cxn>
                <a:cxn ang="0">
                  <a:pos x="232" y="176"/>
                </a:cxn>
                <a:cxn ang="0">
                  <a:pos x="239" y="239"/>
                </a:cxn>
                <a:cxn ang="0">
                  <a:pos x="264" y="228"/>
                </a:cxn>
                <a:cxn ang="0">
                  <a:pos x="266" y="180"/>
                </a:cxn>
                <a:cxn ang="0">
                  <a:pos x="203" y="154"/>
                </a:cxn>
                <a:cxn ang="0">
                  <a:pos x="85" y="0"/>
                </a:cxn>
                <a:cxn ang="0">
                  <a:pos x="18" y="44"/>
                </a:cxn>
                <a:cxn ang="0">
                  <a:pos x="0" y="23"/>
                </a:cxn>
              </a:cxnLst>
              <a:rect l="0" t="0" r="r" b="b"/>
              <a:pathLst>
                <a:path w="266" h="239">
                  <a:moveTo>
                    <a:pt x="0" y="23"/>
                  </a:moveTo>
                  <a:lnTo>
                    <a:pt x="11" y="59"/>
                  </a:lnTo>
                  <a:lnTo>
                    <a:pt x="48" y="73"/>
                  </a:lnTo>
                  <a:lnTo>
                    <a:pt x="64" y="62"/>
                  </a:lnTo>
                  <a:lnTo>
                    <a:pt x="33" y="44"/>
                  </a:lnTo>
                  <a:lnTo>
                    <a:pt x="64" y="44"/>
                  </a:lnTo>
                  <a:lnTo>
                    <a:pt x="92" y="74"/>
                  </a:lnTo>
                  <a:lnTo>
                    <a:pt x="84" y="20"/>
                  </a:lnTo>
                  <a:lnTo>
                    <a:pt x="106" y="67"/>
                  </a:lnTo>
                  <a:lnTo>
                    <a:pt x="162" y="95"/>
                  </a:lnTo>
                  <a:lnTo>
                    <a:pt x="151" y="128"/>
                  </a:lnTo>
                  <a:lnTo>
                    <a:pt x="216" y="169"/>
                  </a:lnTo>
                  <a:lnTo>
                    <a:pt x="198" y="203"/>
                  </a:lnTo>
                  <a:lnTo>
                    <a:pt x="232" y="176"/>
                  </a:lnTo>
                  <a:lnTo>
                    <a:pt x="239" y="239"/>
                  </a:lnTo>
                  <a:lnTo>
                    <a:pt x="264" y="228"/>
                  </a:lnTo>
                  <a:lnTo>
                    <a:pt x="266" y="180"/>
                  </a:lnTo>
                  <a:lnTo>
                    <a:pt x="203" y="154"/>
                  </a:lnTo>
                  <a:lnTo>
                    <a:pt x="85" y="0"/>
                  </a:lnTo>
                  <a:lnTo>
                    <a:pt x="18" y="44"/>
                  </a:lnTo>
                  <a:lnTo>
                    <a:pt x="0" y="23"/>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53" name="30534270.125117.6252.252.3755">
              <a:extLst>
                <a:ext uri="{FF2B5EF4-FFF2-40B4-BE49-F238E27FC236}">
                  <a16:creationId xmlns:a16="http://schemas.microsoft.com/office/drawing/2014/main" id="{794CF4CB-69E1-4A78-8764-3A27F077527B}"/>
                </a:ext>
              </a:extLst>
            </p:cNvPr>
            <p:cNvSpPr>
              <a:spLocks noChangeAspect="1"/>
            </p:cNvSpPr>
            <p:nvPr/>
          </p:nvSpPr>
          <p:spPr bwMode="gray">
            <a:xfrm>
              <a:off x="1559561" y="2672557"/>
              <a:ext cx="38039" cy="37004"/>
            </a:xfrm>
            <a:custGeom>
              <a:avLst/>
              <a:gdLst/>
              <a:ahLst/>
              <a:cxnLst>
                <a:cxn ang="0">
                  <a:pos x="0" y="0"/>
                </a:cxn>
                <a:cxn ang="0">
                  <a:pos x="13" y="38"/>
                </a:cxn>
                <a:cxn ang="0">
                  <a:pos x="16" y="19"/>
                </a:cxn>
                <a:cxn ang="0">
                  <a:pos x="45" y="35"/>
                </a:cxn>
                <a:cxn ang="0">
                  <a:pos x="19" y="19"/>
                </a:cxn>
                <a:cxn ang="0">
                  <a:pos x="44" y="7"/>
                </a:cxn>
                <a:cxn ang="0">
                  <a:pos x="0" y="0"/>
                </a:cxn>
              </a:cxnLst>
              <a:rect l="0" t="0" r="r" b="b"/>
              <a:pathLst>
                <a:path w="45" h="38">
                  <a:moveTo>
                    <a:pt x="0" y="0"/>
                  </a:moveTo>
                  <a:lnTo>
                    <a:pt x="13" y="38"/>
                  </a:lnTo>
                  <a:lnTo>
                    <a:pt x="16" y="19"/>
                  </a:lnTo>
                  <a:lnTo>
                    <a:pt x="45" y="35"/>
                  </a:lnTo>
                  <a:lnTo>
                    <a:pt x="19" y="19"/>
                  </a:lnTo>
                  <a:lnTo>
                    <a:pt x="44" y="7"/>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54" name="30535272118.753.251.55">
              <a:extLst>
                <a:ext uri="{FF2B5EF4-FFF2-40B4-BE49-F238E27FC236}">
                  <a16:creationId xmlns:a16="http://schemas.microsoft.com/office/drawing/2014/main" id="{8CB861FA-5FF8-49CD-A62E-BEEEF345D6E7}"/>
                </a:ext>
              </a:extLst>
            </p:cNvPr>
            <p:cNvSpPr>
              <a:spLocks noChangeAspect="1"/>
            </p:cNvSpPr>
            <p:nvPr/>
          </p:nvSpPr>
          <p:spPr bwMode="gray">
            <a:xfrm>
              <a:off x="1576678" y="2702834"/>
              <a:ext cx="24727" cy="53825"/>
            </a:xfrm>
            <a:custGeom>
              <a:avLst/>
              <a:gdLst/>
              <a:ahLst/>
              <a:cxnLst>
                <a:cxn ang="0">
                  <a:pos x="0" y="0"/>
                </a:cxn>
                <a:cxn ang="0">
                  <a:pos x="24" y="11"/>
                </a:cxn>
                <a:cxn ang="0">
                  <a:pos x="26" y="59"/>
                </a:cxn>
                <a:cxn ang="0">
                  <a:pos x="0" y="0"/>
                </a:cxn>
              </a:cxnLst>
              <a:rect l="0" t="0" r="r" b="b"/>
              <a:pathLst>
                <a:path w="26" h="59">
                  <a:moveTo>
                    <a:pt x="0" y="0"/>
                  </a:moveTo>
                  <a:lnTo>
                    <a:pt x="24" y="11"/>
                  </a:lnTo>
                  <a:lnTo>
                    <a:pt x="26" y="59"/>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55" name="30536270.25120.3752.1251.8755">
              <a:extLst>
                <a:ext uri="{FF2B5EF4-FFF2-40B4-BE49-F238E27FC236}">
                  <a16:creationId xmlns:a16="http://schemas.microsoft.com/office/drawing/2014/main" id="{DDBC9B47-1EB8-42BA-B263-4F7CB5A1CFA0}"/>
                </a:ext>
              </a:extLst>
            </p:cNvPr>
            <p:cNvSpPr>
              <a:spLocks noChangeAspect="1"/>
            </p:cNvSpPr>
            <p:nvPr/>
          </p:nvSpPr>
          <p:spPr bwMode="gray">
            <a:xfrm>
              <a:off x="1603310" y="2675922"/>
              <a:ext cx="28532" cy="33639"/>
            </a:xfrm>
            <a:custGeom>
              <a:avLst/>
              <a:gdLst/>
              <a:ahLst/>
              <a:cxnLst>
                <a:cxn ang="0">
                  <a:pos x="0" y="0"/>
                </a:cxn>
                <a:cxn ang="0">
                  <a:pos x="7" y="36"/>
                </a:cxn>
                <a:cxn ang="0">
                  <a:pos x="28" y="36"/>
                </a:cxn>
                <a:cxn ang="0">
                  <a:pos x="18" y="4"/>
                </a:cxn>
                <a:cxn ang="0">
                  <a:pos x="33" y="26"/>
                </a:cxn>
                <a:cxn ang="0">
                  <a:pos x="20" y="0"/>
                </a:cxn>
                <a:cxn ang="0">
                  <a:pos x="0" y="0"/>
                </a:cxn>
              </a:cxnLst>
              <a:rect l="0" t="0" r="r" b="b"/>
              <a:pathLst>
                <a:path w="33" h="36">
                  <a:moveTo>
                    <a:pt x="0" y="0"/>
                  </a:moveTo>
                  <a:lnTo>
                    <a:pt x="7" y="36"/>
                  </a:lnTo>
                  <a:lnTo>
                    <a:pt x="28" y="36"/>
                  </a:lnTo>
                  <a:lnTo>
                    <a:pt x="18" y="4"/>
                  </a:lnTo>
                  <a:lnTo>
                    <a:pt x="33" y="26"/>
                  </a:lnTo>
                  <a:lnTo>
                    <a:pt x="20" y="0"/>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56" name="30537273.3751221.3751.55">
              <a:extLst>
                <a:ext uri="{FF2B5EF4-FFF2-40B4-BE49-F238E27FC236}">
                  <a16:creationId xmlns:a16="http://schemas.microsoft.com/office/drawing/2014/main" id="{C157B568-8599-4325-BD08-F596E73278C8}"/>
                </a:ext>
              </a:extLst>
            </p:cNvPr>
            <p:cNvSpPr>
              <a:spLocks noChangeAspect="1"/>
            </p:cNvSpPr>
            <p:nvPr/>
          </p:nvSpPr>
          <p:spPr bwMode="gray">
            <a:xfrm>
              <a:off x="1629938" y="2726382"/>
              <a:ext cx="20922" cy="21867"/>
            </a:xfrm>
            <a:custGeom>
              <a:avLst/>
              <a:gdLst/>
              <a:ahLst/>
              <a:cxnLst>
                <a:cxn ang="0">
                  <a:pos x="0" y="0"/>
                </a:cxn>
                <a:cxn ang="0">
                  <a:pos x="27" y="26"/>
                </a:cxn>
                <a:cxn ang="0">
                  <a:pos x="29" y="3"/>
                </a:cxn>
                <a:cxn ang="0">
                  <a:pos x="0" y="0"/>
                </a:cxn>
              </a:cxnLst>
              <a:rect l="0" t="0" r="r" b="b"/>
              <a:pathLst>
                <a:path w="29" h="26">
                  <a:moveTo>
                    <a:pt x="0" y="0"/>
                  </a:moveTo>
                  <a:lnTo>
                    <a:pt x="27" y="26"/>
                  </a:lnTo>
                  <a:lnTo>
                    <a:pt x="29" y="3"/>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57" name="30538275.25122.3753.52.6255">
              <a:extLst>
                <a:ext uri="{FF2B5EF4-FFF2-40B4-BE49-F238E27FC236}">
                  <a16:creationId xmlns:a16="http://schemas.microsoft.com/office/drawing/2014/main" id="{AADB716B-2A4B-4554-8D78-271E33CF8A1E}"/>
                </a:ext>
              </a:extLst>
            </p:cNvPr>
            <p:cNvSpPr>
              <a:spLocks noChangeAspect="1"/>
            </p:cNvSpPr>
            <p:nvPr/>
          </p:nvSpPr>
          <p:spPr bwMode="gray">
            <a:xfrm>
              <a:off x="1635643" y="2756659"/>
              <a:ext cx="41844" cy="55506"/>
            </a:xfrm>
            <a:custGeom>
              <a:avLst/>
              <a:gdLst/>
              <a:ahLst/>
              <a:cxnLst>
                <a:cxn ang="0">
                  <a:pos x="0" y="0"/>
                </a:cxn>
                <a:cxn ang="0">
                  <a:pos x="36" y="22"/>
                </a:cxn>
                <a:cxn ang="0">
                  <a:pos x="46" y="62"/>
                </a:cxn>
                <a:cxn ang="0">
                  <a:pos x="0" y="0"/>
                </a:cxn>
              </a:cxnLst>
              <a:rect l="0" t="0" r="r" b="b"/>
              <a:pathLst>
                <a:path w="46" h="62">
                  <a:moveTo>
                    <a:pt x="0" y="0"/>
                  </a:moveTo>
                  <a:lnTo>
                    <a:pt x="36" y="22"/>
                  </a:lnTo>
                  <a:lnTo>
                    <a:pt x="46" y="62"/>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58" name="30539276.25126.521.3755">
              <a:extLst>
                <a:ext uri="{FF2B5EF4-FFF2-40B4-BE49-F238E27FC236}">
                  <a16:creationId xmlns:a16="http://schemas.microsoft.com/office/drawing/2014/main" id="{ED4E5A23-32A0-4421-AE0F-07088C8C1DFB}"/>
                </a:ext>
              </a:extLst>
            </p:cNvPr>
            <p:cNvSpPr>
              <a:spLocks noChangeAspect="1"/>
            </p:cNvSpPr>
            <p:nvPr/>
          </p:nvSpPr>
          <p:spPr bwMode="gray">
            <a:xfrm>
              <a:off x="1702214" y="2773477"/>
              <a:ext cx="22823" cy="30277"/>
            </a:xfrm>
            <a:custGeom>
              <a:avLst/>
              <a:gdLst/>
              <a:ahLst/>
              <a:cxnLst>
                <a:cxn ang="0">
                  <a:pos x="0" y="21"/>
                </a:cxn>
                <a:cxn ang="0">
                  <a:pos x="11" y="0"/>
                </a:cxn>
                <a:cxn ang="0">
                  <a:pos x="23" y="36"/>
                </a:cxn>
                <a:cxn ang="0">
                  <a:pos x="0" y="21"/>
                </a:cxn>
              </a:cxnLst>
              <a:rect l="0" t="0" r="r" b="b"/>
              <a:pathLst>
                <a:path w="23" h="36">
                  <a:moveTo>
                    <a:pt x="0" y="21"/>
                  </a:moveTo>
                  <a:lnTo>
                    <a:pt x="11" y="0"/>
                  </a:lnTo>
                  <a:lnTo>
                    <a:pt x="23" y="36"/>
                  </a:lnTo>
                  <a:lnTo>
                    <a:pt x="0" y="21"/>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59" name="30540292.625139.62552.75108.55">
              <a:extLst>
                <a:ext uri="{FF2B5EF4-FFF2-40B4-BE49-F238E27FC236}">
                  <a16:creationId xmlns:a16="http://schemas.microsoft.com/office/drawing/2014/main" id="{08F93127-195B-4DE7-AD41-381A297C0C66}"/>
                </a:ext>
              </a:extLst>
            </p:cNvPr>
            <p:cNvSpPr>
              <a:spLocks noChangeAspect="1"/>
            </p:cNvSpPr>
            <p:nvPr/>
          </p:nvSpPr>
          <p:spPr bwMode="gray">
            <a:xfrm>
              <a:off x="1911434" y="3039233"/>
              <a:ext cx="1740338" cy="852773"/>
            </a:xfrm>
            <a:custGeom>
              <a:avLst/>
              <a:gdLst/>
              <a:ahLst/>
              <a:cxnLst>
                <a:cxn ang="0">
                  <a:pos x="22" y="128"/>
                </a:cxn>
                <a:cxn ang="0">
                  <a:pos x="27" y="140"/>
                </a:cxn>
                <a:cxn ang="0">
                  <a:pos x="59" y="461"/>
                </a:cxn>
                <a:cxn ang="0">
                  <a:pos x="78" y="495"/>
                </a:cxn>
                <a:cxn ang="0">
                  <a:pos x="203" y="615"/>
                </a:cxn>
                <a:cxn ang="0">
                  <a:pos x="331" y="664"/>
                </a:cxn>
                <a:cxn ang="0">
                  <a:pos x="609" y="696"/>
                </a:cxn>
                <a:cxn ang="0">
                  <a:pos x="771" y="769"/>
                </a:cxn>
                <a:cxn ang="0">
                  <a:pos x="921" y="911"/>
                </a:cxn>
                <a:cxn ang="0">
                  <a:pos x="983" y="802"/>
                </a:cxn>
                <a:cxn ang="0">
                  <a:pos x="1090" y="769"/>
                </a:cxn>
                <a:cxn ang="0">
                  <a:pos x="1178" y="755"/>
                </a:cxn>
                <a:cxn ang="0">
                  <a:pos x="1216" y="748"/>
                </a:cxn>
                <a:cxn ang="0">
                  <a:pos x="1226" y="752"/>
                </a:cxn>
                <a:cxn ang="0">
                  <a:pos x="1398" y="794"/>
                </a:cxn>
                <a:cxn ang="0">
                  <a:pos x="1447" y="934"/>
                </a:cxn>
                <a:cxn ang="0">
                  <a:pos x="1484" y="871"/>
                </a:cxn>
                <a:cxn ang="0">
                  <a:pos x="1466" y="670"/>
                </a:cxn>
                <a:cxn ang="0">
                  <a:pos x="1602" y="542"/>
                </a:cxn>
                <a:cxn ang="0">
                  <a:pos x="1609" y="499"/>
                </a:cxn>
                <a:cxn ang="0">
                  <a:pos x="1580" y="440"/>
                </a:cxn>
                <a:cxn ang="0">
                  <a:pos x="1604" y="417"/>
                </a:cxn>
                <a:cxn ang="0">
                  <a:pos x="1633" y="495"/>
                </a:cxn>
                <a:cxn ang="0">
                  <a:pos x="1642" y="399"/>
                </a:cxn>
                <a:cxn ang="0">
                  <a:pos x="1694" y="351"/>
                </a:cxn>
                <a:cxn ang="0">
                  <a:pos x="1795" y="297"/>
                </a:cxn>
                <a:cxn ang="0">
                  <a:pos x="1921" y="199"/>
                </a:cxn>
                <a:cxn ang="0">
                  <a:pos x="1899" y="157"/>
                </a:cxn>
                <a:cxn ang="0">
                  <a:pos x="1844" y="85"/>
                </a:cxn>
                <a:cxn ang="0">
                  <a:pos x="1633" y="206"/>
                </a:cxn>
                <a:cxn ang="0">
                  <a:pos x="1523" y="260"/>
                </a:cxn>
                <a:cxn ang="0">
                  <a:pos x="1431" y="326"/>
                </a:cxn>
                <a:cxn ang="0">
                  <a:pos x="1387" y="308"/>
                </a:cxn>
                <a:cxn ang="0">
                  <a:pos x="1404" y="281"/>
                </a:cxn>
                <a:cxn ang="0">
                  <a:pos x="1395" y="224"/>
                </a:cxn>
                <a:cxn ang="0">
                  <a:pos x="1373" y="175"/>
                </a:cxn>
                <a:cxn ang="0">
                  <a:pos x="1282" y="199"/>
                </a:cxn>
                <a:cxn ang="0">
                  <a:pos x="1237" y="314"/>
                </a:cxn>
                <a:cxn ang="0">
                  <a:pos x="1252" y="177"/>
                </a:cxn>
                <a:cxn ang="0">
                  <a:pos x="1270" y="147"/>
                </a:cxn>
                <a:cxn ang="0">
                  <a:pos x="1343" y="124"/>
                </a:cxn>
                <a:cxn ang="0">
                  <a:pos x="1208" y="111"/>
                </a:cxn>
                <a:cxn ang="0">
                  <a:pos x="1149" y="120"/>
                </a:cxn>
                <a:cxn ang="0">
                  <a:pos x="1163" y="62"/>
                </a:cxn>
                <a:cxn ang="0">
                  <a:pos x="984" y="0"/>
                </a:cxn>
                <a:cxn ang="0">
                  <a:pos x="63" y="19"/>
                </a:cxn>
                <a:cxn ang="0">
                  <a:pos x="59" y="85"/>
                </a:cxn>
                <a:cxn ang="0">
                  <a:pos x="0" y="52"/>
                </a:cxn>
              </a:cxnLst>
              <a:rect l="0" t="0" r="r" b="b"/>
              <a:pathLst>
                <a:path w="1924" h="934">
                  <a:moveTo>
                    <a:pt x="0" y="52"/>
                  </a:moveTo>
                  <a:lnTo>
                    <a:pt x="22" y="128"/>
                  </a:lnTo>
                  <a:lnTo>
                    <a:pt x="49" y="136"/>
                  </a:lnTo>
                  <a:lnTo>
                    <a:pt x="27" y="140"/>
                  </a:lnTo>
                  <a:lnTo>
                    <a:pt x="11" y="371"/>
                  </a:lnTo>
                  <a:lnTo>
                    <a:pt x="59" y="461"/>
                  </a:lnTo>
                  <a:lnTo>
                    <a:pt x="91" y="461"/>
                  </a:lnTo>
                  <a:lnTo>
                    <a:pt x="78" y="495"/>
                  </a:lnTo>
                  <a:lnTo>
                    <a:pt x="140" y="593"/>
                  </a:lnTo>
                  <a:lnTo>
                    <a:pt x="203" y="615"/>
                  </a:lnTo>
                  <a:lnTo>
                    <a:pt x="254" y="671"/>
                  </a:lnTo>
                  <a:lnTo>
                    <a:pt x="331" y="664"/>
                  </a:lnTo>
                  <a:lnTo>
                    <a:pt x="458" y="717"/>
                  </a:lnTo>
                  <a:lnTo>
                    <a:pt x="609" y="696"/>
                  </a:lnTo>
                  <a:lnTo>
                    <a:pt x="701" y="795"/>
                  </a:lnTo>
                  <a:lnTo>
                    <a:pt x="771" y="769"/>
                  </a:lnTo>
                  <a:lnTo>
                    <a:pt x="855" y="889"/>
                  </a:lnTo>
                  <a:lnTo>
                    <a:pt x="921" y="911"/>
                  </a:lnTo>
                  <a:lnTo>
                    <a:pt x="914" y="843"/>
                  </a:lnTo>
                  <a:lnTo>
                    <a:pt x="983" y="802"/>
                  </a:lnTo>
                  <a:lnTo>
                    <a:pt x="989" y="770"/>
                  </a:lnTo>
                  <a:lnTo>
                    <a:pt x="1090" y="769"/>
                  </a:lnTo>
                  <a:lnTo>
                    <a:pt x="1176" y="795"/>
                  </a:lnTo>
                  <a:lnTo>
                    <a:pt x="1178" y="755"/>
                  </a:lnTo>
                  <a:lnTo>
                    <a:pt x="1143" y="750"/>
                  </a:lnTo>
                  <a:lnTo>
                    <a:pt x="1216" y="748"/>
                  </a:lnTo>
                  <a:lnTo>
                    <a:pt x="1220" y="729"/>
                  </a:lnTo>
                  <a:lnTo>
                    <a:pt x="1226" y="752"/>
                  </a:lnTo>
                  <a:lnTo>
                    <a:pt x="1362" y="761"/>
                  </a:lnTo>
                  <a:lnTo>
                    <a:pt x="1398" y="794"/>
                  </a:lnTo>
                  <a:lnTo>
                    <a:pt x="1403" y="854"/>
                  </a:lnTo>
                  <a:lnTo>
                    <a:pt x="1447" y="934"/>
                  </a:lnTo>
                  <a:lnTo>
                    <a:pt x="1473" y="931"/>
                  </a:lnTo>
                  <a:lnTo>
                    <a:pt x="1484" y="871"/>
                  </a:lnTo>
                  <a:lnTo>
                    <a:pt x="1439" y="729"/>
                  </a:lnTo>
                  <a:lnTo>
                    <a:pt x="1466" y="670"/>
                  </a:lnTo>
                  <a:lnTo>
                    <a:pt x="1635" y="554"/>
                  </a:lnTo>
                  <a:lnTo>
                    <a:pt x="1602" y="542"/>
                  </a:lnTo>
                  <a:lnTo>
                    <a:pt x="1633" y="538"/>
                  </a:lnTo>
                  <a:lnTo>
                    <a:pt x="1609" y="499"/>
                  </a:lnTo>
                  <a:lnTo>
                    <a:pt x="1615" y="466"/>
                  </a:lnTo>
                  <a:lnTo>
                    <a:pt x="1580" y="440"/>
                  </a:lnTo>
                  <a:lnTo>
                    <a:pt x="1615" y="458"/>
                  </a:lnTo>
                  <a:lnTo>
                    <a:pt x="1604" y="417"/>
                  </a:lnTo>
                  <a:lnTo>
                    <a:pt x="1628" y="404"/>
                  </a:lnTo>
                  <a:lnTo>
                    <a:pt x="1633" y="495"/>
                  </a:lnTo>
                  <a:lnTo>
                    <a:pt x="1659" y="441"/>
                  </a:lnTo>
                  <a:lnTo>
                    <a:pt x="1642" y="399"/>
                  </a:lnTo>
                  <a:lnTo>
                    <a:pt x="1660" y="424"/>
                  </a:lnTo>
                  <a:lnTo>
                    <a:pt x="1694" y="351"/>
                  </a:lnTo>
                  <a:lnTo>
                    <a:pt x="1829" y="318"/>
                  </a:lnTo>
                  <a:lnTo>
                    <a:pt x="1795" y="297"/>
                  </a:lnTo>
                  <a:lnTo>
                    <a:pt x="1819" y="241"/>
                  </a:lnTo>
                  <a:lnTo>
                    <a:pt x="1921" y="199"/>
                  </a:lnTo>
                  <a:lnTo>
                    <a:pt x="1924" y="176"/>
                  </a:lnTo>
                  <a:lnTo>
                    <a:pt x="1899" y="157"/>
                  </a:lnTo>
                  <a:lnTo>
                    <a:pt x="1899" y="103"/>
                  </a:lnTo>
                  <a:lnTo>
                    <a:pt x="1844" y="85"/>
                  </a:lnTo>
                  <a:lnTo>
                    <a:pt x="1803" y="173"/>
                  </a:lnTo>
                  <a:lnTo>
                    <a:pt x="1633" y="206"/>
                  </a:lnTo>
                  <a:lnTo>
                    <a:pt x="1620" y="245"/>
                  </a:lnTo>
                  <a:lnTo>
                    <a:pt x="1523" y="260"/>
                  </a:lnTo>
                  <a:lnTo>
                    <a:pt x="1529" y="272"/>
                  </a:lnTo>
                  <a:lnTo>
                    <a:pt x="1431" y="326"/>
                  </a:lnTo>
                  <a:lnTo>
                    <a:pt x="1389" y="325"/>
                  </a:lnTo>
                  <a:lnTo>
                    <a:pt x="1387" y="308"/>
                  </a:lnTo>
                  <a:lnTo>
                    <a:pt x="1395" y="292"/>
                  </a:lnTo>
                  <a:lnTo>
                    <a:pt x="1404" y="281"/>
                  </a:lnTo>
                  <a:lnTo>
                    <a:pt x="1409" y="264"/>
                  </a:lnTo>
                  <a:lnTo>
                    <a:pt x="1395" y="224"/>
                  </a:lnTo>
                  <a:lnTo>
                    <a:pt x="1360" y="239"/>
                  </a:lnTo>
                  <a:lnTo>
                    <a:pt x="1373" y="175"/>
                  </a:lnTo>
                  <a:lnTo>
                    <a:pt x="1322" y="157"/>
                  </a:lnTo>
                  <a:lnTo>
                    <a:pt x="1282" y="199"/>
                  </a:lnTo>
                  <a:lnTo>
                    <a:pt x="1267" y="311"/>
                  </a:lnTo>
                  <a:lnTo>
                    <a:pt x="1237" y="314"/>
                  </a:lnTo>
                  <a:lnTo>
                    <a:pt x="1227" y="261"/>
                  </a:lnTo>
                  <a:lnTo>
                    <a:pt x="1252" y="177"/>
                  </a:lnTo>
                  <a:lnTo>
                    <a:pt x="1229" y="191"/>
                  </a:lnTo>
                  <a:lnTo>
                    <a:pt x="1270" y="147"/>
                  </a:lnTo>
                  <a:lnTo>
                    <a:pt x="1359" y="146"/>
                  </a:lnTo>
                  <a:lnTo>
                    <a:pt x="1343" y="124"/>
                  </a:lnTo>
                  <a:lnTo>
                    <a:pt x="1337" y="124"/>
                  </a:lnTo>
                  <a:lnTo>
                    <a:pt x="1208" y="111"/>
                  </a:lnTo>
                  <a:lnTo>
                    <a:pt x="1229" y="84"/>
                  </a:lnTo>
                  <a:lnTo>
                    <a:pt x="1149" y="120"/>
                  </a:lnTo>
                  <a:lnTo>
                    <a:pt x="1088" y="120"/>
                  </a:lnTo>
                  <a:lnTo>
                    <a:pt x="1163" y="62"/>
                  </a:lnTo>
                  <a:lnTo>
                    <a:pt x="1005" y="30"/>
                  </a:lnTo>
                  <a:lnTo>
                    <a:pt x="984" y="0"/>
                  </a:lnTo>
                  <a:lnTo>
                    <a:pt x="983" y="19"/>
                  </a:lnTo>
                  <a:lnTo>
                    <a:pt x="63" y="19"/>
                  </a:lnTo>
                  <a:lnTo>
                    <a:pt x="81" y="56"/>
                  </a:lnTo>
                  <a:lnTo>
                    <a:pt x="59" y="85"/>
                  </a:lnTo>
                  <a:lnTo>
                    <a:pt x="66" y="55"/>
                  </a:lnTo>
                  <a:lnTo>
                    <a:pt x="0" y="52"/>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60" name="30542451.375264.25109.8755">
              <a:extLst>
                <a:ext uri="{FF2B5EF4-FFF2-40B4-BE49-F238E27FC236}">
                  <a16:creationId xmlns:a16="http://schemas.microsoft.com/office/drawing/2014/main" id="{F21A20EF-1A2B-44B4-AF5E-C76FFC440EDB}"/>
                </a:ext>
              </a:extLst>
            </p:cNvPr>
            <p:cNvSpPr>
              <a:spLocks noChangeAspect="1"/>
            </p:cNvSpPr>
            <p:nvPr/>
          </p:nvSpPr>
          <p:spPr bwMode="gray">
            <a:xfrm>
              <a:off x="3908542" y="5609320"/>
              <a:ext cx="157865" cy="161471"/>
            </a:xfrm>
            <a:custGeom>
              <a:avLst/>
              <a:gdLst/>
              <a:ahLst/>
              <a:cxnLst>
                <a:cxn ang="0">
                  <a:pos x="0" y="144"/>
                </a:cxn>
                <a:cxn ang="0">
                  <a:pos x="29" y="7"/>
                </a:cxn>
                <a:cxn ang="0">
                  <a:pos x="53" y="0"/>
                </a:cxn>
                <a:cxn ang="0">
                  <a:pos x="154" y="70"/>
                </a:cxn>
                <a:cxn ang="0">
                  <a:pos x="174" y="99"/>
                </a:cxn>
                <a:cxn ang="0">
                  <a:pos x="166" y="135"/>
                </a:cxn>
                <a:cxn ang="0">
                  <a:pos x="119" y="179"/>
                </a:cxn>
                <a:cxn ang="0">
                  <a:pos x="0" y="144"/>
                </a:cxn>
              </a:cxnLst>
              <a:rect l="0" t="0" r="r" b="b"/>
              <a:pathLst>
                <a:path w="174" h="179">
                  <a:moveTo>
                    <a:pt x="0" y="144"/>
                  </a:moveTo>
                  <a:lnTo>
                    <a:pt x="29" y="7"/>
                  </a:lnTo>
                  <a:lnTo>
                    <a:pt x="53" y="0"/>
                  </a:lnTo>
                  <a:lnTo>
                    <a:pt x="154" y="70"/>
                  </a:lnTo>
                  <a:lnTo>
                    <a:pt x="174" y="99"/>
                  </a:lnTo>
                  <a:lnTo>
                    <a:pt x="166" y="135"/>
                  </a:lnTo>
                  <a:lnTo>
                    <a:pt x="119" y="179"/>
                  </a:lnTo>
                  <a:lnTo>
                    <a:pt x="0" y="14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61" name="30543434.75236.12566.537.1255">
              <a:extLst>
                <a:ext uri="{FF2B5EF4-FFF2-40B4-BE49-F238E27FC236}">
                  <a16:creationId xmlns:a16="http://schemas.microsoft.com/office/drawing/2014/main" id="{A46CFB08-C93D-4FA7-BCA1-C43EDA6DFF67}"/>
                </a:ext>
              </a:extLst>
            </p:cNvPr>
            <p:cNvSpPr>
              <a:spLocks noChangeAspect="1"/>
            </p:cNvSpPr>
            <p:nvPr/>
          </p:nvSpPr>
          <p:spPr bwMode="gray">
            <a:xfrm>
              <a:off x="3446141" y="5340199"/>
              <a:ext cx="593426" cy="1074795"/>
            </a:xfrm>
            <a:custGeom>
              <a:avLst/>
              <a:gdLst/>
              <a:ahLst/>
              <a:cxnLst>
                <a:cxn ang="0">
                  <a:pos x="0" y="1089"/>
                </a:cxn>
                <a:cxn ang="0">
                  <a:pos x="6" y="1114"/>
                </a:cxn>
                <a:cxn ang="0">
                  <a:pos x="33" y="1106"/>
                </a:cxn>
                <a:cxn ang="0">
                  <a:pos x="44" y="1165"/>
                </a:cxn>
                <a:cxn ang="0">
                  <a:pos x="165" y="1177"/>
                </a:cxn>
                <a:cxn ang="0">
                  <a:pos x="132" y="1147"/>
                </a:cxn>
                <a:cxn ang="0">
                  <a:pos x="157" y="1067"/>
                </a:cxn>
                <a:cxn ang="0">
                  <a:pos x="180" y="1082"/>
                </a:cxn>
                <a:cxn ang="0">
                  <a:pos x="256" y="971"/>
                </a:cxn>
                <a:cxn ang="0">
                  <a:pos x="197" y="908"/>
                </a:cxn>
                <a:cxn ang="0">
                  <a:pos x="263" y="869"/>
                </a:cxn>
                <a:cxn ang="0">
                  <a:pos x="272" y="811"/>
                </a:cxn>
                <a:cxn ang="0">
                  <a:pos x="303" y="785"/>
                </a:cxn>
                <a:cxn ang="0">
                  <a:pos x="276" y="774"/>
                </a:cxn>
                <a:cxn ang="0">
                  <a:pos x="326" y="774"/>
                </a:cxn>
                <a:cxn ang="0">
                  <a:pos x="320" y="747"/>
                </a:cxn>
                <a:cxn ang="0">
                  <a:pos x="298" y="766"/>
                </a:cxn>
                <a:cxn ang="0">
                  <a:pos x="276" y="745"/>
                </a:cxn>
                <a:cxn ang="0">
                  <a:pos x="274" y="703"/>
                </a:cxn>
                <a:cxn ang="0">
                  <a:pos x="363" y="707"/>
                </a:cxn>
                <a:cxn ang="0">
                  <a:pos x="371" y="620"/>
                </a:cxn>
                <a:cxn ang="0">
                  <a:pos x="513" y="606"/>
                </a:cxn>
                <a:cxn ang="0">
                  <a:pos x="554" y="546"/>
                </a:cxn>
                <a:cxn ang="0">
                  <a:pos x="498" y="437"/>
                </a:cxn>
                <a:cxn ang="0">
                  <a:pos x="527" y="300"/>
                </a:cxn>
                <a:cxn ang="0">
                  <a:pos x="657" y="187"/>
                </a:cxn>
                <a:cxn ang="0">
                  <a:pos x="652" y="136"/>
                </a:cxn>
                <a:cxn ang="0">
                  <a:pos x="626" y="135"/>
                </a:cxn>
                <a:cxn ang="0">
                  <a:pos x="591" y="195"/>
                </a:cxn>
                <a:cxn ang="0">
                  <a:pos x="501" y="191"/>
                </a:cxn>
                <a:cxn ang="0">
                  <a:pos x="520" y="124"/>
                </a:cxn>
                <a:cxn ang="0">
                  <a:pos x="359" y="18"/>
                </a:cxn>
                <a:cxn ang="0">
                  <a:pos x="305" y="9"/>
                </a:cxn>
                <a:cxn ang="0">
                  <a:pos x="301" y="31"/>
                </a:cxn>
                <a:cxn ang="0">
                  <a:pos x="239" y="0"/>
                </a:cxn>
                <a:cxn ang="0">
                  <a:pos x="204" y="38"/>
                </a:cxn>
                <a:cxn ang="0">
                  <a:pos x="201" y="80"/>
                </a:cxn>
                <a:cxn ang="0">
                  <a:pos x="164" y="98"/>
                </a:cxn>
                <a:cxn ang="0">
                  <a:pos x="165" y="179"/>
                </a:cxn>
                <a:cxn ang="0">
                  <a:pos x="125" y="224"/>
                </a:cxn>
                <a:cxn ang="0">
                  <a:pos x="94" y="338"/>
                </a:cxn>
                <a:cxn ang="0">
                  <a:pos x="117" y="447"/>
                </a:cxn>
                <a:cxn ang="0">
                  <a:pos x="74" y="539"/>
                </a:cxn>
                <a:cxn ang="0">
                  <a:pos x="44" y="769"/>
                </a:cxn>
                <a:cxn ang="0">
                  <a:pos x="68" y="853"/>
                </a:cxn>
                <a:cxn ang="0">
                  <a:pos x="46" y="860"/>
                </a:cxn>
                <a:cxn ang="0">
                  <a:pos x="57" y="934"/>
                </a:cxn>
                <a:cxn ang="0">
                  <a:pos x="0" y="1089"/>
                </a:cxn>
              </a:cxnLst>
              <a:rect l="0" t="0" r="r" b="b"/>
              <a:pathLst>
                <a:path w="657" h="1177">
                  <a:moveTo>
                    <a:pt x="0" y="1089"/>
                  </a:moveTo>
                  <a:lnTo>
                    <a:pt x="6" y="1114"/>
                  </a:lnTo>
                  <a:lnTo>
                    <a:pt x="33" y="1106"/>
                  </a:lnTo>
                  <a:lnTo>
                    <a:pt x="44" y="1165"/>
                  </a:lnTo>
                  <a:lnTo>
                    <a:pt x="165" y="1177"/>
                  </a:lnTo>
                  <a:lnTo>
                    <a:pt x="132" y="1147"/>
                  </a:lnTo>
                  <a:lnTo>
                    <a:pt x="157" y="1067"/>
                  </a:lnTo>
                  <a:lnTo>
                    <a:pt x="180" y="1082"/>
                  </a:lnTo>
                  <a:lnTo>
                    <a:pt x="256" y="971"/>
                  </a:lnTo>
                  <a:lnTo>
                    <a:pt x="197" y="908"/>
                  </a:lnTo>
                  <a:lnTo>
                    <a:pt x="263" y="869"/>
                  </a:lnTo>
                  <a:lnTo>
                    <a:pt x="272" y="811"/>
                  </a:lnTo>
                  <a:lnTo>
                    <a:pt x="303" y="785"/>
                  </a:lnTo>
                  <a:lnTo>
                    <a:pt x="276" y="774"/>
                  </a:lnTo>
                  <a:lnTo>
                    <a:pt x="326" y="774"/>
                  </a:lnTo>
                  <a:lnTo>
                    <a:pt x="320" y="747"/>
                  </a:lnTo>
                  <a:lnTo>
                    <a:pt x="298" y="766"/>
                  </a:lnTo>
                  <a:lnTo>
                    <a:pt x="276" y="745"/>
                  </a:lnTo>
                  <a:lnTo>
                    <a:pt x="274" y="703"/>
                  </a:lnTo>
                  <a:lnTo>
                    <a:pt x="363" y="707"/>
                  </a:lnTo>
                  <a:lnTo>
                    <a:pt x="371" y="620"/>
                  </a:lnTo>
                  <a:lnTo>
                    <a:pt x="513" y="606"/>
                  </a:lnTo>
                  <a:lnTo>
                    <a:pt x="554" y="546"/>
                  </a:lnTo>
                  <a:lnTo>
                    <a:pt x="498" y="437"/>
                  </a:lnTo>
                  <a:lnTo>
                    <a:pt x="527" y="300"/>
                  </a:lnTo>
                  <a:lnTo>
                    <a:pt x="657" y="187"/>
                  </a:lnTo>
                  <a:lnTo>
                    <a:pt x="652" y="136"/>
                  </a:lnTo>
                  <a:lnTo>
                    <a:pt x="626" y="135"/>
                  </a:lnTo>
                  <a:lnTo>
                    <a:pt x="591" y="195"/>
                  </a:lnTo>
                  <a:lnTo>
                    <a:pt x="501" y="191"/>
                  </a:lnTo>
                  <a:lnTo>
                    <a:pt x="520" y="124"/>
                  </a:lnTo>
                  <a:lnTo>
                    <a:pt x="359" y="18"/>
                  </a:lnTo>
                  <a:lnTo>
                    <a:pt x="305" y="9"/>
                  </a:lnTo>
                  <a:lnTo>
                    <a:pt x="301" y="31"/>
                  </a:lnTo>
                  <a:lnTo>
                    <a:pt x="239" y="0"/>
                  </a:lnTo>
                  <a:lnTo>
                    <a:pt x="204" y="38"/>
                  </a:lnTo>
                  <a:lnTo>
                    <a:pt x="201" y="80"/>
                  </a:lnTo>
                  <a:lnTo>
                    <a:pt x="164" y="98"/>
                  </a:lnTo>
                  <a:lnTo>
                    <a:pt x="165" y="179"/>
                  </a:lnTo>
                  <a:lnTo>
                    <a:pt x="125" y="224"/>
                  </a:lnTo>
                  <a:lnTo>
                    <a:pt x="94" y="338"/>
                  </a:lnTo>
                  <a:lnTo>
                    <a:pt x="117" y="447"/>
                  </a:lnTo>
                  <a:lnTo>
                    <a:pt x="74" y="539"/>
                  </a:lnTo>
                  <a:lnTo>
                    <a:pt x="44" y="769"/>
                  </a:lnTo>
                  <a:lnTo>
                    <a:pt x="68" y="853"/>
                  </a:lnTo>
                  <a:lnTo>
                    <a:pt x="46" y="860"/>
                  </a:lnTo>
                  <a:lnTo>
                    <a:pt x="57" y="934"/>
                  </a:lnTo>
                  <a:lnTo>
                    <a:pt x="0" y="108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62" name="30544502.252455.756.6255">
              <a:extLst>
                <a:ext uri="{FF2B5EF4-FFF2-40B4-BE49-F238E27FC236}">
                  <a16:creationId xmlns:a16="http://schemas.microsoft.com/office/drawing/2014/main" id="{503FB373-0B2E-4203-865F-A29EB4D2F43D}"/>
                </a:ext>
              </a:extLst>
            </p:cNvPr>
            <p:cNvSpPr>
              <a:spLocks noChangeAspect="1"/>
            </p:cNvSpPr>
            <p:nvPr/>
          </p:nvSpPr>
          <p:spPr bwMode="gray">
            <a:xfrm>
              <a:off x="3600414" y="6433496"/>
              <a:ext cx="104610" cy="92509"/>
            </a:xfrm>
            <a:custGeom>
              <a:avLst/>
              <a:gdLst/>
              <a:ahLst/>
              <a:cxnLst>
                <a:cxn ang="0">
                  <a:pos x="0" y="0"/>
                </a:cxn>
                <a:cxn ang="0">
                  <a:pos x="3" y="102"/>
                </a:cxn>
                <a:cxn ang="0">
                  <a:pos x="117" y="91"/>
                </a:cxn>
                <a:cxn ang="0">
                  <a:pos x="26" y="50"/>
                </a:cxn>
                <a:cxn ang="0">
                  <a:pos x="0" y="0"/>
                </a:cxn>
              </a:cxnLst>
              <a:rect l="0" t="0" r="r" b="b"/>
              <a:pathLst>
                <a:path w="117" h="102">
                  <a:moveTo>
                    <a:pt x="0" y="0"/>
                  </a:moveTo>
                  <a:lnTo>
                    <a:pt x="3" y="102"/>
                  </a:lnTo>
                  <a:lnTo>
                    <a:pt x="117" y="91"/>
                  </a:lnTo>
                  <a:lnTo>
                    <a:pt x="26" y="50"/>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63" name="30545383.875235.257573.55">
              <a:extLst>
                <a:ext uri="{FF2B5EF4-FFF2-40B4-BE49-F238E27FC236}">
                  <a16:creationId xmlns:a16="http://schemas.microsoft.com/office/drawing/2014/main" id="{BCE5A9EB-03BA-4189-8218-13B4D4EF8CFA}"/>
                </a:ext>
              </a:extLst>
            </p:cNvPr>
            <p:cNvSpPr>
              <a:spLocks noChangeAspect="1"/>
            </p:cNvSpPr>
            <p:nvPr/>
          </p:nvSpPr>
          <p:spPr bwMode="gray">
            <a:xfrm>
              <a:off x="3442548" y="4516023"/>
              <a:ext cx="1181146" cy="1212718"/>
            </a:xfrm>
            <a:custGeom>
              <a:avLst/>
              <a:gdLst/>
              <a:ahLst/>
              <a:cxnLst>
                <a:cxn ang="0">
                  <a:pos x="29" y="483"/>
                </a:cxn>
                <a:cxn ang="0">
                  <a:pos x="110" y="480"/>
                </a:cxn>
                <a:cxn ang="0">
                  <a:pos x="139" y="535"/>
                </a:cxn>
                <a:cxn ang="0">
                  <a:pos x="280" y="490"/>
                </a:cxn>
                <a:cxn ang="0">
                  <a:pos x="437" y="625"/>
                </a:cxn>
                <a:cxn ang="0">
                  <a:pos x="517" y="718"/>
                </a:cxn>
                <a:cxn ang="0">
                  <a:pos x="526" y="846"/>
                </a:cxn>
                <a:cxn ang="0">
                  <a:pos x="603" y="924"/>
                </a:cxn>
                <a:cxn ang="0">
                  <a:pos x="647" y="980"/>
                </a:cxn>
                <a:cxn ang="0">
                  <a:pos x="668" y="1040"/>
                </a:cxn>
                <a:cxn ang="0">
                  <a:pos x="543" y="1204"/>
                </a:cxn>
                <a:cxn ang="0">
                  <a:pos x="668" y="1267"/>
                </a:cxn>
                <a:cxn ang="0">
                  <a:pos x="680" y="1332"/>
                </a:cxn>
                <a:cxn ang="0">
                  <a:pos x="849" y="1033"/>
                </a:cxn>
                <a:cxn ang="0">
                  <a:pos x="1057" y="942"/>
                </a:cxn>
                <a:cxn ang="0">
                  <a:pos x="1156" y="759"/>
                </a:cxn>
                <a:cxn ang="0">
                  <a:pos x="1290" y="469"/>
                </a:cxn>
                <a:cxn ang="0">
                  <a:pos x="1282" y="345"/>
                </a:cxn>
                <a:cxn ang="0">
                  <a:pos x="1146" y="274"/>
                </a:cxn>
                <a:cxn ang="0">
                  <a:pos x="967" y="222"/>
                </a:cxn>
                <a:cxn ang="0">
                  <a:pos x="863" y="194"/>
                </a:cxn>
                <a:cxn ang="0">
                  <a:pos x="817" y="231"/>
                </a:cxn>
                <a:cxn ang="0">
                  <a:pos x="776" y="230"/>
                </a:cxn>
                <a:cxn ang="0">
                  <a:pos x="801" y="120"/>
                </a:cxn>
                <a:cxn ang="0">
                  <a:pos x="697" y="102"/>
                </a:cxn>
                <a:cxn ang="0">
                  <a:pos x="580" y="107"/>
                </a:cxn>
                <a:cxn ang="0">
                  <a:pos x="467" y="87"/>
                </a:cxn>
                <a:cxn ang="0">
                  <a:pos x="444" y="0"/>
                </a:cxn>
                <a:cxn ang="0">
                  <a:pos x="303" y="28"/>
                </a:cxn>
                <a:cxn ang="0">
                  <a:pos x="352" y="99"/>
                </a:cxn>
                <a:cxn ang="0">
                  <a:pos x="233" y="128"/>
                </a:cxn>
                <a:cxn ang="0">
                  <a:pos x="134" y="117"/>
                </a:cxn>
                <a:cxn ang="0">
                  <a:pos x="128" y="154"/>
                </a:cxn>
                <a:cxn ang="0">
                  <a:pos x="130" y="310"/>
                </a:cxn>
                <a:cxn ang="0">
                  <a:pos x="0" y="421"/>
                </a:cxn>
              </a:cxnLst>
              <a:rect l="0" t="0" r="r" b="b"/>
              <a:pathLst>
                <a:path w="1303" h="1332">
                  <a:moveTo>
                    <a:pt x="0" y="421"/>
                  </a:moveTo>
                  <a:lnTo>
                    <a:pt x="29" y="483"/>
                  </a:lnTo>
                  <a:lnTo>
                    <a:pt x="74" y="504"/>
                  </a:lnTo>
                  <a:lnTo>
                    <a:pt x="110" y="480"/>
                  </a:lnTo>
                  <a:lnTo>
                    <a:pt x="110" y="535"/>
                  </a:lnTo>
                  <a:lnTo>
                    <a:pt x="139" y="535"/>
                  </a:lnTo>
                  <a:lnTo>
                    <a:pt x="180" y="538"/>
                  </a:lnTo>
                  <a:lnTo>
                    <a:pt x="280" y="490"/>
                  </a:lnTo>
                  <a:lnTo>
                    <a:pt x="288" y="565"/>
                  </a:lnTo>
                  <a:lnTo>
                    <a:pt x="437" y="625"/>
                  </a:lnTo>
                  <a:lnTo>
                    <a:pt x="460" y="714"/>
                  </a:lnTo>
                  <a:lnTo>
                    <a:pt x="517" y="718"/>
                  </a:lnTo>
                  <a:lnTo>
                    <a:pt x="538" y="777"/>
                  </a:lnTo>
                  <a:lnTo>
                    <a:pt x="526" y="846"/>
                  </a:lnTo>
                  <a:lnTo>
                    <a:pt x="534" y="913"/>
                  </a:lnTo>
                  <a:lnTo>
                    <a:pt x="603" y="924"/>
                  </a:lnTo>
                  <a:lnTo>
                    <a:pt x="613" y="971"/>
                  </a:lnTo>
                  <a:lnTo>
                    <a:pt x="647" y="980"/>
                  </a:lnTo>
                  <a:lnTo>
                    <a:pt x="642" y="1039"/>
                  </a:lnTo>
                  <a:lnTo>
                    <a:pt x="668" y="1040"/>
                  </a:lnTo>
                  <a:lnTo>
                    <a:pt x="673" y="1091"/>
                  </a:lnTo>
                  <a:lnTo>
                    <a:pt x="543" y="1204"/>
                  </a:lnTo>
                  <a:lnTo>
                    <a:pt x="567" y="1197"/>
                  </a:lnTo>
                  <a:lnTo>
                    <a:pt x="668" y="1267"/>
                  </a:lnTo>
                  <a:lnTo>
                    <a:pt x="688" y="1296"/>
                  </a:lnTo>
                  <a:lnTo>
                    <a:pt x="680" y="1332"/>
                  </a:lnTo>
                  <a:lnTo>
                    <a:pt x="839" y="1134"/>
                  </a:lnTo>
                  <a:lnTo>
                    <a:pt x="849" y="1033"/>
                  </a:lnTo>
                  <a:lnTo>
                    <a:pt x="977" y="942"/>
                  </a:lnTo>
                  <a:lnTo>
                    <a:pt x="1057" y="942"/>
                  </a:lnTo>
                  <a:lnTo>
                    <a:pt x="1090" y="911"/>
                  </a:lnTo>
                  <a:lnTo>
                    <a:pt x="1156" y="759"/>
                  </a:lnTo>
                  <a:lnTo>
                    <a:pt x="1164" y="611"/>
                  </a:lnTo>
                  <a:lnTo>
                    <a:pt x="1290" y="469"/>
                  </a:lnTo>
                  <a:lnTo>
                    <a:pt x="1303" y="407"/>
                  </a:lnTo>
                  <a:lnTo>
                    <a:pt x="1282" y="345"/>
                  </a:lnTo>
                  <a:lnTo>
                    <a:pt x="1230" y="337"/>
                  </a:lnTo>
                  <a:lnTo>
                    <a:pt x="1146" y="274"/>
                  </a:lnTo>
                  <a:lnTo>
                    <a:pt x="982" y="260"/>
                  </a:lnTo>
                  <a:lnTo>
                    <a:pt x="967" y="222"/>
                  </a:lnTo>
                  <a:lnTo>
                    <a:pt x="893" y="193"/>
                  </a:lnTo>
                  <a:lnTo>
                    <a:pt x="863" y="194"/>
                  </a:lnTo>
                  <a:lnTo>
                    <a:pt x="819" y="252"/>
                  </a:lnTo>
                  <a:lnTo>
                    <a:pt x="817" y="231"/>
                  </a:lnTo>
                  <a:lnTo>
                    <a:pt x="747" y="241"/>
                  </a:lnTo>
                  <a:lnTo>
                    <a:pt x="776" y="230"/>
                  </a:lnTo>
                  <a:lnTo>
                    <a:pt x="749" y="184"/>
                  </a:lnTo>
                  <a:lnTo>
                    <a:pt x="801" y="120"/>
                  </a:lnTo>
                  <a:lnTo>
                    <a:pt x="746" y="37"/>
                  </a:lnTo>
                  <a:lnTo>
                    <a:pt x="697" y="102"/>
                  </a:lnTo>
                  <a:lnTo>
                    <a:pt x="650" y="98"/>
                  </a:lnTo>
                  <a:lnTo>
                    <a:pt x="580" y="107"/>
                  </a:lnTo>
                  <a:lnTo>
                    <a:pt x="485" y="121"/>
                  </a:lnTo>
                  <a:lnTo>
                    <a:pt x="467" y="87"/>
                  </a:lnTo>
                  <a:lnTo>
                    <a:pt x="474" y="24"/>
                  </a:lnTo>
                  <a:lnTo>
                    <a:pt x="444" y="0"/>
                  </a:lnTo>
                  <a:lnTo>
                    <a:pt x="361" y="40"/>
                  </a:lnTo>
                  <a:lnTo>
                    <a:pt x="303" y="28"/>
                  </a:lnTo>
                  <a:lnTo>
                    <a:pt x="320" y="91"/>
                  </a:lnTo>
                  <a:lnTo>
                    <a:pt x="352" y="99"/>
                  </a:lnTo>
                  <a:lnTo>
                    <a:pt x="272" y="145"/>
                  </a:lnTo>
                  <a:lnTo>
                    <a:pt x="233" y="128"/>
                  </a:lnTo>
                  <a:lnTo>
                    <a:pt x="214" y="105"/>
                  </a:lnTo>
                  <a:lnTo>
                    <a:pt x="134" y="117"/>
                  </a:lnTo>
                  <a:lnTo>
                    <a:pt x="159" y="151"/>
                  </a:lnTo>
                  <a:lnTo>
                    <a:pt x="128" y="154"/>
                  </a:lnTo>
                  <a:lnTo>
                    <a:pt x="145" y="213"/>
                  </a:lnTo>
                  <a:lnTo>
                    <a:pt x="130" y="310"/>
                  </a:lnTo>
                  <a:lnTo>
                    <a:pt x="46" y="344"/>
                  </a:lnTo>
                  <a:lnTo>
                    <a:pt x="0" y="421"/>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64" name="30546426.37523278.7515.6255">
              <a:extLst>
                <a:ext uri="{FF2B5EF4-FFF2-40B4-BE49-F238E27FC236}">
                  <a16:creationId xmlns:a16="http://schemas.microsoft.com/office/drawing/2014/main" id="{382257B9-72F7-404E-B77C-34F2BB05B53B}"/>
                </a:ext>
              </a:extLst>
            </p:cNvPr>
            <p:cNvSpPr>
              <a:spLocks noChangeAspect="1"/>
            </p:cNvSpPr>
            <p:nvPr/>
          </p:nvSpPr>
          <p:spPr bwMode="gray">
            <a:xfrm>
              <a:off x="3393098" y="5202275"/>
              <a:ext cx="249163" cy="1274950"/>
            </a:xfrm>
            <a:custGeom>
              <a:avLst/>
              <a:gdLst/>
              <a:ahLst/>
              <a:cxnLst>
                <a:cxn ang="0">
                  <a:pos x="0" y="1091"/>
                </a:cxn>
                <a:cxn ang="0">
                  <a:pos x="22" y="1053"/>
                </a:cxn>
                <a:cxn ang="0">
                  <a:pos x="59" y="1080"/>
                </a:cxn>
                <a:cxn ang="0">
                  <a:pos x="95" y="1009"/>
                </a:cxn>
                <a:cxn ang="0">
                  <a:pos x="81" y="981"/>
                </a:cxn>
                <a:cxn ang="0">
                  <a:pos x="110" y="882"/>
                </a:cxn>
                <a:cxn ang="0">
                  <a:pos x="58" y="874"/>
                </a:cxn>
                <a:cxn ang="0">
                  <a:pos x="66" y="714"/>
                </a:cxn>
                <a:cxn ang="0">
                  <a:pos x="135" y="548"/>
                </a:cxn>
                <a:cxn ang="0">
                  <a:pos x="133" y="407"/>
                </a:cxn>
                <a:cxn ang="0">
                  <a:pos x="181" y="142"/>
                </a:cxn>
                <a:cxn ang="0">
                  <a:pos x="166" y="24"/>
                </a:cxn>
                <a:cxn ang="0">
                  <a:pos x="199" y="0"/>
                </a:cxn>
                <a:cxn ang="0">
                  <a:pos x="234" y="61"/>
                </a:cxn>
                <a:cxn ang="0">
                  <a:pos x="254" y="185"/>
                </a:cxn>
                <a:cxn ang="0">
                  <a:pos x="278" y="187"/>
                </a:cxn>
                <a:cxn ang="0">
                  <a:pos x="275" y="229"/>
                </a:cxn>
                <a:cxn ang="0">
                  <a:pos x="238" y="247"/>
                </a:cxn>
                <a:cxn ang="0">
                  <a:pos x="239" y="328"/>
                </a:cxn>
                <a:cxn ang="0">
                  <a:pos x="199" y="373"/>
                </a:cxn>
                <a:cxn ang="0">
                  <a:pos x="168" y="487"/>
                </a:cxn>
                <a:cxn ang="0">
                  <a:pos x="191" y="596"/>
                </a:cxn>
                <a:cxn ang="0">
                  <a:pos x="148" y="688"/>
                </a:cxn>
                <a:cxn ang="0">
                  <a:pos x="118" y="918"/>
                </a:cxn>
                <a:cxn ang="0">
                  <a:pos x="142" y="1002"/>
                </a:cxn>
                <a:cxn ang="0">
                  <a:pos x="120" y="1009"/>
                </a:cxn>
                <a:cxn ang="0">
                  <a:pos x="131" y="1083"/>
                </a:cxn>
                <a:cxn ang="0">
                  <a:pos x="74" y="1238"/>
                </a:cxn>
                <a:cxn ang="0">
                  <a:pos x="80" y="1263"/>
                </a:cxn>
                <a:cxn ang="0">
                  <a:pos x="107" y="1255"/>
                </a:cxn>
                <a:cxn ang="0">
                  <a:pos x="118" y="1314"/>
                </a:cxn>
                <a:cxn ang="0">
                  <a:pos x="239" y="1326"/>
                </a:cxn>
                <a:cxn ang="0">
                  <a:pos x="158" y="1350"/>
                </a:cxn>
                <a:cxn ang="0">
                  <a:pos x="148" y="1395"/>
                </a:cxn>
                <a:cxn ang="0">
                  <a:pos x="113" y="1383"/>
                </a:cxn>
                <a:cxn ang="0">
                  <a:pos x="153" y="1354"/>
                </a:cxn>
                <a:cxn ang="0">
                  <a:pos x="94" y="1341"/>
                </a:cxn>
                <a:cxn ang="0">
                  <a:pos x="87" y="1292"/>
                </a:cxn>
                <a:cxn ang="0">
                  <a:pos x="72" y="1315"/>
                </a:cxn>
                <a:cxn ang="0">
                  <a:pos x="50" y="1270"/>
                </a:cxn>
                <a:cxn ang="0">
                  <a:pos x="61" y="1256"/>
                </a:cxn>
                <a:cxn ang="0">
                  <a:pos x="34" y="1236"/>
                </a:cxn>
                <a:cxn ang="0">
                  <a:pos x="58" y="1209"/>
                </a:cxn>
                <a:cxn ang="0">
                  <a:pos x="36" y="1142"/>
                </a:cxn>
                <a:cxn ang="0">
                  <a:pos x="78" y="1149"/>
                </a:cxn>
                <a:cxn ang="0">
                  <a:pos x="36" y="1114"/>
                </a:cxn>
                <a:cxn ang="0">
                  <a:pos x="45" y="1088"/>
                </a:cxn>
                <a:cxn ang="0">
                  <a:pos x="0" y="1091"/>
                </a:cxn>
              </a:cxnLst>
              <a:rect l="0" t="0" r="r" b="b"/>
              <a:pathLst>
                <a:path w="278" h="1395">
                  <a:moveTo>
                    <a:pt x="0" y="1091"/>
                  </a:moveTo>
                  <a:lnTo>
                    <a:pt x="22" y="1053"/>
                  </a:lnTo>
                  <a:lnTo>
                    <a:pt x="59" y="1080"/>
                  </a:lnTo>
                  <a:lnTo>
                    <a:pt x="95" y="1009"/>
                  </a:lnTo>
                  <a:lnTo>
                    <a:pt x="81" y="981"/>
                  </a:lnTo>
                  <a:lnTo>
                    <a:pt x="110" y="882"/>
                  </a:lnTo>
                  <a:lnTo>
                    <a:pt x="58" y="874"/>
                  </a:lnTo>
                  <a:lnTo>
                    <a:pt x="66" y="714"/>
                  </a:lnTo>
                  <a:lnTo>
                    <a:pt x="135" y="548"/>
                  </a:lnTo>
                  <a:lnTo>
                    <a:pt x="133" y="407"/>
                  </a:lnTo>
                  <a:lnTo>
                    <a:pt x="181" y="142"/>
                  </a:lnTo>
                  <a:lnTo>
                    <a:pt x="166" y="24"/>
                  </a:lnTo>
                  <a:lnTo>
                    <a:pt x="199" y="0"/>
                  </a:lnTo>
                  <a:lnTo>
                    <a:pt x="234" y="61"/>
                  </a:lnTo>
                  <a:lnTo>
                    <a:pt x="254" y="185"/>
                  </a:lnTo>
                  <a:lnTo>
                    <a:pt x="278" y="187"/>
                  </a:lnTo>
                  <a:lnTo>
                    <a:pt x="275" y="229"/>
                  </a:lnTo>
                  <a:lnTo>
                    <a:pt x="238" y="247"/>
                  </a:lnTo>
                  <a:lnTo>
                    <a:pt x="239" y="328"/>
                  </a:lnTo>
                  <a:lnTo>
                    <a:pt x="199" y="373"/>
                  </a:lnTo>
                  <a:lnTo>
                    <a:pt x="168" y="487"/>
                  </a:lnTo>
                  <a:lnTo>
                    <a:pt x="191" y="596"/>
                  </a:lnTo>
                  <a:lnTo>
                    <a:pt x="148" y="688"/>
                  </a:lnTo>
                  <a:lnTo>
                    <a:pt x="118" y="918"/>
                  </a:lnTo>
                  <a:lnTo>
                    <a:pt x="142" y="1002"/>
                  </a:lnTo>
                  <a:lnTo>
                    <a:pt x="120" y="1009"/>
                  </a:lnTo>
                  <a:lnTo>
                    <a:pt x="131" y="1083"/>
                  </a:lnTo>
                  <a:lnTo>
                    <a:pt x="74" y="1238"/>
                  </a:lnTo>
                  <a:lnTo>
                    <a:pt x="80" y="1263"/>
                  </a:lnTo>
                  <a:lnTo>
                    <a:pt x="107" y="1255"/>
                  </a:lnTo>
                  <a:lnTo>
                    <a:pt x="118" y="1314"/>
                  </a:lnTo>
                  <a:lnTo>
                    <a:pt x="239" y="1326"/>
                  </a:lnTo>
                  <a:lnTo>
                    <a:pt x="158" y="1350"/>
                  </a:lnTo>
                  <a:lnTo>
                    <a:pt x="148" y="1395"/>
                  </a:lnTo>
                  <a:lnTo>
                    <a:pt x="113" y="1383"/>
                  </a:lnTo>
                  <a:lnTo>
                    <a:pt x="153" y="1354"/>
                  </a:lnTo>
                  <a:lnTo>
                    <a:pt x="94" y="1341"/>
                  </a:lnTo>
                  <a:lnTo>
                    <a:pt x="87" y="1292"/>
                  </a:lnTo>
                  <a:lnTo>
                    <a:pt x="72" y="1315"/>
                  </a:lnTo>
                  <a:lnTo>
                    <a:pt x="50" y="1270"/>
                  </a:lnTo>
                  <a:lnTo>
                    <a:pt x="61" y="1256"/>
                  </a:lnTo>
                  <a:lnTo>
                    <a:pt x="34" y="1236"/>
                  </a:lnTo>
                  <a:lnTo>
                    <a:pt x="58" y="1209"/>
                  </a:lnTo>
                  <a:lnTo>
                    <a:pt x="36" y="1142"/>
                  </a:lnTo>
                  <a:lnTo>
                    <a:pt x="78" y="1149"/>
                  </a:lnTo>
                  <a:lnTo>
                    <a:pt x="36" y="1114"/>
                  </a:lnTo>
                  <a:lnTo>
                    <a:pt x="45" y="1088"/>
                  </a:lnTo>
                  <a:lnTo>
                    <a:pt x="0" y="1091"/>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65" name="30547492.375232.87531.255">
              <a:extLst>
                <a:ext uri="{FF2B5EF4-FFF2-40B4-BE49-F238E27FC236}">
                  <a16:creationId xmlns:a16="http://schemas.microsoft.com/office/drawing/2014/main" id="{F9E20B14-C9C8-40BE-B51C-6E1C6A14919A}"/>
                </a:ext>
              </a:extLst>
            </p:cNvPr>
            <p:cNvSpPr>
              <a:spLocks noChangeAspect="1"/>
            </p:cNvSpPr>
            <p:nvPr/>
          </p:nvSpPr>
          <p:spPr bwMode="gray">
            <a:xfrm>
              <a:off x="3404510" y="6272025"/>
              <a:ext cx="22823" cy="48779"/>
            </a:xfrm>
            <a:custGeom>
              <a:avLst/>
              <a:gdLst/>
              <a:ahLst/>
              <a:cxnLst>
                <a:cxn ang="0">
                  <a:pos x="0" y="23"/>
                </a:cxn>
                <a:cxn ang="0">
                  <a:pos x="8" y="0"/>
                </a:cxn>
                <a:cxn ang="0">
                  <a:pos x="22" y="51"/>
                </a:cxn>
                <a:cxn ang="0">
                  <a:pos x="0" y="23"/>
                </a:cxn>
              </a:cxnLst>
              <a:rect l="0" t="0" r="r" b="b"/>
              <a:pathLst>
                <a:path w="22" h="51">
                  <a:moveTo>
                    <a:pt x="0" y="23"/>
                  </a:moveTo>
                  <a:lnTo>
                    <a:pt x="8" y="0"/>
                  </a:lnTo>
                  <a:lnTo>
                    <a:pt x="22" y="51"/>
                  </a:lnTo>
                  <a:lnTo>
                    <a:pt x="0" y="23"/>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66" name="30548476.5234.1253.751.1255">
              <a:extLst>
                <a:ext uri="{FF2B5EF4-FFF2-40B4-BE49-F238E27FC236}">
                  <a16:creationId xmlns:a16="http://schemas.microsoft.com/office/drawing/2014/main" id="{9D5A01CE-ED26-442F-9D7D-2FE436540323}"/>
                </a:ext>
              </a:extLst>
            </p:cNvPr>
            <p:cNvSpPr>
              <a:spLocks noChangeAspect="1"/>
            </p:cNvSpPr>
            <p:nvPr/>
          </p:nvSpPr>
          <p:spPr bwMode="gray">
            <a:xfrm>
              <a:off x="3427332" y="6014680"/>
              <a:ext cx="15216" cy="62232"/>
            </a:xfrm>
            <a:custGeom>
              <a:avLst/>
              <a:gdLst/>
              <a:ahLst/>
              <a:cxnLst>
                <a:cxn ang="0">
                  <a:pos x="0" y="56"/>
                </a:cxn>
                <a:cxn ang="0">
                  <a:pos x="19" y="0"/>
                </a:cxn>
                <a:cxn ang="0">
                  <a:pos x="19" y="66"/>
                </a:cxn>
                <a:cxn ang="0">
                  <a:pos x="0" y="56"/>
                </a:cxn>
              </a:cxnLst>
              <a:rect l="0" t="0" r="r" b="b"/>
              <a:pathLst>
                <a:path w="19" h="66">
                  <a:moveTo>
                    <a:pt x="0" y="56"/>
                  </a:moveTo>
                  <a:lnTo>
                    <a:pt x="19" y="0"/>
                  </a:lnTo>
                  <a:lnTo>
                    <a:pt x="19" y="66"/>
                  </a:lnTo>
                  <a:lnTo>
                    <a:pt x="0" y="56"/>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67" name="30549504.125235.51.752.55">
              <a:extLst>
                <a:ext uri="{FF2B5EF4-FFF2-40B4-BE49-F238E27FC236}">
                  <a16:creationId xmlns:a16="http://schemas.microsoft.com/office/drawing/2014/main" id="{3EAA66B5-A830-4DF9-9FA0-55602A80AC17}"/>
                </a:ext>
              </a:extLst>
            </p:cNvPr>
            <p:cNvSpPr>
              <a:spLocks noChangeAspect="1"/>
            </p:cNvSpPr>
            <p:nvPr/>
          </p:nvSpPr>
          <p:spPr bwMode="gray">
            <a:xfrm>
              <a:off x="3450159" y="6463773"/>
              <a:ext cx="38039" cy="28593"/>
            </a:xfrm>
            <a:custGeom>
              <a:avLst/>
              <a:gdLst/>
              <a:ahLst/>
              <a:cxnLst>
                <a:cxn ang="0">
                  <a:pos x="0" y="0"/>
                </a:cxn>
                <a:cxn ang="0">
                  <a:pos x="42" y="6"/>
                </a:cxn>
                <a:cxn ang="0">
                  <a:pos x="44" y="28"/>
                </a:cxn>
                <a:cxn ang="0">
                  <a:pos x="0" y="0"/>
                </a:cxn>
              </a:cxnLst>
              <a:rect l="0" t="0" r="r" b="b"/>
              <a:pathLst>
                <a:path w="44" h="28">
                  <a:moveTo>
                    <a:pt x="0" y="0"/>
                  </a:moveTo>
                  <a:lnTo>
                    <a:pt x="42" y="6"/>
                  </a:lnTo>
                  <a:lnTo>
                    <a:pt x="44" y="28"/>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68" name="30550500.52363.753.6255">
              <a:extLst>
                <a:ext uri="{FF2B5EF4-FFF2-40B4-BE49-F238E27FC236}">
                  <a16:creationId xmlns:a16="http://schemas.microsoft.com/office/drawing/2014/main" id="{369A5C69-C964-457D-9957-A3CFBD686584}"/>
                </a:ext>
              </a:extLst>
            </p:cNvPr>
            <p:cNvSpPr>
              <a:spLocks noChangeAspect="1"/>
            </p:cNvSpPr>
            <p:nvPr/>
          </p:nvSpPr>
          <p:spPr bwMode="gray">
            <a:xfrm>
              <a:off x="3455864" y="6403218"/>
              <a:ext cx="60865" cy="62235"/>
            </a:xfrm>
            <a:custGeom>
              <a:avLst/>
              <a:gdLst/>
              <a:ahLst/>
              <a:cxnLst>
                <a:cxn ang="0">
                  <a:pos x="0" y="11"/>
                </a:cxn>
                <a:cxn ang="0">
                  <a:pos x="18" y="0"/>
                </a:cxn>
                <a:cxn ang="0">
                  <a:pos x="17" y="30"/>
                </a:cxn>
                <a:cxn ang="0">
                  <a:pos x="66" y="41"/>
                </a:cxn>
                <a:cxn ang="0">
                  <a:pos x="34" y="66"/>
                </a:cxn>
                <a:cxn ang="0">
                  <a:pos x="0" y="11"/>
                </a:cxn>
              </a:cxnLst>
              <a:rect l="0" t="0" r="r" b="b"/>
              <a:pathLst>
                <a:path w="66" h="66">
                  <a:moveTo>
                    <a:pt x="0" y="11"/>
                  </a:moveTo>
                  <a:lnTo>
                    <a:pt x="18" y="0"/>
                  </a:lnTo>
                  <a:lnTo>
                    <a:pt x="17" y="30"/>
                  </a:lnTo>
                  <a:lnTo>
                    <a:pt x="66" y="41"/>
                  </a:lnTo>
                  <a:lnTo>
                    <a:pt x="34" y="66"/>
                  </a:lnTo>
                  <a:lnTo>
                    <a:pt x="0" y="11"/>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69" name="30551505.375238.625125">
              <a:extLst>
                <a:ext uri="{FF2B5EF4-FFF2-40B4-BE49-F238E27FC236}">
                  <a16:creationId xmlns:a16="http://schemas.microsoft.com/office/drawing/2014/main" id="{865B91DD-F35A-4266-B1F1-31049DE8CACE}"/>
                </a:ext>
              </a:extLst>
            </p:cNvPr>
            <p:cNvSpPr>
              <a:spLocks noChangeAspect="1"/>
            </p:cNvSpPr>
            <p:nvPr/>
          </p:nvSpPr>
          <p:spPr bwMode="gray">
            <a:xfrm>
              <a:off x="3499609" y="6483956"/>
              <a:ext cx="32333" cy="15137"/>
            </a:xfrm>
            <a:custGeom>
              <a:avLst/>
              <a:gdLst/>
              <a:ahLst/>
              <a:cxnLst>
                <a:cxn ang="0">
                  <a:pos x="0" y="12"/>
                </a:cxn>
                <a:cxn ang="0">
                  <a:pos x="10" y="0"/>
                </a:cxn>
                <a:cxn ang="0">
                  <a:pos x="36" y="16"/>
                </a:cxn>
                <a:cxn ang="0">
                  <a:pos x="0" y="12"/>
                </a:cxn>
              </a:cxnLst>
              <a:rect l="0" t="0" r="r" b="b"/>
              <a:pathLst>
                <a:path w="36" h="16">
                  <a:moveTo>
                    <a:pt x="0" y="12"/>
                  </a:moveTo>
                  <a:lnTo>
                    <a:pt x="10" y="0"/>
                  </a:lnTo>
                  <a:lnTo>
                    <a:pt x="36" y="16"/>
                  </a:lnTo>
                  <a:lnTo>
                    <a:pt x="0" y="12"/>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70" name="30552502.252405.755.255">
              <a:extLst>
                <a:ext uri="{FF2B5EF4-FFF2-40B4-BE49-F238E27FC236}">
                  <a16:creationId xmlns:a16="http://schemas.microsoft.com/office/drawing/2014/main" id="{121E6D50-289C-418A-B63F-863C7A15B2BD}"/>
                </a:ext>
              </a:extLst>
            </p:cNvPr>
            <p:cNvSpPr>
              <a:spLocks noChangeAspect="1"/>
            </p:cNvSpPr>
            <p:nvPr/>
          </p:nvSpPr>
          <p:spPr bwMode="gray">
            <a:xfrm>
              <a:off x="3522435" y="6433496"/>
              <a:ext cx="81787" cy="92509"/>
            </a:xfrm>
            <a:custGeom>
              <a:avLst/>
              <a:gdLst/>
              <a:ahLst/>
              <a:cxnLst>
                <a:cxn ang="0">
                  <a:pos x="0" y="83"/>
                </a:cxn>
                <a:cxn ang="0">
                  <a:pos x="15" y="68"/>
                </a:cxn>
                <a:cxn ang="0">
                  <a:pos x="64" y="77"/>
                </a:cxn>
                <a:cxn ang="0">
                  <a:pos x="42" y="51"/>
                </a:cxn>
                <a:cxn ang="0">
                  <a:pos x="66" y="35"/>
                </a:cxn>
                <a:cxn ang="0">
                  <a:pos x="30" y="30"/>
                </a:cxn>
                <a:cxn ang="0">
                  <a:pos x="30" y="6"/>
                </a:cxn>
                <a:cxn ang="0">
                  <a:pos x="89" y="0"/>
                </a:cxn>
                <a:cxn ang="0">
                  <a:pos x="92" y="102"/>
                </a:cxn>
                <a:cxn ang="0">
                  <a:pos x="0" y="83"/>
                </a:cxn>
              </a:cxnLst>
              <a:rect l="0" t="0" r="r" b="b"/>
              <a:pathLst>
                <a:path w="92" h="102">
                  <a:moveTo>
                    <a:pt x="0" y="83"/>
                  </a:moveTo>
                  <a:lnTo>
                    <a:pt x="15" y="68"/>
                  </a:lnTo>
                  <a:lnTo>
                    <a:pt x="64" y="77"/>
                  </a:lnTo>
                  <a:lnTo>
                    <a:pt x="42" y="51"/>
                  </a:lnTo>
                  <a:lnTo>
                    <a:pt x="66" y="35"/>
                  </a:lnTo>
                  <a:lnTo>
                    <a:pt x="30" y="30"/>
                  </a:lnTo>
                  <a:lnTo>
                    <a:pt x="30" y="6"/>
                  </a:lnTo>
                  <a:lnTo>
                    <a:pt x="89" y="0"/>
                  </a:lnTo>
                  <a:lnTo>
                    <a:pt x="92" y="102"/>
                  </a:lnTo>
                  <a:lnTo>
                    <a:pt x="0" y="83"/>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71" name="30553508.875242.6251.1253.8755">
              <a:extLst>
                <a:ext uri="{FF2B5EF4-FFF2-40B4-BE49-F238E27FC236}">
                  <a16:creationId xmlns:a16="http://schemas.microsoft.com/office/drawing/2014/main" id="{5A4CABA6-55A2-4FB1-BA58-4C94A1A8895D}"/>
                </a:ext>
              </a:extLst>
            </p:cNvPr>
            <p:cNvSpPr>
              <a:spLocks noChangeAspect="1"/>
            </p:cNvSpPr>
            <p:nvPr/>
          </p:nvSpPr>
          <p:spPr bwMode="gray">
            <a:xfrm>
              <a:off x="3564279" y="6541142"/>
              <a:ext cx="58961" cy="16821"/>
            </a:xfrm>
            <a:custGeom>
              <a:avLst/>
              <a:gdLst/>
              <a:ahLst/>
              <a:cxnLst>
                <a:cxn ang="0">
                  <a:pos x="0" y="0"/>
                </a:cxn>
                <a:cxn ang="0">
                  <a:pos x="62" y="6"/>
                </a:cxn>
                <a:cxn ang="0">
                  <a:pos x="69" y="21"/>
                </a:cxn>
                <a:cxn ang="0">
                  <a:pos x="0" y="0"/>
                </a:cxn>
              </a:cxnLst>
              <a:rect l="0" t="0" r="r" b="b"/>
              <a:pathLst>
                <a:path w="69" h="21">
                  <a:moveTo>
                    <a:pt x="0" y="0"/>
                  </a:moveTo>
                  <a:lnTo>
                    <a:pt x="62" y="6"/>
                  </a:lnTo>
                  <a:lnTo>
                    <a:pt x="69" y="21"/>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72" name="30554508.125246.3750.751.755">
              <a:extLst>
                <a:ext uri="{FF2B5EF4-FFF2-40B4-BE49-F238E27FC236}">
                  <a16:creationId xmlns:a16="http://schemas.microsoft.com/office/drawing/2014/main" id="{B302EAA6-D931-4085-BF97-5ACD281933CF}"/>
                </a:ext>
              </a:extLst>
            </p:cNvPr>
            <p:cNvSpPr>
              <a:spLocks noChangeAspect="1"/>
            </p:cNvSpPr>
            <p:nvPr/>
          </p:nvSpPr>
          <p:spPr bwMode="gray">
            <a:xfrm>
              <a:off x="3623240" y="6527686"/>
              <a:ext cx="28532" cy="13456"/>
            </a:xfrm>
            <a:custGeom>
              <a:avLst/>
              <a:gdLst/>
              <a:ahLst/>
              <a:cxnLst>
                <a:cxn ang="0">
                  <a:pos x="0" y="14"/>
                </a:cxn>
                <a:cxn ang="0">
                  <a:pos x="7" y="0"/>
                </a:cxn>
                <a:cxn ang="0">
                  <a:pos x="32" y="14"/>
                </a:cxn>
                <a:cxn ang="0">
                  <a:pos x="0" y="14"/>
                </a:cxn>
              </a:cxnLst>
              <a:rect l="0" t="0" r="r" b="b"/>
              <a:pathLst>
                <a:path w="32" h="14">
                  <a:moveTo>
                    <a:pt x="0" y="14"/>
                  </a:moveTo>
                  <a:lnTo>
                    <a:pt x="7" y="0"/>
                  </a:lnTo>
                  <a:lnTo>
                    <a:pt x="32" y="14"/>
                  </a:lnTo>
                  <a:lnTo>
                    <a:pt x="0" y="1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73" name="30555370.125225.87531.12522.6255">
              <a:extLst>
                <a:ext uri="{FF2B5EF4-FFF2-40B4-BE49-F238E27FC236}">
                  <a16:creationId xmlns:a16="http://schemas.microsoft.com/office/drawing/2014/main" id="{37197151-EFEA-4D2B-A596-0E7B466A03FA}"/>
                </a:ext>
              </a:extLst>
            </p:cNvPr>
            <p:cNvSpPr>
              <a:spLocks noChangeAspect="1"/>
            </p:cNvSpPr>
            <p:nvPr/>
          </p:nvSpPr>
          <p:spPr bwMode="gray">
            <a:xfrm>
              <a:off x="3294194" y="4292320"/>
              <a:ext cx="363284" cy="506280"/>
            </a:xfrm>
            <a:custGeom>
              <a:avLst/>
              <a:gdLst/>
              <a:ahLst/>
              <a:cxnLst>
                <a:cxn ang="0">
                  <a:pos x="0" y="367"/>
                </a:cxn>
                <a:cxn ang="0">
                  <a:pos x="50" y="407"/>
                </a:cxn>
                <a:cxn ang="0">
                  <a:pos x="120" y="417"/>
                </a:cxn>
                <a:cxn ang="0">
                  <a:pos x="193" y="491"/>
                </a:cxn>
                <a:cxn ang="0">
                  <a:pos x="288" y="498"/>
                </a:cxn>
                <a:cxn ang="0">
                  <a:pos x="274" y="538"/>
                </a:cxn>
                <a:cxn ang="0">
                  <a:pos x="297" y="552"/>
                </a:cxn>
                <a:cxn ang="0">
                  <a:pos x="312" y="455"/>
                </a:cxn>
                <a:cxn ang="0">
                  <a:pos x="295" y="396"/>
                </a:cxn>
                <a:cxn ang="0">
                  <a:pos x="326" y="393"/>
                </a:cxn>
                <a:cxn ang="0">
                  <a:pos x="301" y="359"/>
                </a:cxn>
                <a:cxn ang="0">
                  <a:pos x="381" y="347"/>
                </a:cxn>
                <a:cxn ang="0">
                  <a:pos x="400" y="370"/>
                </a:cxn>
                <a:cxn ang="0">
                  <a:pos x="370" y="322"/>
                </a:cxn>
                <a:cxn ang="0">
                  <a:pos x="380" y="206"/>
                </a:cxn>
                <a:cxn ang="0">
                  <a:pos x="315" y="211"/>
                </a:cxn>
                <a:cxn ang="0">
                  <a:pos x="295" y="183"/>
                </a:cxn>
                <a:cxn ang="0">
                  <a:pos x="229" y="175"/>
                </a:cxn>
                <a:cxn ang="0">
                  <a:pos x="187" y="109"/>
                </a:cxn>
                <a:cxn ang="0">
                  <a:pos x="251" y="21"/>
                </a:cxn>
                <a:cxn ang="0">
                  <a:pos x="242" y="0"/>
                </a:cxn>
                <a:cxn ang="0">
                  <a:pos x="130" y="48"/>
                </a:cxn>
                <a:cxn ang="0">
                  <a:pos x="68" y="147"/>
                </a:cxn>
                <a:cxn ang="0">
                  <a:pos x="49" y="124"/>
                </a:cxn>
                <a:cxn ang="0">
                  <a:pos x="32" y="172"/>
                </a:cxn>
                <a:cxn ang="0">
                  <a:pos x="49" y="282"/>
                </a:cxn>
                <a:cxn ang="0">
                  <a:pos x="62" y="282"/>
                </a:cxn>
                <a:cxn ang="0">
                  <a:pos x="0" y="367"/>
                </a:cxn>
              </a:cxnLst>
              <a:rect l="0" t="0" r="r" b="b"/>
              <a:pathLst>
                <a:path w="400" h="552">
                  <a:moveTo>
                    <a:pt x="0" y="367"/>
                  </a:moveTo>
                  <a:lnTo>
                    <a:pt x="50" y="407"/>
                  </a:lnTo>
                  <a:lnTo>
                    <a:pt x="120" y="417"/>
                  </a:lnTo>
                  <a:lnTo>
                    <a:pt x="193" y="491"/>
                  </a:lnTo>
                  <a:lnTo>
                    <a:pt x="288" y="498"/>
                  </a:lnTo>
                  <a:lnTo>
                    <a:pt x="274" y="538"/>
                  </a:lnTo>
                  <a:lnTo>
                    <a:pt x="297" y="552"/>
                  </a:lnTo>
                  <a:lnTo>
                    <a:pt x="312" y="455"/>
                  </a:lnTo>
                  <a:lnTo>
                    <a:pt x="295" y="396"/>
                  </a:lnTo>
                  <a:lnTo>
                    <a:pt x="326" y="393"/>
                  </a:lnTo>
                  <a:lnTo>
                    <a:pt x="301" y="359"/>
                  </a:lnTo>
                  <a:lnTo>
                    <a:pt x="381" y="347"/>
                  </a:lnTo>
                  <a:lnTo>
                    <a:pt x="400" y="370"/>
                  </a:lnTo>
                  <a:lnTo>
                    <a:pt x="370" y="322"/>
                  </a:lnTo>
                  <a:lnTo>
                    <a:pt x="380" y="206"/>
                  </a:lnTo>
                  <a:lnTo>
                    <a:pt x="315" y="211"/>
                  </a:lnTo>
                  <a:lnTo>
                    <a:pt x="295" y="183"/>
                  </a:lnTo>
                  <a:lnTo>
                    <a:pt x="229" y="175"/>
                  </a:lnTo>
                  <a:lnTo>
                    <a:pt x="187" y="109"/>
                  </a:lnTo>
                  <a:lnTo>
                    <a:pt x="251" y="21"/>
                  </a:lnTo>
                  <a:lnTo>
                    <a:pt x="242" y="0"/>
                  </a:lnTo>
                  <a:lnTo>
                    <a:pt x="130" y="48"/>
                  </a:lnTo>
                  <a:lnTo>
                    <a:pt x="68" y="147"/>
                  </a:lnTo>
                  <a:lnTo>
                    <a:pt x="49" y="124"/>
                  </a:lnTo>
                  <a:lnTo>
                    <a:pt x="32" y="172"/>
                  </a:lnTo>
                  <a:lnTo>
                    <a:pt x="49" y="282"/>
                  </a:lnTo>
                  <a:lnTo>
                    <a:pt x="62" y="282"/>
                  </a:lnTo>
                  <a:lnTo>
                    <a:pt x="0" y="367"/>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74" name="30556390.875222.12511.62510.55">
              <a:extLst>
                <a:ext uri="{FF2B5EF4-FFF2-40B4-BE49-F238E27FC236}">
                  <a16:creationId xmlns:a16="http://schemas.microsoft.com/office/drawing/2014/main" id="{816F4DE5-A4D7-4FB2-AEA2-80B5FD36B7CF}"/>
                </a:ext>
              </a:extLst>
            </p:cNvPr>
            <p:cNvSpPr>
              <a:spLocks noChangeAspect="1"/>
            </p:cNvSpPr>
            <p:nvPr/>
          </p:nvSpPr>
          <p:spPr bwMode="gray">
            <a:xfrm>
              <a:off x="3233329" y="4628718"/>
              <a:ext cx="169276" cy="188383"/>
            </a:xfrm>
            <a:custGeom>
              <a:avLst/>
              <a:gdLst/>
              <a:ahLst/>
              <a:cxnLst>
                <a:cxn ang="0">
                  <a:pos x="0" y="80"/>
                </a:cxn>
                <a:cxn ang="0">
                  <a:pos x="1" y="121"/>
                </a:cxn>
                <a:cxn ang="0">
                  <a:pos x="34" y="131"/>
                </a:cxn>
                <a:cxn ang="0">
                  <a:pos x="16" y="164"/>
                </a:cxn>
                <a:cxn ang="0">
                  <a:pos x="11" y="198"/>
                </a:cxn>
                <a:cxn ang="0">
                  <a:pos x="54" y="208"/>
                </a:cxn>
                <a:cxn ang="0">
                  <a:pos x="93" y="150"/>
                </a:cxn>
                <a:cxn ang="0">
                  <a:pos x="169" y="105"/>
                </a:cxn>
                <a:cxn ang="0">
                  <a:pos x="185" y="50"/>
                </a:cxn>
                <a:cxn ang="0">
                  <a:pos x="115" y="40"/>
                </a:cxn>
                <a:cxn ang="0">
                  <a:pos x="65" y="0"/>
                </a:cxn>
                <a:cxn ang="0">
                  <a:pos x="23" y="21"/>
                </a:cxn>
                <a:cxn ang="0">
                  <a:pos x="0" y="80"/>
                </a:cxn>
              </a:cxnLst>
              <a:rect l="0" t="0" r="r" b="b"/>
              <a:pathLst>
                <a:path w="185" h="208">
                  <a:moveTo>
                    <a:pt x="0" y="80"/>
                  </a:moveTo>
                  <a:lnTo>
                    <a:pt x="1" y="121"/>
                  </a:lnTo>
                  <a:lnTo>
                    <a:pt x="34" y="131"/>
                  </a:lnTo>
                  <a:lnTo>
                    <a:pt x="16" y="164"/>
                  </a:lnTo>
                  <a:lnTo>
                    <a:pt x="11" y="198"/>
                  </a:lnTo>
                  <a:lnTo>
                    <a:pt x="54" y="208"/>
                  </a:lnTo>
                  <a:lnTo>
                    <a:pt x="93" y="150"/>
                  </a:lnTo>
                  <a:lnTo>
                    <a:pt x="169" y="105"/>
                  </a:lnTo>
                  <a:lnTo>
                    <a:pt x="185" y="50"/>
                  </a:lnTo>
                  <a:lnTo>
                    <a:pt x="115" y="40"/>
                  </a:lnTo>
                  <a:lnTo>
                    <a:pt x="65" y="0"/>
                  </a:lnTo>
                  <a:lnTo>
                    <a:pt x="23" y="21"/>
                  </a:lnTo>
                  <a:lnTo>
                    <a:pt x="0" y="8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75" name="30557370.375236.37521.62525.255">
              <a:extLst>
                <a:ext uri="{FF2B5EF4-FFF2-40B4-BE49-F238E27FC236}">
                  <a16:creationId xmlns:a16="http://schemas.microsoft.com/office/drawing/2014/main" id="{072639FF-1290-46B5-8D35-AD505169ED78}"/>
                </a:ext>
              </a:extLst>
            </p:cNvPr>
            <p:cNvSpPr>
              <a:spLocks noChangeAspect="1"/>
            </p:cNvSpPr>
            <p:nvPr/>
          </p:nvSpPr>
          <p:spPr bwMode="gray">
            <a:xfrm>
              <a:off x="3461570" y="4295681"/>
              <a:ext cx="405128" cy="351535"/>
            </a:xfrm>
            <a:custGeom>
              <a:avLst/>
              <a:gdLst/>
              <a:ahLst/>
              <a:cxnLst>
                <a:cxn ang="0">
                  <a:pos x="0" y="105"/>
                </a:cxn>
                <a:cxn ang="0">
                  <a:pos x="42" y="171"/>
                </a:cxn>
                <a:cxn ang="0">
                  <a:pos x="108" y="179"/>
                </a:cxn>
                <a:cxn ang="0">
                  <a:pos x="128" y="207"/>
                </a:cxn>
                <a:cxn ang="0">
                  <a:pos x="193" y="202"/>
                </a:cxn>
                <a:cxn ang="0">
                  <a:pos x="183" y="318"/>
                </a:cxn>
                <a:cxn ang="0">
                  <a:pos x="213" y="366"/>
                </a:cxn>
                <a:cxn ang="0">
                  <a:pos x="252" y="383"/>
                </a:cxn>
                <a:cxn ang="0">
                  <a:pos x="332" y="337"/>
                </a:cxn>
                <a:cxn ang="0">
                  <a:pos x="300" y="329"/>
                </a:cxn>
                <a:cxn ang="0">
                  <a:pos x="283" y="266"/>
                </a:cxn>
                <a:cxn ang="0">
                  <a:pos x="341" y="278"/>
                </a:cxn>
                <a:cxn ang="0">
                  <a:pos x="424" y="238"/>
                </a:cxn>
                <a:cxn ang="0">
                  <a:pos x="400" y="207"/>
                </a:cxn>
                <a:cxn ang="0">
                  <a:pos x="429" y="178"/>
                </a:cxn>
                <a:cxn ang="0">
                  <a:pos x="417" y="156"/>
                </a:cxn>
                <a:cxn ang="0">
                  <a:pos x="448" y="132"/>
                </a:cxn>
                <a:cxn ang="0">
                  <a:pos x="409" y="127"/>
                </a:cxn>
                <a:cxn ang="0">
                  <a:pos x="409" y="96"/>
                </a:cxn>
                <a:cxn ang="0">
                  <a:pos x="344" y="63"/>
                </a:cxn>
                <a:cxn ang="0">
                  <a:pos x="373" y="54"/>
                </a:cxn>
                <a:cxn ang="0">
                  <a:pos x="176" y="61"/>
                </a:cxn>
                <a:cxn ang="0">
                  <a:pos x="112" y="0"/>
                </a:cxn>
                <a:cxn ang="0">
                  <a:pos x="114" y="28"/>
                </a:cxn>
                <a:cxn ang="0">
                  <a:pos x="59" y="51"/>
                </a:cxn>
                <a:cxn ang="0">
                  <a:pos x="76" y="96"/>
                </a:cxn>
                <a:cxn ang="0">
                  <a:pos x="55" y="113"/>
                </a:cxn>
                <a:cxn ang="0">
                  <a:pos x="42" y="72"/>
                </a:cxn>
                <a:cxn ang="0">
                  <a:pos x="64" y="17"/>
                </a:cxn>
                <a:cxn ang="0">
                  <a:pos x="0" y="105"/>
                </a:cxn>
              </a:cxnLst>
              <a:rect l="0" t="0" r="r" b="b"/>
              <a:pathLst>
                <a:path w="448" h="383">
                  <a:moveTo>
                    <a:pt x="0" y="105"/>
                  </a:moveTo>
                  <a:lnTo>
                    <a:pt x="42" y="171"/>
                  </a:lnTo>
                  <a:lnTo>
                    <a:pt x="108" y="179"/>
                  </a:lnTo>
                  <a:lnTo>
                    <a:pt x="128" y="207"/>
                  </a:lnTo>
                  <a:lnTo>
                    <a:pt x="193" y="202"/>
                  </a:lnTo>
                  <a:lnTo>
                    <a:pt x="183" y="318"/>
                  </a:lnTo>
                  <a:lnTo>
                    <a:pt x="213" y="366"/>
                  </a:lnTo>
                  <a:lnTo>
                    <a:pt x="252" y="383"/>
                  </a:lnTo>
                  <a:lnTo>
                    <a:pt x="332" y="337"/>
                  </a:lnTo>
                  <a:lnTo>
                    <a:pt x="300" y="329"/>
                  </a:lnTo>
                  <a:lnTo>
                    <a:pt x="283" y="266"/>
                  </a:lnTo>
                  <a:lnTo>
                    <a:pt x="341" y="278"/>
                  </a:lnTo>
                  <a:lnTo>
                    <a:pt x="424" y="238"/>
                  </a:lnTo>
                  <a:lnTo>
                    <a:pt x="400" y="207"/>
                  </a:lnTo>
                  <a:lnTo>
                    <a:pt x="429" y="178"/>
                  </a:lnTo>
                  <a:lnTo>
                    <a:pt x="417" y="156"/>
                  </a:lnTo>
                  <a:lnTo>
                    <a:pt x="448" y="132"/>
                  </a:lnTo>
                  <a:lnTo>
                    <a:pt x="409" y="127"/>
                  </a:lnTo>
                  <a:lnTo>
                    <a:pt x="409" y="96"/>
                  </a:lnTo>
                  <a:lnTo>
                    <a:pt x="344" y="63"/>
                  </a:lnTo>
                  <a:lnTo>
                    <a:pt x="373" y="54"/>
                  </a:lnTo>
                  <a:lnTo>
                    <a:pt x="176" y="61"/>
                  </a:lnTo>
                  <a:lnTo>
                    <a:pt x="112" y="0"/>
                  </a:lnTo>
                  <a:lnTo>
                    <a:pt x="114" y="28"/>
                  </a:lnTo>
                  <a:lnTo>
                    <a:pt x="59" y="51"/>
                  </a:lnTo>
                  <a:lnTo>
                    <a:pt x="76" y="96"/>
                  </a:lnTo>
                  <a:lnTo>
                    <a:pt x="55" y="113"/>
                  </a:lnTo>
                  <a:lnTo>
                    <a:pt x="42" y="72"/>
                  </a:lnTo>
                  <a:lnTo>
                    <a:pt x="64" y="17"/>
                  </a:lnTo>
                  <a:lnTo>
                    <a:pt x="0" y="10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76" name="30413317.75488.519.12526.6255">
              <a:extLst>
                <a:ext uri="{FF2B5EF4-FFF2-40B4-BE49-F238E27FC236}">
                  <a16:creationId xmlns:a16="http://schemas.microsoft.com/office/drawing/2014/main" id="{2EF27500-8DB1-4EC9-AAD2-DD8F76C964CD}"/>
                </a:ext>
              </a:extLst>
            </p:cNvPr>
            <p:cNvSpPr>
              <a:spLocks noChangeAspect="1"/>
            </p:cNvSpPr>
            <p:nvPr/>
          </p:nvSpPr>
          <p:spPr bwMode="gray">
            <a:xfrm>
              <a:off x="7503333" y="3446275"/>
              <a:ext cx="427950" cy="309486"/>
            </a:xfrm>
            <a:custGeom>
              <a:avLst/>
              <a:gdLst/>
              <a:ahLst/>
              <a:cxnLst>
                <a:cxn ang="0">
                  <a:pos x="0" y="163"/>
                </a:cxn>
                <a:cxn ang="0">
                  <a:pos x="4" y="251"/>
                </a:cxn>
                <a:cxn ang="0">
                  <a:pos x="39" y="277"/>
                </a:cxn>
                <a:cxn ang="0">
                  <a:pos x="11" y="322"/>
                </a:cxn>
                <a:cxn ang="0">
                  <a:pos x="63" y="339"/>
                </a:cxn>
                <a:cxn ang="0">
                  <a:pos x="186" y="322"/>
                </a:cxn>
                <a:cxn ang="0">
                  <a:pos x="209" y="273"/>
                </a:cxn>
                <a:cxn ang="0">
                  <a:pos x="292" y="245"/>
                </a:cxn>
                <a:cxn ang="0">
                  <a:pos x="300" y="204"/>
                </a:cxn>
                <a:cxn ang="0">
                  <a:pos x="327" y="193"/>
                </a:cxn>
                <a:cxn ang="0">
                  <a:pos x="315" y="171"/>
                </a:cxn>
                <a:cxn ang="0">
                  <a:pos x="345" y="169"/>
                </a:cxn>
                <a:cxn ang="0">
                  <a:pos x="367" y="127"/>
                </a:cxn>
                <a:cxn ang="0">
                  <a:pos x="358" y="86"/>
                </a:cxn>
                <a:cxn ang="0">
                  <a:pos x="469" y="55"/>
                </a:cxn>
                <a:cxn ang="0">
                  <a:pos x="472" y="47"/>
                </a:cxn>
                <a:cxn ang="0">
                  <a:pos x="430" y="39"/>
                </a:cxn>
                <a:cxn ang="0">
                  <a:pos x="371" y="68"/>
                </a:cxn>
                <a:cxn ang="0">
                  <a:pos x="344" y="0"/>
                </a:cxn>
                <a:cxn ang="0">
                  <a:pos x="293" y="51"/>
                </a:cxn>
                <a:cxn ang="0">
                  <a:pos x="147" y="47"/>
                </a:cxn>
                <a:cxn ang="0">
                  <a:pos x="73" y="124"/>
                </a:cxn>
                <a:cxn ang="0">
                  <a:pos x="24" y="99"/>
                </a:cxn>
                <a:cxn ang="0">
                  <a:pos x="0" y="163"/>
                </a:cxn>
              </a:cxnLst>
              <a:rect l="0" t="0" r="r" b="b"/>
              <a:pathLst>
                <a:path w="472" h="339">
                  <a:moveTo>
                    <a:pt x="0" y="163"/>
                  </a:moveTo>
                  <a:lnTo>
                    <a:pt x="4" y="251"/>
                  </a:lnTo>
                  <a:lnTo>
                    <a:pt x="39" y="277"/>
                  </a:lnTo>
                  <a:lnTo>
                    <a:pt x="11" y="322"/>
                  </a:lnTo>
                  <a:lnTo>
                    <a:pt x="63" y="339"/>
                  </a:lnTo>
                  <a:lnTo>
                    <a:pt x="186" y="322"/>
                  </a:lnTo>
                  <a:lnTo>
                    <a:pt x="209" y="273"/>
                  </a:lnTo>
                  <a:lnTo>
                    <a:pt x="292" y="245"/>
                  </a:lnTo>
                  <a:lnTo>
                    <a:pt x="300" y="204"/>
                  </a:lnTo>
                  <a:lnTo>
                    <a:pt x="327" y="193"/>
                  </a:lnTo>
                  <a:lnTo>
                    <a:pt x="315" y="171"/>
                  </a:lnTo>
                  <a:lnTo>
                    <a:pt x="345" y="169"/>
                  </a:lnTo>
                  <a:lnTo>
                    <a:pt x="367" y="127"/>
                  </a:lnTo>
                  <a:lnTo>
                    <a:pt x="358" y="86"/>
                  </a:lnTo>
                  <a:lnTo>
                    <a:pt x="469" y="55"/>
                  </a:lnTo>
                  <a:lnTo>
                    <a:pt x="472" y="47"/>
                  </a:lnTo>
                  <a:lnTo>
                    <a:pt x="430" y="39"/>
                  </a:lnTo>
                  <a:lnTo>
                    <a:pt x="371" y="68"/>
                  </a:lnTo>
                  <a:lnTo>
                    <a:pt x="344" y="0"/>
                  </a:lnTo>
                  <a:lnTo>
                    <a:pt x="293" y="51"/>
                  </a:lnTo>
                  <a:lnTo>
                    <a:pt x="147" y="47"/>
                  </a:lnTo>
                  <a:lnTo>
                    <a:pt x="73" y="124"/>
                  </a:lnTo>
                  <a:lnTo>
                    <a:pt x="24" y="99"/>
                  </a:lnTo>
                  <a:lnTo>
                    <a:pt x="0" y="163"/>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77" name="30414308.625410.6256.53.3755">
              <a:extLst>
                <a:ext uri="{FF2B5EF4-FFF2-40B4-BE49-F238E27FC236}">
                  <a16:creationId xmlns:a16="http://schemas.microsoft.com/office/drawing/2014/main" id="{5BDB06F9-8ED0-4E3D-99A9-FEDE75960702}"/>
                </a:ext>
              </a:extLst>
            </p:cNvPr>
            <p:cNvSpPr>
              <a:spLocks noChangeAspect="1"/>
            </p:cNvSpPr>
            <p:nvPr/>
          </p:nvSpPr>
          <p:spPr bwMode="gray">
            <a:xfrm>
              <a:off x="6257516" y="3296576"/>
              <a:ext cx="53255" cy="104285"/>
            </a:xfrm>
            <a:custGeom>
              <a:avLst/>
              <a:gdLst/>
              <a:ahLst/>
              <a:cxnLst>
                <a:cxn ang="0">
                  <a:pos x="0" y="87"/>
                </a:cxn>
                <a:cxn ang="0">
                  <a:pos x="3" y="28"/>
                </a:cxn>
                <a:cxn ang="0">
                  <a:pos x="30" y="0"/>
                </a:cxn>
                <a:cxn ang="0">
                  <a:pos x="61" y="68"/>
                </a:cxn>
                <a:cxn ang="0">
                  <a:pos x="32" y="114"/>
                </a:cxn>
                <a:cxn ang="0">
                  <a:pos x="0" y="87"/>
                </a:cxn>
              </a:cxnLst>
              <a:rect l="0" t="0" r="r" b="b"/>
              <a:pathLst>
                <a:path w="61" h="114">
                  <a:moveTo>
                    <a:pt x="0" y="87"/>
                  </a:moveTo>
                  <a:lnTo>
                    <a:pt x="3" y="28"/>
                  </a:lnTo>
                  <a:lnTo>
                    <a:pt x="30" y="0"/>
                  </a:lnTo>
                  <a:lnTo>
                    <a:pt x="61" y="68"/>
                  </a:lnTo>
                  <a:lnTo>
                    <a:pt x="32" y="114"/>
                  </a:lnTo>
                  <a:lnTo>
                    <a:pt x="0" y="87"/>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78" name="30415321.125358.12536.2538.255">
              <a:extLst>
                <a:ext uri="{FF2B5EF4-FFF2-40B4-BE49-F238E27FC236}">
                  <a16:creationId xmlns:a16="http://schemas.microsoft.com/office/drawing/2014/main" id="{8BC24A0D-E646-48B5-B78D-3F7FDB2F396D}"/>
                </a:ext>
              </a:extLst>
            </p:cNvPr>
            <p:cNvSpPr>
              <a:spLocks noChangeAspect="1"/>
            </p:cNvSpPr>
            <p:nvPr/>
          </p:nvSpPr>
          <p:spPr bwMode="gray">
            <a:xfrm>
              <a:off x="5414927" y="3500097"/>
              <a:ext cx="614348" cy="588698"/>
            </a:xfrm>
            <a:custGeom>
              <a:avLst/>
              <a:gdLst/>
              <a:ahLst/>
              <a:cxnLst>
                <a:cxn ang="0">
                  <a:pos x="0" y="345"/>
                </a:cxn>
                <a:cxn ang="0">
                  <a:pos x="3" y="358"/>
                </a:cxn>
                <a:cxn ang="0">
                  <a:pos x="126" y="439"/>
                </a:cxn>
                <a:cxn ang="0">
                  <a:pos x="394" y="616"/>
                </a:cxn>
                <a:cxn ang="0">
                  <a:pos x="397" y="646"/>
                </a:cxn>
                <a:cxn ang="0">
                  <a:pos x="423" y="642"/>
                </a:cxn>
                <a:cxn ang="0">
                  <a:pos x="476" y="629"/>
                </a:cxn>
                <a:cxn ang="0">
                  <a:pos x="678" y="490"/>
                </a:cxn>
                <a:cxn ang="0">
                  <a:pos x="599" y="398"/>
                </a:cxn>
                <a:cxn ang="0">
                  <a:pos x="601" y="249"/>
                </a:cxn>
                <a:cxn ang="0">
                  <a:pos x="591" y="182"/>
                </a:cxn>
                <a:cxn ang="0">
                  <a:pos x="535" y="114"/>
                </a:cxn>
                <a:cxn ang="0">
                  <a:pos x="563" y="91"/>
                </a:cxn>
                <a:cxn ang="0">
                  <a:pos x="577" y="0"/>
                </a:cxn>
                <a:cxn ang="0">
                  <a:pos x="338" y="15"/>
                </a:cxn>
                <a:cxn ang="0">
                  <a:pos x="214" y="69"/>
                </a:cxn>
                <a:cxn ang="0">
                  <a:pos x="246" y="179"/>
                </a:cxn>
                <a:cxn ang="0">
                  <a:pos x="192" y="182"/>
                </a:cxn>
                <a:cxn ang="0">
                  <a:pos x="164" y="194"/>
                </a:cxn>
                <a:cxn ang="0">
                  <a:pos x="169" y="223"/>
                </a:cxn>
                <a:cxn ang="0">
                  <a:pos x="18" y="289"/>
                </a:cxn>
                <a:cxn ang="0">
                  <a:pos x="0" y="345"/>
                </a:cxn>
              </a:cxnLst>
              <a:rect l="0" t="0" r="r" b="b"/>
              <a:pathLst>
                <a:path w="678" h="646">
                  <a:moveTo>
                    <a:pt x="0" y="345"/>
                  </a:moveTo>
                  <a:lnTo>
                    <a:pt x="3" y="358"/>
                  </a:lnTo>
                  <a:lnTo>
                    <a:pt x="126" y="439"/>
                  </a:lnTo>
                  <a:lnTo>
                    <a:pt x="394" y="616"/>
                  </a:lnTo>
                  <a:lnTo>
                    <a:pt x="397" y="646"/>
                  </a:lnTo>
                  <a:lnTo>
                    <a:pt x="423" y="642"/>
                  </a:lnTo>
                  <a:lnTo>
                    <a:pt x="476" y="629"/>
                  </a:lnTo>
                  <a:lnTo>
                    <a:pt x="678" y="490"/>
                  </a:lnTo>
                  <a:lnTo>
                    <a:pt x="599" y="398"/>
                  </a:lnTo>
                  <a:lnTo>
                    <a:pt x="601" y="249"/>
                  </a:lnTo>
                  <a:lnTo>
                    <a:pt x="591" y="182"/>
                  </a:lnTo>
                  <a:lnTo>
                    <a:pt x="535" y="114"/>
                  </a:lnTo>
                  <a:lnTo>
                    <a:pt x="563" y="91"/>
                  </a:lnTo>
                  <a:lnTo>
                    <a:pt x="577" y="0"/>
                  </a:lnTo>
                  <a:lnTo>
                    <a:pt x="338" y="15"/>
                  </a:lnTo>
                  <a:lnTo>
                    <a:pt x="214" y="69"/>
                  </a:lnTo>
                  <a:lnTo>
                    <a:pt x="246" y="179"/>
                  </a:lnTo>
                  <a:lnTo>
                    <a:pt x="192" y="182"/>
                  </a:lnTo>
                  <a:lnTo>
                    <a:pt x="164" y="194"/>
                  </a:lnTo>
                  <a:lnTo>
                    <a:pt x="169" y="223"/>
                  </a:lnTo>
                  <a:lnTo>
                    <a:pt x="18" y="289"/>
                  </a:lnTo>
                  <a:lnTo>
                    <a:pt x="0" y="34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79" name="30416413.5587.37557.12576.1255">
              <a:extLst>
                <a:ext uri="{FF2B5EF4-FFF2-40B4-BE49-F238E27FC236}">
                  <a16:creationId xmlns:a16="http://schemas.microsoft.com/office/drawing/2014/main" id="{B5757A03-5E07-4D02-AFE2-BFEE91F87F37}"/>
                </a:ext>
              </a:extLst>
            </p:cNvPr>
            <p:cNvSpPr>
              <a:spLocks noChangeAspect="1"/>
            </p:cNvSpPr>
            <p:nvPr/>
          </p:nvSpPr>
          <p:spPr bwMode="gray">
            <a:xfrm>
              <a:off x="9089602" y="4995392"/>
              <a:ext cx="1221089" cy="923415"/>
            </a:xfrm>
            <a:custGeom>
              <a:avLst/>
              <a:gdLst/>
              <a:ahLst/>
              <a:cxnLst>
                <a:cxn ang="0">
                  <a:pos x="24" y="542"/>
                </a:cxn>
                <a:cxn ang="0">
                  <a:pos x="36" y="528"/>
                </a:cxn>
                <a:cxn ang="0">
                  <a:pos x="27" y="381"/>
                </a:cxn>
                <a:cxn ang="0">
                  <a:pos x="119" y="334"/>
                </a:cxn>
                <a:cxn ang="0">
                  <a:pos x="307" y="249"/>
                </a:cxn>
                <a:cxn ang="0">
                  <a:pos x="325" y="191"/>
                </a:cxn>
                <a:cxn ang="0">
                  <a:pos x="345" y="187"/>
                </a:cxn>
                <a:cxn ang="0">
                  <a:pos x="378" y="164"/>
                </a:cxn>
                <a:cxn ang="0">
                  <a:pos x="483" y="117"/>
                </a:cxn>
                <a:cxn ang="0">
                  <a:pos x="514" y="138"/>
                </a:cxn>
                <a:cxn ang="0">
                  <a:pos x="539" y="121"/>
                </a:cxn>
                <a:cxn ang="0">
                  <a:pos x="650" y="48"/>
                </a:cxn>
                <a:cxn ang="0">
                  <a:pos x="782" y="56"/>
                </a:cxn>
                <a:cxn ang="0">
                  <a:pos x="902" y="239"/>
                </a:cxn>
                <a:cxn ang="0">
                  <a:pos x="956" y="47"/>
                </a:cxn>
                <a:cxn ang="0">
                  <a:pos x="1024" y="120"/>
                </a:cxn>
                <a:cxn ang="0">
                  <a:pos x="1111" y="283"/>
                </a:cxn>
                <a:cxn ang="0">
                  <a:pos x="1222" y="404"/>
                </a:cxn>
                <a:cxn ang="0">
                  <a:pos x="1261" y="440"/>
                </a:cxn>
                <a:cxn ang="0">
                  <a:pos x="1350" y="607"/>
                </a:cxn>
                <a:cxn ang="0">
                  <a:pos x="1274" y="799"/>
                </a:cxn>
                <a:cxn ang="0">
                  <a:pos x="1156" y="967"/>
                </a:cxn>
                <a:cxn ang="0">
                  <a:pos x="1112" y="1012"/>
                </a:cxn>
                <a:cxn ang="0">
                  <a:pos x="1012" y="999"/>
                </a:cxn>
                <a:cxn ang="0">
                  <a:pos x="898" y="945"/>
                </a:cxn>
                <a:cxn ang="0">
                  <a:pos x="836" y="878"/>
                </a:cxn>
                <a:cxn ang="0">
                  <a:pos x="822" y="860"/>
                </a:cxn>
                <a:cxn ang="0">
                  <a:pos x="824" y="762"/>
                </a:cxn>
                <a:cxn ang="0">
                  <a:pos x="737" y="836"/>
                </a:cxn>
                <a:cxn ang="0">
                  <a:pos x="608" y="722"/>
                </a:cxn>
                <a:cxn ang="0">
                  <a:pos x="354" y="807"/>
                </a:cxn>
                <a:cxn ang="0">
                  <a:pos x="160" y="858"/>
                </a:cxn>
                <a:cxn ang="0">
                  <a:pos x="87" y="728"/>
                </a:cxn>
              </a:cxnLst>
              <a:rect l="0" t="0" r="r" b="b"/>
              <a:pathLst>
                <a:path w="1350" h="1012">
                  <a:moveTo>
                    <a:pt x="0" y="534"/>
                  </a:moveTo>
                  <a:lnTo>
                    <a:pt x="24" y="542"/>
                  </a:lnTo>
                  <a:lnTo>
                    <a:pt x="10" y="512"/>
                  </a:lnTo>
                  <a:lnTo>
                    <a:pt x="36" y="528"/>
                  </a:lnTo>
                  <a:lnTo>
                    <a:pt x="9" y="470"/>
                  </a:lnTo>
                  <a:lnTo>
                    <a:pt x="27" y="381"/>
                  </a:lnTo>
                  <a:lnTo>
                    <a:pt x="35" y="404"/>
                  </a:lnTo>
                  <a:lnTo>
                    <a:pt x="119" y="334"/>
                  </a:lnTo>
                  <a:lnTo>
                    <a:pt x="259" y="301"/>
                  </a:lnTo>
                  <a:lnTo>
                    <a:pt x="307" y="249"/>
                  </a:lnTo>
                  <a:lnTo>
                    <a:pt x="306" y="216"/>
                  </a:lnTo>
                  <a:lnTo>
                    <a:pt x="325" y="191"/>
                  </a:lnTo>
                  <a:lnTo>
                    <a:pt x="345" y="231"/>
                  </a:lnTo>
                  <a:lnTo>
                    <a:pt x="345" y="187"/>
                  </a:lnTo>
                  <a:lnTo>
                    <a:pt x="377" y="197"/>
                  </a:lnTo>
                  <a:lnTo>
                    <a:pt x="378" y="164"/>
                  </a:lnTo>
                  <a:lnTo>
                    <a:pt x="429" y="114"/>
                  </a:lnTo>
                  <a:lnTo>
                    <a:pt x="483" y="117"/>
                  </a:lnTo>
                  <a:lnTo>
                    <a:pt x="494" y="166"/>
                  </a:lnTo>
                  <a:lnTo>
                    <a:pt x="514" y="138"/>
                  </a:lnTo>
                  <a:lnTo>
                    <a:pt x="554" y="154"/>
                  </a:lnTo>
                  <a:lnTo>
                    <a:pt x="539" y="121"/>
                  </a:lnTo>
                  <a:lnTo>
                    <a:pt x="571" y="69"/>
                  </a:lnTo>
                  <a:lnTo>
                    <a:pt x="650" y="48"/>
                  </a:lnTo>
                  <a:lnTo>
                    <a:pt x="630" y="14"/>
                  </a:lnTo>
                  <a:lnTo>
                    <a:pt x="782" y="56"/>
                  </a:lnTo>
                  <a:lnTo>
                    <a:pt x="749" y="146"/>
                  </a:lnTo>
                  <a:lnTo>
                    <a:pt x="902" y="239"/>
                  </a:lnTo>
                  <a:lnTo>
                    <a:pt x="939" y="202"/>
                  </a:lnTo>
                  <a:lnTo>
                    <a:pt x="956" y="47"/>
                  </a:lnTo>
                  <a:lnTo>
                    <a:pt x="993" y="0"/>
                  </a:lnTo>
                  <a:lnTo>
                    <a:pt x="1024" y="120"/>
                  </a:lnTo>
                  <a:lnTo>
                    <a:pt x="1076" y="146"/>
                  </a:lnTo>
                  <a:lnTo>
                    <a:pt x="1111" y="283"/>
                  </a:lnTo>
                  <a:lnTo>
                    <a:pt x="1193" y="327"/>
                  </a:lnTo>
                  <a:lnTo>
                    <a:pt x="1222" y="404"/>
                  </a:lnTo>
                  <a:lnTo>
                    <a:pt x="1254" y="399"/>
                  </a:lnTo>
                  <a:lnTo>
                    <a:pt x="1261" y="440"/>
                  </a:lnTo>
                  <a:lnTo>
                    <a:pt x="1328" y="499"/>
                  </a:lnTo>
                  <a:lnTo>
                    <a:pt x="1350" y="607"/>
                  </a:lnTo>
                  <a:lnTo>
                    <a:pt x="1335" y="710"/>
                  </a:lnTo>
                  <a:lnTo>
                    <a:pt x="1274" y="799"/>
                  </a:lnTo>
                  <a:lnTo>
                    <a:pt x="1232" y="950"/>
                  </a:lnTo>
                  <a:lnTo>
                    <a:pt x="1156" y="967"/>
                  </a:lnTo>
                  <a:lnTo>
                    <a:pt x="1109" y="994"/>
                  </a:lnTo>
                  <a:lnTo>
                    <a:pt x="1112" y="1012"/>
                  </a:lnTo>
                  <a:lnTo>
                    <a:pt x="1064" y="961"/>
                  </a:lnTo>
                  <a:lnTo>
                    <a:pt x="1012" y="999"/>
                  </a:lnTo>
                  <a:lnTo>
                    <a:pt x="949" y="982"/>
                  </a:lnTo>
                  <a:lnTo>
                    <a:pt x="898" y="945"/>
                  </a:lnTo>
                  <a:lnTo>
                    <a:pt x="874" y="868"/>
                  </a:lnTo>
                  <a:lnTo>
                    <a:pt x="836" y="878"/>
                  </a:lnTo>
                  <a:lnTo>
                    <a:pt x="835" y="827"/>
                  </a:lnTo>
                  <a:lnTo>
                    <a:pt x="822" y="860"/>
                  </a:lnTo>
                  <a:lnTo>
                    <a:pt x="795" y="861"/>
                  </a:lnTo>
                  <a:lnTo>
                    <a:pt x="824" y="762"/>
                  </a:lnTo>
                  <a:lnTo>
                    <a:pt x="765" y="856"/>
                  </a:lnTo>
                  <a:lnTo>
                    <a:pt x="737" y="836"/>
                  </a:lnTo>
                  <a:lnTo>
                    <a:pt x="707" y="763"/>
                  </a:lnTo>
                  <a:lnTo>
                    <a:pt x="608" y="722"/>
                  </a:lnTo>
                  <a:lnTo>
                    <a:pt x="428" y="754"/>
                  </a:lnTo>
                  <a:lnTo>
                    <a:pt x="354" y="807"/>
                  </a:lnTo>
                  <a:lnTo>
                    <a:pt x="230" y="812"/>
                  </a:lnTo>
                  <a:lnTo>
                    <a:pt x="160" y="858"/>
                  </a:lnTo>
                  <a:lnTo>
                    <a:pt x="66" y="825"/>
                  </a:lnTo>
                  <a:lnTo>
                    <a:pt x="87" y="728"/>
                  </a:lnTo>
                  <a:lnTo>
                    <a:pt x="0" y="53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80" name="304174746476.3756.6255">
              <a:extLst>
                <a:ext uri="{FF2B5EF4-FFF2-40B4-BE49-F238E27FC236}">
                  <a16:creationId xmlns:a16="http://schemas.microsoft.com/office/drawing/2014/main" id="{BF43FC6F-8753-4C67-B4B7-2833034AD933}"/>
                </a:ext>
              </a:extLst>
            </p:cNvPr>
            <p:cNvSpPr>
              <a:spLocks noChangeAspect="1"/>
            </p:cNvSpPr>
            <p:nvPr/>
          </p:nvSpPr>
          <p:spPr bwMode="gray">
            <a:xfrm>
              <a:off x="10044412" y="5975990"/>
              <a:ext cx="108415" cy="104285"/>
            </a:xfrm>
            <a:custGeom>
              <a:avLst/>
              <a:gdLst/>
              <a:ahLst/>
              <a:cxnLst>
                <a:cxn ang="0">
                  <a:pos x="0" y="20"/>
                </a:cxn>
                <a:cxn ang="0">
                  <a:pos x="1" y="0"/>
                </a:cxn>
                <a:cxn ang="0">
                  <a:pos x="60" y="17"/>
                </a:cxn>
                <a:cxn ang="0">
                  <a:pos x="105" y="3"/>
                </a:cxn>
                <a:cxn ang="0">
                  <a:pos x="116" y="31"/>
                </a:cxn>
                <a:cxn ang="0">
                  <a:pos x="116" y="65"/>
                </a:cxn>
                <a:cxn ang="0">
                  <a:pos x="72" y="115"/>
                </a:cxn>
                <a:cxn ang="0">
                  <a:pos x="42" y="112"/>
                </a:cxn>
                <a:cxn ang="0">
                  <a:pos x="0" y="20"/>
                </a:cxn>
              </a:cxnLst>
              <a:rect l="0" t="0" r="r" b="b"/>
              <a:pathLst>
                <a:path w="116" h="115">
                  <a:moveTo>
                    <a:pt x="0" y="20"/>
                  </a:moveTo>
                  <a:lnTo>
                    <a:pt x="1" y="0"/>
                  </a:lnTo>
                  <a:lnTo>
                    <a:pt x="60" y="17"/>
                  </a:lnTo>
                  <a:lnTo>
                    <a:pt x="105" y="3"/>
                  </a:lnTo>
                  <a:lnTo>
                    <a:pt x="116" y="31"/>
                  </a:lnTo>
                  <a:lnTo>
                    <a:pt x="116" y="65"/>
                  </a:lnTo>
                  <a:lnTo>
                    <a:pt x="72" y="115"/>
                  </a:lnTo>
                  <a:lnTo>
                    <a:pt x="42" y="112"/>
                  </a:lnTo>
                  <a:lnTo>
                    <a:pt x="0" y="2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81" name="30418294.25392.1255.37514.3755">
              <a:extLst>
                <a:ext uri="{FF2B5EF4-FFF2-40B4-BE49-F238E27FC236}">
                  <a16:creationId xmlns:a16="http://schemas.microsoft.com/office/drawing/2014/main" id="{20EA8405-3495-4E13-8062-C38E757C6CC2}"/>
                </a:ext>
              </a:extLst>
            </p:cNvPr>
            <p:cNvSpPr>
              <a:spLocks noChangeAspect="1"/>
            </p:cNvSpPr>
            <p:nvPr/>
          </p:nvSpPr>
          <p:spPr bwMode="gray">
            <a:xfrm>
              <a:off x="5958903" y="3066144"/>
              <a:ext cx="232046" cy="85783"/>
            </a:xfrm>
            <a:custGeom>
              <a:avLst/>
              <a:gdLst/>
              <a:ahLst/>
              <a:cxnLst>
                <a:cxn ang="0">
                  <a:pos x="0" y="55"/>
                </a:cxn>
                <a:cxn ang="0">
                  <a:pos x="4" y="59"/>
                </a:cxn>
                <a:cxn ang="0">
                  <a:pos x="5" y="77"/>
                </a:cxn>
                <a:cxn ang="0">
                  <a:pos x="33" y="81"/>
                </a:cxn>
                <a:cxn ang="0">
                  <a:pos x="85" y="72"/>
                </a:cxn>
                <a:cxn ang="0">
                  <a:pos x="142" y="98"/>
                </a:cxn>
                <a:cxn ang="0">
                  <a:pos x="221" y="80"/>
                </a:cxn>
                <a:cxn ang="0">
                  <a:pos x="256" y="30"/>
                </a:cxn>
                <a:cxn ang="0">
                  <a:pos x="242" y="0"/>
                </a:cxn>
                <a:cxn ang="0">
                  <a:pos x="143" y="1"/>
                </a:cxn>
                <a:cxn ang="0">
                  <a:pos x="113" y="54"/>
                </a:cxn>
                <a:cxn ang="0">
                  <a:pos x="0" y="55"/>
                </a:cxn>
              </a:cxnLst>
              <a:rect l="0" t="0" r="r" b="b"/>
              <a:pathLst>
                <a:path w="256" h="98">
                  <a:moveTo>
                    <a:pt x="0" y="55"/>
                  </a:moveTo>
                  <a:lnTo>
                    <a:pt x="4" y="59"/>
                  </a:lnTo>
                  <a:lnTo>
                    <a:pt x="5" y="77"/>
                  </a:lnTo>
                  <a:lnTo>
                    <a:pt x="33" y="81"/>
                  </a:lnTo>
                  <a:lnTo>
                    <a:pt x="85" y="72"/>
                  </a:lnTo>
                  <a:lnTo>
                    <a:pt x="142" y="98"/>
                  </a:lnTo>
                  <a:lnTo>
                    <a:pt x="221" y="80"/>
                  </a:lnTo>
                  <a:lnTo>
                    <a:pt x="256" y="30"/>
                  </a:lnTo>
                  <a:lnTo>
                    <a:pt x="242" y="0"/>
                  </a:lnTo>
                  <a:lnTo>
                    <a:pt x="143" y="1"/>
                  </a:lnTo>
                  <a:lnTo>
                    <a:pt x="113" y="54"/>
                  </a:lnTo>
                  <a:lnTo>
                    <a:pt x="0" y="5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82" name="30419342.625539.87511.12595">
              <a:extLst>
                <a:ext uri="{FF2B5EF4-FFF2-40B4-BE49-F238E27FC236}">
                  <a16:creationId xmlns:a16="http://schemas.microsoft.com/office/drawing/2014/main" id="{782414F9-80E7-4DA5-958E-F77A2A21D6CB}"/>
                </a:ext>
              </a:extLst>
            </p:cNvPr>
            <p:cNvSpPr>
              <a:spLocks noChangeAspect="1"/>
            </p:cNvSpPr>
            <p:nvPr/>
          </p:nvSpPr>
          <p:spPr bwMode="gray">
            <a:xfrm>
              <a:off x="8326900" y="3846589"/>
              <a:ext cx="144553" cy="181654"/>
            </a:xfrm>
            <a:custGeom>
              <a:avLst/>
              <a:gdLst/>
              <a:ahLst/>
              <a:cxnLst>
                <a:cxn ang="0">
                  <a:pos x="0" y="59"/>
                </a:cxn>
                <a:cxn ang="0">
                  <a:pos x="22" y="80"/>
                </a:cxn>
                <a:cxn ang="0">
                  <a:pos x="34" y="172"/>
                </a:cxn>
                <a:cxn ang="0">
                  <a:pos x="74" y="166"/>
                </a:cxn>
                <a:cxn ang="0">
                  <a:pos x="98" y="126"/>
                </a:cxn>
                <a:cxn ang="0">
                  <a:pos x="126" y="135"/>
                </a:cxn>
                <a:cxn ang="0">
                  <a:pos x="146" y="198"/>
                </a:cxn>
                <a:cxn ang="0">
                  <a:pos x="159" y="162"/>
                </a:cxn>
                <a:cxn ang="0">
                  <a:pos x="142" y="97"/>
                </a:cxn>
                <a:cxn ang="0">
                  <a:pos x="126" y="122"/>
                </a:cxn>
                <a:cxn ang="0">
                  <a:pos x="106" y="91"/>
                </a:cxn>
                <a:cxn ang="0">
                  <a:pos x="144" y="51"/>
                </a:cxn>
                <a:cxn ang="0">
                  <a:pos x="69" y="45"/>
                </a:cxn>
                <a:cxn ang="0">
                  <a:pos x="21" y="0"/>
                </a:cxn>
                <a:cxn ang="0">
                  <a:pos x="5" y="25"/>
                </a:cxn>
                <a:cxn ang="0">
                  <a:pos x="23" y="45"/>
                </a:cxn>
                <a:cxn ang="0">
                  <a:pos x="0" y="59"/>
                </a:cxn>
              </a:cxnLst>
              <a:rect l="0" t="0" r="r" b="b"/>
              <a:pathLst>
                <a:path w="159" h="198">
                  <a:moveTo>
                    <a:pt x="0" y="59"/>
                  </a:moveTo>
                  <a:lnTo>
                    <a:pt x="22" y="80"/>
                  </a:lnTo>
                  <a:lnTo>
                    <a:pt x="34" y="172"/>
                  </a:lnTo>
                  <a:lnTo>
                    <a:pt x="74" y="166"/>
                  </a:lnTo>
                  <a:lnTo>
                    <a:pt x="98" y="126"/>
                  </a:lnTo>
                  <a:lnTo>
                    <a:pt x="126" y="135"/>
                  </a:lnTo>
                  <a:lnTo>
                    <a:pt x="146" y="198"/>
                  </a:lnTo>
                  <a:lnTo>
                    <a:pt x="159" y="162"/>
                  </a:lnTo>
                  <a:lnTo>
                    <a:pt x="142" y="97"/>
                  </a:lnTo>
                  <a:lnTo>
                    <a:pt x="126" y="122"/>
                  </a:lnTo>
                  <a:lnTo>
                    <a:pt x="106" y="91"/>
                  </a:lnTo>
                  <a:lnTo>
                    <a:pt x="144" y="51"/>
                  </a:lnTo>
                  <a:lnTo>
                    <a:pt x="69" y="45"/>
                  </a:lnTo>
                  <a:lnTo>
                    <a:pt x="21" y="0"/>
                  </a:lnTo>
                  <a:lnTo>
                    <a:pt x="5" y="25"/>
                  </a:lnTo>
                  <a:lnTo>
                    <a:pt x="23" y="45"/>
                  </a:lnTo>
                  <a:lnTo>
                    <a:pt x="0" y="5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83" name="30420287.625379.754.62565">
              <a:extLst>
                <a:ext uri="{FF2B5EF4-FFF2-40B4-BE49-F238E27FC236}">
                  <a16:creationId xmlns:a16="http://schemas.microsoft.com/office/drawing/2014/main" id="{F5397F40-6AD2-4B09-BBBC-A9FD6969471C}"/>
                </a:ext>
              </a:extLst>
            </p:cNvPr>
            <p:cNvSpPr>
              <a:spLocks noChangeAspect="1"/>
            </p:cNvSpPr>
            <p:nvPr/>
          </p:nvSpPr>
          <p:spPr bwMode="gray">
            <a:xfrm>
              <a:off x="5759190" y="2958497"/>
              <a:ext cx="98904" cy="74007"/>
            </a:xfrm>
            <a:custGeom>
              <a:avLst/>
              <a:gdLst/>
              <a:ahLst/>
              <a:cxnLst>
                <a:cxn ang="0">
                  <a:pos x="0" y="15"/>
                </a:cxn>
                <a:cxn ang="0">
                  <a:pos x="25" y="4"/>
                </a:cxn>
                <a:cxn ang="0">
                  <a:pos x="73" y="0"/>
                </a:cxn>
                <a:cxn ang="0">
                  <a:pos x="106" y="32"/>
                </a:cxn>
                <a:cxn ang="0">
                  <a:pos x="109" y="56"/>
                </a:cxn>
                <a:cxn ang="0">
                  <a:pos x="96" y="78"/>
                </a:cxn>
                <a:cxn ang="0">
                  <a:pos x="0" y="15"/>
                </a:cxn>
              </a:cxnLst>
              <a:rect l="0" t="0" r="r" b="b"/>
              <a:pathLst>
                <a:path w="109" h="78">
                  <a:moveTo>
                    <a:pt x="0" y="15"/>
                  </a:moveTo>
                  <a:lnTo>
                    <a:pt x="25" y="4"/>
                  </a:lnTo>
                  <a:lnTo>
                    <a:pt x="73" y="0"/>
                  </a:lnTo>
                  <a:lnTo>
                    <a:pt x="106" y="32"/>
                  </a:lnTo>
                  <a:lnTo>
                    <a:pt x="109" y="56"/>
                  </a:lnTo>
                  <a:lnTo>
                    <a:pt x="96" y="78"/>
                  </a:lnTo>
                  <a:lnTo>
                    <a:pt x="0" y="1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84" name="30421339.125541.753.255.755">
              <a:extLst>
                <a:ext uri="{FF2B5EF4-FFF2-40B4-BE49-F238E27FC236}">
                  <a16:creationId xmlns:a16="http://schemas.microsoft.com/office/drawing/2014/main" id="{126B3F1E-EB1A-4209-A857-D31D647CA4CB}"/>
                </a:ext>
              </a:extLst>
            </p:cNvPr>
            <p:cNvSpPr>
              <a:spLocks noChangeAspect="1"/>
            </p:cNvSpPr>
            <p:nvPr/>
          </p:nvSpPr>
          <p:spPr bwMode="gray">
            <a:xfrm>
              <a:off x="8357333" y="3791084"/>
              <a:ext cx="93199" cy="53825"/>
            </a:xfrm>
            <a:custGeom>
              <a:avLst/>
              <a:gdLst/>
              <a:ahLst/>
              <a:cxnLst>
                <a:cxn ang="0">
                  <a:pos x="0" y="34"/>
                </a:cxn>
                <a:cxn ang="0">
                  <a:pos x="14" y="56"/>
                </a:cxn>
                <a:cxn ang="0">
                  <a:pos x="102" y="47"/>
                </a:cxn>
                <a:cxn ang="0">
                  <a:pos x="97" y="16"/>
                </a:cxn>
                <a:cxn ang="0">
                  <a:pos x="33" y="0"/>
                </a:cxn>
                <a:cxn ang="0">
                  <a:pos x="0" y="34"/>
                </a:cxn>
              </a:cxnLst>
              <a:rect l="0" t="0" r="r" b="b"/>
              <a:pathLst>
                <a:path w="102" h="56">
                  <a:moveTo>
                    <a:pt x="0" y="34"/>
                  </a:moveTo>
                  <a:lnTo>
                    <a:pt x="14" y="56"/>
                  </a:lnTo>
                  <a:lnTo>
                    <a:pt x="102" y="47"/>
                  </a:lnTo>
                  <a:lnTo>
                    <a:pt x="97" y="16"/>
                  </a:lnTo>
                  <a:lnTo>
                    <a:pt x="33" y="0"/>
                  </a:lnTo>
                  <a:lnTo>
                    <a:pt x="0" y="3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85" name="30424383.875589.12522.255">
              <a:extLst>
                <a:ext uri="{FF2B5EF4-FFF2-40B4-BE49-F238E27FC236}">
                  <a16:creationId xmlns:a16="http://schemas.microsoft.com/office/drawing/2014/main" id="{AEC533FF-CA42-46ED-B73E-A16AD875AE43}"/>
                </a:ext>
              </a:extLst>
            </p:cNvPr>
            <p:cNvSpPr>
              <a:spLocks noChangeAspect="1"/>
            </p:cNvSpPr>
            <p:nvPr/>
          </p:nvSpPr>
          <p:spPr bwMode="gray">
            <a:xfrm>
              <a:off x="9118135" y="4516021"/>
              <a:ext cx="34238" cy="31958"/>
            </a:xfrm>
            <a:custGeom>
              <a:avLst/>
              <a:gdLst/>
              <a:ahLst/>
              <a:cxnLst>
                <a:cxn ang="0">
                  <a:pos x="0" y="15"/>
                </a:cxn>
                <a:cxn ang="0">
                  <a:pos x="21" y="34"/>
                </a:cxn>
                <a:cxn ang="0">
                  <a:pos x="40" y="0"/>
                </a:cxn>
                <a:cxn ang="0">
                  <a:pos x="0" y="15"/>
                </a:cxn>
              </a:cxnLst>
              <a:rect l="0" t="0" r="r" b="b"/>
              <a:pathLst>
                <a:path w="40" h="34">
                  <a:moveTo>
                    <a:pt x="0" y="15"/>
                  </a:moveTo>
                  <a:lnTo>
                    <a:pt x="21" y="34"/>
                  </a:lnTo>
                  <a:lnTo>
                    <a:pt x="40" y="0"/>
                  </a:lnTo>
                  <a:lnTo>
                    <a:pt x="0" y="1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86" name="30425339.554834.875175">
              <a:extLst>
                <a:ext uri="{FF2B5EF4-FFF2-40B4-BE49-F238E27FC236}">
                  <a16:creationId xmlns:a16="http://schemas.microsoft.com/office/drawing/2014/main" id="{871C0CD7-E27B-4DEC-920D-005E829B3B34}"/>
                </a:ext>
              </a:extLst>
            </p:cNvPr>
            <p:cNvSpPr>
              <a:spLocks noChangeAspect="1"/>
            </p:cNvSpPr>
            <p:nvPr/>
          </p:nvSpPr>
          <p:spPr bwMode="gray">
            <a:xfrm>
              <a:off x="8460042" y="3796130"/>
              <a:ext cx="271986" cy="565150"/>
            </a:xfrm>
            <a:custGeom>
              <a:avLst/>
              <a:gdLst/>
              <a:ahLst/>
              <a:cxnLst>
                <a:cxn ang="0">
                  <a:pos x="0" y="255"/>
                </a:cxn>
                <a:cxn ang="0">
                  <a:pos x="13" y="219"/>
                </a:cxn>
                <a:cxn ang="0">
                  <a:pos x="100" y="58"/>
                </a:cxn>
                <a:cxn ang="0">
                  <a:pos x="159" y="36"/>
                </a:cxn>
                <a:cxn ang="0">
                  <a:pos x="173" y="0"/>
                </a:cxn>
                <a:cxn ang="0">
                  <a:pos x="214" y="21"/>
                </a:cxn>
                <a:cxn ang="0">
                  <a:pos x="215" y="53"/>
                </a:cxn>
                <a:cxn ang="0">
                  <a:pos x="180" y="152"/>
                </a:cxn>
                <a:cxn ang="0">
                  <a:pos x="218" y="143"/>
                </a:cxn>
                <a:cxn ang="0">
                  <a:pos x="237" y="211"/>
                </a:cxn>
                <a:cxn ang="0">
                  <a:pos x="301" y="229"/>
                </a:cxn>
                <a:cxn ang="0">
                  <a:pos x="269" y="260"/>
                </a:cxn>
                <a:cxn ang="0">
                  <a:pos x="198" y="302"/>
                </a:cxn>
                <a:cxn ang="0">
                  <a:pos x="180" y="342"/>
                </a:cxn>
                <a:cxn ang="0">
                  <a:pos x="218" y="417"/>
                </a:cxn>
                <a:cxn ang="0">
                  <a:pos x="203" y="461"/>
                </a:cxn>
                <a:cxn ang="0">
                  <a:pos x="250" y="560"/>
                </a:cxn>
                <a:cxn ang="0">
                  <a:pos x="215" y="619"/>
                </a:cxn>
                <a:cxn ang="0">
                  <a:pos x="181" y="408"/>
                </a:cxn>
                <a:cxn ang="0">
                  <a:pos x="152" y="375"/>
                </a:cxn>
                <a:cxn ang="0">
                  <a:pos x="104" y="431"/>
                </a:cxn>
                <a:cxn ang="0">
                  <a:pos x="67" y="420"/>
                </a:cxn>
                <a:cxn ang="0">
                  <a:pos x="74" y="343"/>
                </a:cxn>
                <a:cxn ang="0">
                  <a:pos x="0" y="255"/>
                </a:cxn>
              </a:cxnLst>
              <a:rect l="0" t="0" r="r" b="b"/>
              <a:pathLst>
                <a:path w="301" h="619">
                  <a:moveTo>
                    <a:pt x="0" y="255"/>
                  </a:moveTo>
                  <a:lnTo>
                    <a:pt x="13" y="219"/>
                  </a:lnTo>
                  <a:lnTo>
                    <a:pt x="100" y="58"/>
                  </a:lnTo>
                  <a:lnTo>
                    <a:pt x="159" y="36"/>
                  </a:lnTo>
                  <a:lnTo>
                    <a:pt x="173" y="0"/>
                  </a:lnTo>
                  <a:lnTo>
                    <a:pt x="214" y="21"/>
                  </a:lnTo>
                  <a:lnTo>
                    <a:pt x="215" y="53"/>
                  </a:lnTo>
                  <a:lnTo>
                    <a:pt x="180" y="152"/>
                  </a:lnTo>
                  <a:lnTo>
                    <a:pt x="218" y="143"/>
                  </a:lnTo>
                  <a:lnTo>
                    <a:pt x="237" y="211"/>
                  </a:lnTo>
                  <a:lnTo>
                    <a:pt x="301" y="229"/>
                  </a:lnTo>
                  <a:lnTo>
                    <a:pt x="269" y="260"/>
                  </a:lnTo>
                  <a:lnTo>
                    <a:pt x="198" y="302"/>
                  </a:lnTo>
                  <a:lnTo>
                    <a:pt x="180" y="342"/>
                  </a:lnTo>
                  <a:lnTo>
                    <a:pt x="218" y="417"/>
                  </a:lnTo>
                  <a:lnTo>
                    <a:pt x="203" y="461"/>
                  </a:lnTo>
                  <a:lnTo>
                    <a:pt x="250" y="560"/>
                  </a:lnTo>
                  <a:lnTo>
                    <a:pt x="215" y="619"/>
                  </a:lnTo>
                  <a:lnTo>
                    <a:pt x="181" y="408"/>
                  </a:lnTo>
                  <a:lnTo>
                    <a:pt x="152" y="375"/>
                  </a:lnTo>
                  <a:lnTo>
                    <a:pt x="104" y="431"/>
                  </a:lnTo>
                  <a:lnTo>
                    <a:pt x="67" y="420"/>
                  </a:lnTo>
                  <a:lnTo>
                    <a:pt x="74" y="343"/>
                  </a:lnTo>
                  <a:lnTo>
                    <a:pt x="0" y="25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87" name="30426365.625567.58.1259.55">
              <a:extLst>
                <a:ext uri="{FF2B5EF4-FFF2-40B4-BE49-F238E27FC236}">
                  <a16:creationId xmlns:a16="http://schemas.microsoft.com/office/drawing/2014/main" id="{AE078847-5D34-4D0A-937B-556F7D95429A}"/>
                </a:ext>
              </a:extLst>
            </p:cNvPr>
            <p:cNvSpPr>
              <a:spLocks noChangeAspect="1"/>
            </p:cNvSpPr>
            <p:nvPr/>
          </p:nvSpPr>
          <p:spPr bwMode="gray">
            <a:xfrm>
              <a:off x="8770067" y="4218311"/>
              <a:ext cx="152160" cy="134559"/>
            </a:xfrm>
            <a:custGeom>
              <a:avLst/>
              <a:gdLst/>
              <a:ahLst/>
              <a:cxnLst>
                <a:cxn ang="0">
                  <a:pos x="0" y="29"/>
                </a:cxn>
                <a:cxn ang="0">
                  <a:pos x="12" y="100"/>
                </a:cxn>
                <a:cxn ang="0">
                  <a:pos x="34" y="137"/>
                </a:cxn>
                <a:cxn ang="0">
                  <a:pos x="67" y="143"/>
                </a:cxn>
                <a:cxn ang="0">
                  <a:pos x="167" y="77"/>
                </a:cxn>
                <a:cxn ang="0">
                  <a:pos x="163" y="0"/>
                </a:cxn>
                <a:cxn ang="0">
                  <a:pos x="88" y="12"/>
                </a:cxn>
                <a:cxn ang="0">
                  <a:pos x="23" y="9"/>
                </a:cxn>
                <a:cxn ang="0">
                  <a:pos x="0" y="29"/>
                </a:cxn>
              </a:cxnLst>
              <a:rect l="0" t="0" r="r" b="b"/>
              <a:pathLst>
                <a:path w="167" h="143">
                  <a:moveTo>
                    <a:pt x="0" y="29"/>
                  </a:moveTo>
                  <a:lnTo>
                    <a:pt x="12" y="100"/>
                  </a:lnTo>
                  <a:lnTo>
                    <a:pt x="34" y="137"/>
                  </a:lnTo>
                  <a:lnTo>
                    <a:pt x="67" y="143"/>
                  </a:lnTo>
                  <a:lnTo>
                    <a:pt x="167" y="77"/>
                  </a:lnTo>
                  <a:lnTo>
                    <a:pt x="163" y="0"/>
                  </a:lnTo>
                  <a:lnTo>
                    <a:pt x="88" y="12"/>
                  </a:lnTo>
                  <a:lnTo>
                    <a:pt x="23" y="9"/>
                  </a:lnTo>
                  <a:lnTo>
                    <a:pt x="0" y="2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88" name="30446375.125524.8756.8753.55">
              <a:extLst>
                <a:ext uri="{FF2B5EF4-FFF2-40B4-BE49-F238E27FC236}">
                  <a16:creationId xmlns:a16="http://schemas.microsoft.com/office/drawing/2014/main" id="{59E2861C-FF18-406A-B417-8FCCE345854F}"/>
                </a:ext>
              </a:extLst>
            </p:cNvPr>
            <p:cNvSpPr>
              <a:spLocks noChangeAspect="1"/>
            </p:cNvSpPr>
            <p:nvPr/>
          </p:nvSpPr>
          <p:spPr bwMode="gray">
            <a:xfrm>
              <a:off x="8085343" y="4373052"/>
              <a:ext cx="57060" cy="112692"/>
            </a:xfrm>
            <a:custGeom>
              <a:avLst/>
              <a:gdLst/>
              <a:ahLst/>
              <a:cxnLst>
                <a:cxn ang="0">
                  <a:pos x="0" y="0"/>
                </a:cxn>
                <a:cxn ang="0">
                  <a:pos x="11" y="124"/>
                </a:cxn>
                <a:cxn ang="0">
                  <a:pos x="62" y="102"/>
                </a:cxn>
                <a:cxn ang="0">
                  <a:pos x="37" y="29"/>
                </a:cxn>
                <a:cxn ang="0">
                  <a:pos x="0" y="0"/>
                </a:cxn>
              </a:cxnLst>
              <a:rect l="0" t="0" r="r" b="b"/>
              <a:pathLst>
                <a:path w="62" h="124">
                  <a:moveTo>
                    <a:pt x="0" y="0"/>
                  </a:moveTo>
                  <a:lnTo>
                    <a:pt x="11" y="124"/>
                  </a:lnTo>
                  <a:lnTo>
                    <a:pt x="62" y="102"/>
                  </a:lnTo>
                  <a:lnTo>
                    <a:pt x="37" y="29"/>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89" name="30447345.625600.56.1253.3755">
              <a:extLst>
                <a:ext uri="{FF2B5EF4-FFF2-40B4-BE49-F238E27FC236}">
                  <a16:creationId xmlns:a16="http://schemas.microsoft.com/office/drawing/2014/main" id="{2E99C987-4818-4247-A247-4F2399D1447E}"/>
                </a:ext>
              </a:extLst>
            </p:cNvPr>
            <p:cNvSpPr>
              <a:spLocks noChangeAspect="1"/>
            </p:cNvSpPr>
            <p:nvPr/>
          </p:nvSpPr>
          <p:spPr bwMode="gray">
            <a:xfrm>
              <a:off x="9300727" y="3897049"/>
              <a:ext cx="55156" cy="99239"/>
            </a:xfrm>
            <a:custGeom>
              <a:avLst/>
              <a:gdLst/>
              <a:ahLst/>
              <a:cxnLst>
                <a:cxn ang="0">
                  <a:pos x="0" y="44"/>
                </a:cxn>
                <a:cxn ang="0">
                  <a:pos x="23" y="109"/>
                </a:cxn>
                <a:cxn ang="0">
                  <a:pos x="59" y="0"/>
                </a:cxn>
                <a:cxn ang="0">
                  <a:pos x="28" y="2"/>
                </a:cxn>
                <a:cxn ang="0">
                  <a:pos x="0" y="44"/>
                </a:cxn>
              </a:cxnLst>
              <a:rect l="0" t="0" r="r" b="b"/>
              <a:pathLst>
                <a:path w="59" h="109">
                  <a:moveTo>
                    <a:pt x="0" y="44"/>
                  </a:moveTo>
                  <a:lnTo>
                    <a:pt x="23" y="109"/>
                  </a:lnTo>
                  <a:lnTo>
                    <a:pt x="59" y="0"/>
                  </a:lnTo>
                  <a:lnTo>
                    <a:pt x="28" y="2"/>
                  </a:lnTo>
                  <a:lnTo>
                    <a:pt x="0" y="4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90" name="30450271.5389.757.555">
              <a:extLst>
                <a:ext uri="{FF2B5EF4-FFF2-40B4-BE49-F238E27FC236}">
                  <a16:creationId xmlns:a16="http://schemas.microsoft.com/office/drawing/2014/main" id="{911E4F86-3CB3-46EC-A7FE-3B43286B4635}"/>
                </a:ext>
              </a:extLst>
            </p:cNvPr>
            <p:cNvSpPr>
              <a:spLocks noChangeAspect="1"/>
            </p:cNvSpPr>
            <p:nvPr/>
          </p:nvSpPr>
          <p:spPr bwMode="gray">
            <a:xfrm>
              <a:off x="5920860" y="2696107"/>
              <a:ext cx="79883" cy="122787"/>
            </a:xfrm>
            <a:custGeom>
              <a:avLst/>
              <a:gdLst/>
              <a:ahLst/>
              <a:cxnLst>
                <a:cxn ang="0">
                  <a:pos x="0" y="100"/>
                </a:cxn>
                <a:cxn ang="0">
                  <a:pos x="6" y="36"/>
                </a:cxn>
                <a:cxn ang="0">
                  <a:pos x="76" y="0"/>
                </a:cxn>
                <a:cxn ang="0">
                  <a:pos x="64" y="51"/>
                </a:cxn>
                <a:cxn ang="0">
                  <a:pos x="88" y="66"/>
                </a:cxn>
                <a:cxn ang="0">
                  <a:pos x="44" y="95"/>
                </a:cxn>
                <a:cxn ang="0">
                  <a:pos x="43" y="132"/>
                </a:cxn>
                <a:cxn ang="0">
                  <a:pos x="17" y="132"/>
                </a:cxn>
                <a:cxn ang="0">
                  <a:pos x="0" y="100"/>
                </a:cxn>
              </a:cxnLst>
              <a:rect l="0" t="0" r="r" b="b"/>
              <a:pathLst>
                <a:path w="88" h="132">
                  <a:moveTo>
                    <a:pt x="0" y="100"/>
                  </a:moveTo>
                  <a:lnTo>
                    <a:pt x="6" y="36"/>
                  </a:lnTo>
                  <a:lnTo>
                    <a:pt x="76" y="0"/>
                  </a:lnTo>
                  <a:lnTo>
                    <a:pt x="64" y="51"/>
                  </a:lnTo>
                  <a:lnTo>
                    <a:pt x="88" y="66"/>
                  </a:lnTo>
                  <a:lnTo>
                    <a:pt x="44" y="95"/>
                  </a:lnTo>
                  <a:lnTo>
                    <a:pt x="43" y="132"/>
                  </a:lnTo>
                  <a:lnTo>
                    <a:pt x="17" y="132"/>
                  </a:lnTo>
                  <a:lnTo>
                    <a:pt x="0" y="10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91" name="30451277.12539311.8755">
              <a:extLst>
                <a:ext uri="{FF2B5EF4-FFF2-40B4-BE49-F238E27FC236}">
                  <a16:creationId xmlns:a16="http://schemas.microsoft.com/office/drawing/2014/main" id="{D53FEDB2-CD6D-4FA3-B134-916DECBD6DF6}"/>
                </a:ext>
              </a:extLst>
            </p:cNvPr>
            <p:cNvSpPr>
              <a:spLocks noChangeAspect="1"/>
            </p:cNvSpPr>
            <p:nvPr/>
          </p:nvSpPr>
          <p:spPr bwMode="gray">
            <a:xfrm>
              <a:off x="5972215" y="2785251"/>
              <a:ext cx="30433" cy="18502"/>
            </a:xfrm>
            <a:custGeom>
              <a:avLst/>
              <a:gdLst/>
              <a:ahLst/>
              <a:cxnLst>
                <a:cxn ang="0">
                  <a:pos x="0" y="16"/>
                </a:cxn>
                <a:cxn ang="0">
                  <a:pos x="25" y="0"/>
                </a:cxn>
                <a:cxn ang="0">
                  <a:pos x="32" y="11"/>
                </a:cxn>
                <a:cxn ang="0">
                  <a:pos x="0" y="16"/>
                </a:cxn>
              </a:cxnLst>
              <a:rect l="0" t="0" r="r" b="b"/>
              <a:pathLst>
                <a:path w="32" h="16">
                  <a:moveTo>
                    <a:pt x="0" y="16"/>
                  </a:moveTo>
                  <a:lnTo>
                    <a:pt x="25" y="0"/>
                  </a:lnTo>
                  <a:lnTo>
                    <a:pt x="32" y="11"/>
                  </a:lnTo>
                  <a:lnTo>
                    <a:pt x="0" y="16"/>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92" name="30452275.5395.253.2535">
              <a:extLst>
                <a:ext uri="{FF2B5EF4-FFF2-40B4-BE49-F238E27FC236}">
                  <a16:creationId xmlns:a16="http://schemas.microsoft.com/office/drawing/2014/main" id="{04DE8A76-C0C0-4DA3-9C29-FE5C6F5A2EE9}"/>
                </a:ext>
              </a:extLst>
            </p:cNvPr>
            <p:cNvSpPr>
              <a:spLocks noChangeAspect="1"/>
            </p:cNvSpPr>
            <p:nvPr/>
          </p:nvSpPr>
          <p:spPr bwMode="gray">
            <a:xfrm>
              <a:off x="6010257" y="2760019"/>
              <a:ext cx="47550" cy="52141"/>
            </a:xfrm>
            <a:custGeom>
              <a:avLst/>
              <a:gdLst/>
              <a:ahLst/>
              <a:cxnLst>
                <a:cxn ang="0">
                  <a:pos x="0" y="29"/>
                </a:cxn>
                <a:cxn ang="0">
                  <a:pos x="39" y="56"/>
                </a:cxn>
                <a:cxn ang="0">
                  <a:pos x="53" y="27"/>
                </a:cxn>
                <a:cxn ang="0">
                  <a:pos x="43" y="0"/>
                </a:cxn>
                <a:cxn ang="0">
                  <a:pos x="0" y="29"/>
                </a:cxn>
              </a:cxnLst>
              <a:rect l="0" t="0" r="r" b="b"/>
              <a:pathLst>
                <a:path w="53" h="56">
                  <a:moveTo>
                    <a:pt x="0" y="29"/>
                  </a:moveTo>
                  <a:lnTo>
                    <a:pt x="39" y="56"/>
                  </a:lnTo>
                  <a:lnTo>
                    <a:pt x="53" y="27"/>
                  </a:lnTo>
                  <a:lnTo>
                    <a:pt x="43" y="0"/>
                  </a:lnTo>
                  <a:lnTo>
                    <a:pt x="0" y="2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93" name="30457234.75413.12530.7520.55">
              <a:extLst>
                <a:ext uri="{FF2B5EF4-FFF2-40B4-BE49-F238E27FC236}">
                  <a16:creationId xmlns:a16="http://schemas.microsoft.com/office/drawing/2014/main" id="{782B0594-862E-4486-935E-76209F0502F9}"/>
                </a:ext>
              </a:extLst>
            </p:cNvPr>
            <p:cNvSpPr>
              <a:spLocks noChangeAspect="1"/>
            </p:cNvSpPr>
            <p:nvPr/>
          </p:nvSpPr>
          <p:spPr bwMode="gray">
            <a:xfrm>
              <a:off x="6295559" y="2098998"/>
              <a:ext cx="329046" cy="499550"/>
            </a:xfrm>
            <a:custGeom>
              <a:avLst/>
              <a:gdLst/>
              <a:ahLst/>
              <a:cxnLst>
                <a:cxn ang="0">
                  <a:pos x="0" y="57"/>
                </a:cxn>
                <a:cxn ang="0">
                  <a:pos x="24" y="40"/>
                </a:cxn>
                <a:cxn ang="0">
                  <a:pos x="62" y="73"/>
                </a:cxn>
                <a:cxn ang="0">
                  <a:pos x="132" y="79"/>
                </a:cxn>
                <a:cxn ang="0">
                  <a:pos x="172" y="58"/>
                </a:cxn>
                <a:cxn ang="0">
                  <a:pos x="183" y="13"/>
                </a:cxn>
                <a:cxn ang="0">
                  <a:pos x="249" y="0"/>
                </a:cxn>
                <a:cxn ang="0">
                  <a:pos x="285" y="18"/>
                </a:cxn>
                <a:cxn ang="0">
                  <a:pos x="281" y="57"/>
                </a:cxn>
                <a:cxn ang="0">
                  <a:pos x="267" y="95"/>
                </a:cxn>
                <a:cxn ang="0">
                  <a:pos x="314" y="142"/>
                </a:cxn>
                <a:cxn ang="0">
                  <a:pos x="286" y="177"/>
                </a:cxn>
                <a:cxn ang="0">
                  <a:pos x="321" y="237"/>
                </a:cxn>
                <a:cxn ang="0">
                  <a:pos x="307" y="291"/>
                </a:cxn>
                <a:cxn ang="0">
                  <a:pos x="363" y="405"/>
                </a:cxn>
                <a:cxn ang="0">
                  <a:pos x="235" y="512"/>
                </a:cxn>
                <a:cxn ang="0">
                  <a:pos x="81" y="547"/>
                </a:cxn>
                <a:cxn ang="0">
                  <a:pos x="73" y="525"/>
                </a:cxn>
                <a:cxn ang="0">
                  <a:pos x="24" y="508"/>
                </a:cxn>
                <a:cxn ang="0">
                  <a:pos x="17" y="402"/>
                </a:cxn>
                <a:cxn ang="0">
                  <a:pos x="164" y="287"/>
                </a:cxn>
                <a:cxn ang="0">
                  <a:pos x="116" y="230"/>
                </a:cxn>
                <a:cxn ang="0">
                  <a:pos x="98" y="116"/>
                </a:cxn>
                <a:cxn ang="0">
                  <a:pos x="0" y="57"/>
                </a:cxn>
              </a:cxnLst>
              <a:rect l="0" t="0" r="r" b="b"/>
              <a:pathLst>
                <a:path w="363" h="547">
                  <a:moveTo>
                    <a:pt x="0" y="57"/>
                  </a:moveTo>
                  <a:lnTo>
                    <a:pt x="24" y="40"/>
                  </a:lnTo>
                  <a:lnTo>
                    <a:pt x="62" y="73"/>
                  </a:lnTo>
                  <a:lnTo>
                    <a:pt x="132" y="79"/>
                  </a:lnTo>
                  <a:lnTo>
                    <a:pt x="172" y="58"/>
                  </a:lnTo>
                  <a:lnTo>
                    <a:pt x="183" y="13"/>
                  </a:lnTo>
                  <a:lnTo>
                    <a:pt x="249" y="0"/>
                  </a:lnTo>
                  <a:lnTo>
                    <a:pt x="285" y="18"/>
                  </a:lnTo>
                  <a:lnTo>
                    <a:pt x="281" y="57"/>
                  </a:lnTo>
                  <a:lnTo>
                    <a:pt x="267" y="95"/>
                  </a:lnTo>
                  <a:lnTo>
                    <a:pt x="314" y="142"/>
                  </a:lnTo>
                  <a:lnTo>
                    <a:pt x="286" y="177"/>
                  </a:lnTo>
                  <a:lnTo>
                    <a:pt x="321" y="237"/>
                  </a:lnTo>
                  <a:lnTo>
                    <a:pt x="307" y="291"/>
                  </a:lnTo>
                  <a:lnTo>
                    <a:pt x="363" y="405"/>
                  </a:lnTo>
                  <a:lnTo>
                    <a:pt x="235" y="512"/>
                  </a:lnTo>
                  <a:lnTo>
                    <a:pt x="81" y="547"/>
                  </a:lnTo>
                  <a:lnTo>
                    <a:pt x="73" y="525"/>
                  </a:lnTo>
                  <a:lnTo>
                    <a:pt x="24" y="508"/>
                  </a:lnTo>
                  <a:lnTo>
                    <a:pt x="17" y="402"/>
                  </a:lnTo>
                  <a:lnTo>
                    <a:pt x="164" y="287"/>
                  </a:lnTo>
                  <a:lnTo>
                    <a:pt x="116" y="230"/>
                  </a:lnTo>
                  <a:lnTo>
                    <a:pt x="98" y="116"/>
                  </a:lnTo>
                  <a:lnTo>
                    <a:pt x="0" y="57"/>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94" name="30458288.625365.87520.523.6255">
              <a:extLst>
                <a:ext uri="{FF2B5EF4-FFF2-40B4-BE49-F238E27FC236}">
                  <a16:creationId xmlns:a16="http://schemas.microsoft.com/office/drawing/2014/main" id="{43966466-DFAE-4AC6-A2C1-E974FD9A6462}"/>
                </a:ext>
              </a:extLst>
            </p:cNvPr>
            <p:cNvSpPr>
              <a:spLocks noChangeAspect="1"/>
            </p:cNvSpPr>
            <p:nvPr/>
          </p:nvSpPr>
          <p:spPr bwMode="gray">
            <a:xfrm>
              <a:off x="5538559" y="2973634"/>
              <a:ext cx="380401" cy="333033"/>
            </a:xfrm>
            <a:custGeom>
              <a:avLst/>
              <a:gdLst/>
              <a:ahLst/>
              <a:cxnLst>
                <a:cxn ang="0">
                  <a:pos x="0" y="111"/>
                </a:cxn>
                <a:cxn ang="0">
                  <a:pos x="14" y="143"/>
                </a:cxn>
                <a:cxn ang="0">
                  <a:pos x="100" y="165"/>
                </a:cxn>
                <a:cxn ang="0">
                  <a:pos x="87" y="183"/>
                </a:cxn>
                <a:cxn ang="0">
                  <a:pos x="118" y="206"/>
                </a:cxn>
                <a:cxn ang="0">
                  <a:pos x="132" y="248"/>
                </a:cxn>
                <a:cxn ang="0">
                  <a:pos x="95" y="325"/>
                </a:cxn>
                <a:cxn ang="0">
                  <a:pos x="199" y="355"/>
                </a:cxn>
                <a:cxn ang="0">
                  <a:pos x="210" y="359"/>
                </a:cxn>
                <a:cxn ang="0">
                  <a:pos x="260" y="365"/>
                </a:cxn>
                <a:cxn ang="0">
                  <a:pos x="260" y="334"/>
                </a:cxn>
                <a:cxn ang="0">
                  <a:pos x="287" y="318"/>
                </a:cxn>
                <a:cxn ang="0">
                  <a:pos x="357" y="337"/>
                </a:cxn>
                <a:cxn ang="0">
                  <a:pos x="401" y="307"/>
                </a:cxn>
                <a:cxn ang="0">
                  <a:pos x="375" y="263"/>
                </a:cxn>
                <a:cxn ang="0">
                  <a:pos x="385" y="220"/>
                </a:cxn>
                <a:cxn ang="0">
                  <a:pos x="352" y="197"/>
                </a:cxn>
                <a:cxn ang="0">
                  <a:pos x="401" y="147"/>
                </a:cxn>
                <a:cxn ang="0">
                  <a:pos x="421" y="92"/>
                </a:cxn>
                <a:cxn ang="0">
                  <a:pos x="359" y="69"/>
                </a:cxn>
                <a:cxn ang="0">
                  <a:pos x="342" y="63"/>
                </a:cxn>
                <a:cxn ang="0">
                  <a:pos x="246" y="0"/>
                </a:cxn>
                <a:cxn ang="0">
                  <a:pos x="213" y="11"/>
                </a:cxn>
                <a:cxn ang="0">
                  <a:pos x="175" y="72"/>
                </a:cxn>
                <a:cxn ang="0">
                  <a:pos x="94" y="61"/>
                </a:cxn>
                <a:cxn ang="0">
                  <a:pos x="106" y="109"/>
                </a:cxn>
                <a:cxn ang="0">
                  <a:pos x="0" y="111"/>
                </a:cxn>
              </a:cxnLst>
              <a:rect l="0" t="0" r="r" b="b"/>
              <a:pathLst>
                <a:path w="421" h="365">
                  <a:moveTo>
                    <a:pt x="0" y="111"/>
                  </a:moveTo>
                  <a:lnTo>
                    <a:pt x="14" y="143"/>
                  </a:lnTo>
                  <a:lnTo>
                    <a:pt x="100" y="165"/>
                  </a:lnTo>
                  <a:lnTo>
                    <a:pt x="87" y="183"/>
                  </a:lnTo>
                  <a:lnTo>
                    <a:pt x="118" y="206"/>
                  </a:lnTo>
                  <a:lnTo>
                    <a:pt x="132" y="248"/>
                  </a:lnTo>
                  <a:lnTo>
                    <a:pt x="95" y="325"/>
                  </a:lnTo>
                  <a:lnTo>
                    <a:pt x="199" y="355"/>
                  </a:lnTo>
                  <a:lnTo>
                    <a:pt x="210" y="359"/>
                  </a:lnTo>
                  <a:lnTo>
                    <a:pt x="260" y="365"/>
                  </a:lnTo>
                  <a:lnTo>
                    <a:pt x="260" y="334"/>
                  </a:lnTo>
                  <a:lnTo>
                    <a:pt x="287" y="318"/>
                  </a:lnTo>
                  <a:lnTo>
                    <a:pt x="357" y="337"/>
                  </a:lnTo>
                  <a:lnTo>
                    <a:pt x="401" y="307"/>
                  </a:lnTo>
                  <a:lnTo>
                    <a:pt x="375" y="263"/>
                  </a:lnTo>
                  <a:lnTo>
                    <a:pt x="385" y="220"/>
                  </a:lnTo>
                  <a:lnTo>
                    <a:pt x="352" y="197"/>
                  </a:lnTo>
                  <a:lnTo>
                    <a:pt x="401" y="147"/>
                  </a:lnTo>
                  <a:lnTo>
                    <a:pt x="421" y="92"/>
                  </a:lnTo>
                  <a:lnTo>
                    <a:pt x="359" y="69"/>
                  </a:lnTo>
                  <a:lnTo>
                    <a:pt x="342" y="63"/>
                  </a:lnTo>
                  <a:lnTo>
                    <a:pt x="246" y="0"/>
                  </a:lnTo>
                  <a:lnTo>
                    <a:pt x="213" y="11"/>
                  </a:lnTo>
                  <a:lnTo>
                    <a:pt x="175" y="72"/>
                  </a:lnTo>
                  <a:lnTo>
                    <a:pt x="94" y="61"/>
                  </a:lnTo>
                  <a:lnTo>
                    <a:pt x="106" y="109"/>
                  </a:lnTo>
                  <a:lnTo>
                    <a:pt x="0" y="111"/>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95" name="30459307.625390.53.8751.55">
              <a:extLst>
                <a:ext uri="{FF2B5EF4-FFF2-40B4-BE49-F238E27FC236}">
                  <a16:creationId xmlns:a16="http://schemas.microsoft.com/office/drawing/2014/main" id="{DA3BD075-BEA4-4EE8-A14B-33B9145A9B1E}"/>
                </a:ext>
              </a:extLst>
            </p:cNvPr>
            <p:cNvSpPr>
              <a:spLocks noChangeAspect="1"/>
            </p:cNvSpPr>
            <p:nvPr/>
          </p:nvSpPr>
          <p:spPr bwMode="gray">
            <a:xfrm>
              <a:off x="5934176" y="3279759"/>
              <a:ext cx="20922" cy="65597"/>
            </a:xfrm>
            <a:custGeom>
              <a:avLst/>
              <a:gdLst/>
              <a:ahLst/>
              <a:cxnLst>
                <a:cxn ang="0">
                  <a:pos x="0" y="34"/>
                </a:cxn>
                <a:cxn ang="0">
                  <a:pos x="24" y="69"/>
                </a:cxn>
                <a:cxn ang="0">
                  <a:pos x="27" y="0"/>
                </a:cxn>
                <a:cxn ang="0">
                  <a:pos x="0" y="34"/>
                </a:cxn>
              </a:cxnLst>
              <a:rect l="0" t="0" r="r" b="b"/>
              <a:pathLst>
                <a:path w="27" h="69">
                  <a:moveTo>
                    <a:pt x="0" y="34"/>
                  </a:moveTo>
                  <a:lnTo>
                    <a:pt x="24" y="69"/>
                  </a:lnTo>
                  <a:lnTo>
                    <a:pt x="27" y="0"/>
                  </a:lnTo>
                  <a:lnTo>
                    <a:pt x="0" y="3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96" name="30461279385.62518.2516.255">
              <a:extLst>
                <a:ext uri="{FF2B5EF4-FFF2-40B4-BE49-F238E27FC236}">
                  <a16:creationId xmlns:a16="http://schemas.microsoft.com/office/drawing/2014/main" id="{0CFACDC5-9880-48A1-B203-BA6BF03662A0}"/>
                </a:ext>
              </a:extLst>
            </p:cNvPr>
            <p:cNvSpPr>
              <a:spLocks noChangeAspect="1"/>
            </p:cNvSpPr>
            <p:nvPr/>
          </p:nvSpPr>
          <p:spPr bwMode="gray">
            <a:xfrm>
              <a:off x="5854293" y="2818890"/>
              <a:ext cx="260575" cy="294349"/>
            </a:xfrm>
            <a:custGeom>
              <a:avLst/>
              <a:gdLst/>
              <a:ahLst/>
              <a:cxnLst>
                <a:cxn ang="0">
                  <a:pos x="0" y="133"/>
                </a:cxn>
                <a:cxn ang="0">
                  <a:pos x="1" y="186"/>
                </a:cxn>
                <a:cxn ang="0">
                  <a:pos x="4" y="210"/>
                </a:cxn>
                <a:cxn ang="0">
                  <a:pos x="8" y="238"/>
                </a:cxn>
                <a:cxn ang="0">
                  <a:pos x="70" y="261"/>
                </a:cxn>
                <a:cxn ang="0">
                  <a:pos x="50" y="316"/>
                </a:cxn>
                <a:cxn ang="0">
                  <a:pos x="115" y="323"/>
                </a:cxn>
                <a:cxn ang="0">
                  <a:pos x="228" y="322"/>
                </a:cxn>
                <a:cxn ang="0">
                  <a:pos x="258" y="269"/>
                </a:cxn>
                <a:cxn ang="0">
                  <a:pos x="197" y="203"/>
                </a:cxn>
                <a:cxn ang="0">
                  <a:pos x="270" y="168"/>
                </a:cxn>
                <a:cxn ang="0">
                  <a:pos x="289" y="179"/>
                </a:cxn>
                <a:cxn ang="0">
                  <a:pos x="270" y="49"/>
                </a:cxn>
                <a:cxn ang="0">
                  <a:pos x="217" y="18"/>
                </a:cxn>
                <a:cxn ang="0">
                  <a:pos x="158" y="40"/>
                </a:cxn>
                <a:cxn ang="0">
                  <a:pos x="166" y="25"/>
                </a:cxn>
                <a:cxn ang="0">
                  <a:pos x="115" y="0"/>
                </a:cxn>
                <a:cxn ang="0">
                  <a:pos x="89" y="0"/>
                </a:cxn>
                <a:cxn ang="0">
                  <a:pos x="87" y="71"/>
                </a:cxn>
                <a:cxn ang="0">
                  <a:pos x="57" y="52"/>
                </a:cxn>
                <a:cxn ang="0">
                  <a:pos x="39" y="74"/>
                </a:cxn>
                <a:cxn ang="0">
                  <a:pos x="34" y="117"/>
                </a:cxn>
                <a:cxn ang="0">
                  <a:pos x="0" y="133"/>
                </a:cxn>
              </a:cxnLst>
              <a:rect l="0" t="0" r="r" b="b"/>
              <a:pathLst>
                <a:path w="289" h="323">
                  <a:moveTo>
                    <a:pt x="0" y="133"/>
                  </a:moveTo>
                  <a:lnTo>
                    <a:pt x="1" y="186"/>
                  </a:lnTo>
                  <a:lnTo>
                    <a:pt x="4" y="210"/>
                  </a:lnTo>
                  <a:lnTo>
                    <a:pt x="8" y="238"/>
                  </a:lnTo>
                  <a:lnTo>
                    <a:pt x="70" y="261"/>
                  </a:lnTo>
                  <a:lnTo>
                    <a:pt x="50" y="316"/>
                  </a:lnTo>
                  <a:lnTo>
                    <a:pt x="115" y="323"/>
                  </a:lnTo>
                  <a:lnTo>
                    <a:pt x="228" y="322"/>
                  </a:lnTo>
                  <a:lnTo>
                    <a:pt x="258" y="269"/>
                  </a:lnTo>
                  <a:lnTo>
                    <a:pt x="197" y="203"/>
                  </a:lnTo>
                  <a:lnTo>
                    <a:pt x="270" y="168"/>
                  </a:lnTo>
                  <a:lnTo>
                    <a:pt x="289" y="179"/>
                  </a:lnTo>
                  <a:lnTo>
                    <a:pt x="270" y="49"/>
                  </a:lnTo>
                  <a:lnTo>
                    <a:pt x="217" y="18"/>
                  </a:lnTo>
                  <a:lnTo>
                    <a:pt x="158" y="40"/>
                  </a:lnTo>
                  <a:lnTo>
                    <a:pt x="166" y="25"/>
                  </a:lnTo>
                  <a:lnTo>
                    <a:pt x="115" y="0"/>
                  </a:lnTo>
                  <a:lnTo>
                    <a:pt x="89" y="0"/>
                  </a:lnTo>
                  <a:lnTo>
                    <a:pt x="87" y="71"/>
                  </a:lnTo>
                  <a:lnTo>
                    <a:pt x="57" y="52"/>
                  </a:lnTo>
                  <a:lnTo>
                    <a:pt x="39" y="74"/>
                  </a:lnTo>
                  <a:lnTo>
                    <a:pt x="34" y="117"/>
                  </a:lnTo>
                  <a:lnTo>
                    <a:pt x="0" y="133"/>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97" name="30462310.375412.2511.87511.8755">
              <a:extLst>
                <a:ext uri="{FF2B5EF4-FFF2-40B4-BE49-F238E27FC236}">
                  <a16:creationId xmlns:a16="http://schemas.microsoft.com/office/drawing/2014/main" id="{48B74C1B-9B09-4667-8A8B-6ADF935B662B}"/>
                </a:ext>
              </a:extLst>
            </p:cNvPr>
            <p:cNvSpPr>
              <a:spLocks noChangeAspect="1"/>
            </p:cNvSpPr>
            <p:nvPr/>
          </p:nvSpPr>
          <p:spPr bwMode="gray">
            <a:xfrm>
              <a:off x="6282243" y="3323489"/>
              <a:ext cx="190202" cy="193429"/>
            </a:xfrm>
            <a:custGeom>
              <a:avLst/>
              <a:gdLst/>
              <a:ahLst/>
              <a:cxnLst>
                <a:cxn ang="0">
                  <a:pos x="0" y="83"/>
                </a:cxn>
                <a:cxn ang="0">
                  <a:pos x="29" y="37"/>
                </a:cxn>
                <a:cxn ang="0">
                  <a:pos x="94" y="19"/>
                </a:cxn>
                <a:cxn ang="0">
                  <a:pos x="177" y="20"/>
                </a:cxn>
                <a:cxn ang="0">
                  <a:pos x="209" y="0"/>
                </a:cxn>
                <a:cxn ang="0">
                  <a:pos x="198" y="44"/>
                </a:cxn>
                <a:cxn ang="0">
                  <a:pos x="141" y="34"/>
                </a:cxn>
                <a:cxn ang="0">
                  <a:pos x="112" y="71"/>
                </a:cxn>
                <a:cxn ang="0">
                  <a:pos x="82" y="50"/>
                </a:cxn>
                <a:cxn ang="0">
                  <a:pos x="104" y="105"/>
                </a:cxn>
                <a:cxn ang="0">
                  <a:pos x="77" y="116"/>
                </a:cxn>
                <a:cxn ang="0">
                  <a:pos x="129" y="140"/>
                </a:cxn>
                <a:cxn ang="0">
                  <a:pos x="129" y="162"/>
                </a:cxn>
                <a:cxn ang="0">
                  <a:pos x="86" y="169"/>
                </a:cxn>
                <a:cxn ang="0">
                  <a:pos x="100" y="209"/>
                </a:cxn>
                <a:cxn ang="0">
                  <a:pos x="49" y="195"/>
                </a:cxn>
                <a:cxn ang="0">
                  <a:pos x="34" y="158"/>
                </a:cxn>
                <a:cxn ang="0">
                  <a:pos x="101" y="143"/>
                </a:cxn>
                <a:cxn ang="0">
                  <a:pos x="34" y="137"/>
                </a:cxn>
                <a:cxn ang="0">
                  <a:pos x="0" y="83"/>
                </a:cxn>
              </a:cxnLst>
              <a:rect l="0" t="0" r="r" b="b"/>
              <a:pathLst>
                <a:path w="209" h="209">
                  <a:moveTo>
                    <a:pt x="0" y="83"/>
                  </a:moveTo>
                  <a:lnTo>
                    <a:pt x="29" y="37"/>
                  </a:lnTo>
                  <a:lnTo>
                    <a:pt x="94" y="19"/>
                  </a:lnTo>
                  <a:lnTo>
                    <a:pt x="177" y="20"/>
                  </a:lnTo>
                  <a:lnTo>
                    <a:pt x="209" y="0"/>
                  </a:lnTo>
                  <a:lnTo>
                    <a:pt x="198" y="44"/>
                  </a:lnTo>
                  <a:lnTo>
                    <a:pt x="141" y="34"/>
                  </a:lnTo>
                  <a:lnTo>
                    <a:pt x="112" y="71"/>
                  </a:lnTo>
                  <a:lnTo>
                    <a:pt x="82" y="50"/>
                  </a:lnTo>
                  <a:lnTo>
                    <a:pt x="104" y="105"/>
                  </a:lnTo>
                  <a:lnTo>
                    <a:pt x="77" y="116"/>
                  </a:lnTo>
                  <a:lnTo>
                    <a:pt x="129" y="140"/>
                  </a:lnTo>
                  <a:lnTo>
                    <a:pt x="129" y="162"/>
                  </a:lnTo>
                  <a:lnTo>
                    <a:pt x="86" y="169"/>
                  </a:lnTo>
                  <a:lnTo>
                    <a:pt x="100" y="209"/>
                  </a:lnTo>
                  <a:lnTo>
                    <a:pt x="49" y="195"/>
                  </a:lnTo>
                  <a:lnTo>
                    <a:pt x="34" y="158"/>
                  </a:lnTo>
                  <a:lnTo>
                    <a:pt x="101" y="143"/>
                  </a:lnTo>
                  <a:lnTo>
                    <a:pt x="34" y="137"/>
                  </a:lnTo>
                  <a:lnTo>
                    <a:pt x="0" y="83"/>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98" name="30463324.125418.6250.755.55">
              <a:extLst>
                <a:ext uri="{FF2B5EF4-FFF2-40B4-BE49-F238E27FC236}">
                  <a16:creationId xmlns:a16="http://schemas.microsoft.com/office/drawing/2014/main" id="{07808D19-AB9D-441E-A4BE-326DF1200DEE}"/>
                </a:ext>
              </a:extLst>
            </p:cNvPr>
            <p:cNvSpPr>
              <a:spLocks noChangeAspect="1"/>
            </p:cNvSpPr>
            <p:nvPr/>
          </p:nvSpPr>
          <p:spPr bwMode="gray">
            <a:xfrm>
              <a:off x="6383048" y="3547195"/>
              <a:ext cx="89394" cy="11775"/>
            </a:xfrm>
            <a:custGeom>
              <a:avLst/>
              <a:gdLst/>
              <a:ahLst/>
              <a:cxnLst>
                <a:cxn ang="0">
                  <a:pos x="0" y="14"/>
                </a:cxn>
                <a:cxn ang="0">
                  <a:pos x="8" y="0"/>
                </a:cxn>
                <a:cxn ang="0">
                  <a:pos x="98" y="14"/>
                </a:cxn>
                <a:cxn ang="0">
                  <a:pos x="32" y="14"/>
                </a:cxn>
                <a:cxn ang="0">
                  <a:pos x="0" y="14"/>
                </a:cxn>
              </a:cxnLst>
              <a:rect l="0" t="0" r="r" b="b"/>
              <a:pathLst>
                <a:path w="98" h="14">
                  <a:moveTo>
                    <a:pt x="0" y="14"/>
                  </a:moveTo>
                  <a:lnTo>
                    <a:pt x="8" y="0"/>
                  </a:lnTo>
                  <a:lnTo>
                    <a:pt x="98" y="14"/>
                  </a:lnTo>
                  <a:lnTo>
                    <a:pt x="32" y="14"/>
                  </a:lnTo>
                  <a:lnTo>
                    <a:pt x="0" y="1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99" name="30470314.625457.530.875365">
              <a:extLst>
                <a:ext uri="{FF2B5EF4-FFF2-40B4-BE49-F238E27FC236}">
                  <a16:creationId xmlns:a16="http://schemas.microsoft.com/office/drawing/2014/main" id="{3B784634-993D-4FDA-8422-07E4691D33F9}"/>
                </a:ext>
              </a:extLst>
            </p:cNvPr>
            <p:cNvSpPr>
              <a:spLocks noChangeAspect="1"/>
            </p:cNvSpPr>
            <p:nvPr/>
          </p:nvSpPr>
          <p:spPr bwMode="gray">
            <a:xfrm>
              <a:off x="7006907" y="3395815"/>
              <a:ext cx="578209" cy="499553"/>
            </a:xfrm>
            <a:custGeom>
              <a:avLst/>
              <a:gdLst/>
              <a:ahLst/>
              <a:cxnLst>
                <a:cxn ang="0">
                  <a:pos x="0" y="18"/>
                </a:cxn>
                <a:cxn ang="0">
                  <a:pos x="17" y="0"/>
                </a:cxn>
                <a:cxn ang="0">
                  <a:pos x="66" y="41"/>
                </a:cxn>
                <a:cxn ang="0">
                  <a:pos x="127" y="8"/>
                </a:cxn>
                <a:cxn ang="0">
                  <a:pos x="132" y="40"/>
                </a:cxn>
                <a:cxn ang="0">
                  <a:pos x="160" y="51"/>
                </a:cxn>
                <a:cxn ang="0">
                  <a:pos x="167" y="87"/>
                </a:cxn>
                <a:cxn ang="0">
                  <a:pos x="255" y="125"/>
                </a:cxn>
                <a:cxn ang="0">
                  <a:pos x="336" y="114"/>
                </a:cxn>
                <a:cxn ang="0">
                  <a:pos x="329" y="94"/>
                </a:cxn>
                <a:cxn ang="0">
                  <a:pos x="433" y="58"/>
                </a:cxn>
                <a:cxn ang="0">
                  <a:pos x="569" y="120"/>
                </a:cxn>
                <a:cxn ang="0">
                  <a:pos x="574" y="154"/>
                </a:cxn>
                <a:cxn ang="0">
                  <a:pos x="550" y="218"/>
                </a:cxn>
                <a:cxn ang="0">
                  <a:pos x="554" y="306"/>
                </a:cxn>
                <a:cxn ang="0">
                  <a:pos x="589" y="332"/>
                </a:cxn>
                <a:cxn ang="0">
                  <a:pos x="561" y="377"/>
                </a:cxn>
                <a:cxn ang="0">
                  <a:pos x="640" y="476"/>
                </a:cxn>
                <a:cxn ang="0">
                  <a:pos x="587" y="546"/>
                </a:cxn>
                <a:cxn ang="0">
                  <a:pos x="444" y="523"/>
                </a:cxn>
                <a:cxn ang="0">
                  <a:pos x="413" y="478"/>
                </a:cxn>
                <a:cxn ang="0">
                  <a:pos x="315" y="493"/>
                </a:cxn>
                <a:cxn ang="0">
                  <a:pos x="244" y="450"/>
                </a:cxn>
                <a:cxn ang="0">
                  <a:pos x="196" y="366"/>
                </a:cxn>
                <a:cxn ang="0">
                  <a:pos x="159" y="352"/>
                </a:cxn>
                <a:cxn ang="0">
                  <a:pos x="149" y="370"/>
                </a:cxn>
                <a:cxn ang="0">
                  <a:pos x="105" y="285"/>
                </a:cxn>
                <a:cxn ang="0">
                  <a:pos x="43" y="234"/>
                </a:cxn>
                <a:cxn ang="0">
                  <a:pos x="72" y="154"/>
                </a:cxn>
                <a:cxn ang="0">
                  <a:pos x="46" y="145"/>
                </a:cxn>
                <a:cxn ang="0">
                  <a:pos x="22" y="102"/>
                </a:cxn>
                <a:cxn ang="0">
                  <a:pos x="0" y="18"/>
                </a:cxn>
              </a:cxnLst>
              <a:rect l="0" t="0" r="r" b="b"/>
              <a:pathLst>
                <a:path w="640" h="546">
                  <a:moveTo>
                    <a:pt x="0" y="18"/>
                  </a:moveTo>
                  <a:lnTo>
                    <a:pt x="17" y="0"/>
                  </a:lnTo>
                  <a:lnTo>
                    <a:pt x="66" y="41"/>
                  </a:lnTo>
                  <a:lnTo>
                    <a:pt x="127" y="8"/>
                  </a:lnTo>
                  <a:lnTo>
                    <a:pt x="132" y="40"/>
                  </a:lnTo>
                  <a:lnTo>
                    <a:pt x="160" y="51"/>
                  </a:lnTo>
                  <a:lnTo>
                    <a:pt x="167" y="87"/>
                  </a:lnTo>
                  <a:lnTo>
                    <a:pt x="255" y="125"/>
                  </a:lnTo>
                  <a:lnTo>
                    <a:pt x="336" y="114"/>
                  </a:lnTo>
                  <a:lnTo>
                    <a:pt x="329" y="94"/>
                  </a:lnTo>
                  <a:lnTo>
                    <a:pt x="433" y="58"/>
                  </a:lnTo>
                  <a:lnTo>
                    <a:pt x="569" y="120"/>
                  </a:lnTo>
                  <a:lnTo>
                    <a:pt x="574" y="154"/>
                  </a:lnTo>
                  <a:lnTo>
                    <a:pt x="550" y="218"/>
                  </a:lnTo>
                  <a:lnTo>
                    <a:pt x="554" y="306"/>
                  </a:lnTo>
                  <a:lnTo>
                    <a:pt x="589" y="332"/>
                  </a:lnTo>
                  <a:lnTo>
                    <a:pt x="561" y="377"/>
                  </a:lnTo>
                  <a:lnTo>
                    <a:pt x="640" y="476"/>
                  </a:lnTo>
                  <a:lnTo>
                    <a:pt x="587" y="546"/>
                  </a:lnTo>
                  <a:lnTo>
                    <a:pt x="444" y="523"/>
                  </a:lnTo>
                  <a:lnTo>
                    <a:pt x="413" y="478"/>
                  </a:lnTo>
                  <a:lnTo>
                    <a:pt x="315" y="493"/>
                  </a:lnTo>
                  <a:lnTo>
                    <a:pt x="244" y="450"/>
                  </a:lnTo>
                  <a:lnTo>
                    <a:pt x="196" y="366"/>
                  </a:lnTo>
                  <a:lnTo>
                    <a:pt x="159" y="352"/>
                  </a:lnTo>
                  <a:lnTo>
                    <a:pt x="149" y="370"/>
                  </a:lnTo>
                  <a:lnTo>
                    <a:pt x="105" y="285"/>
                  </a:lnTo>
                  <a:lnTo>
                    <a:pt x="43" y="234"/>
                  </a:lnTo>
                  <a:lnTo>
                    <a:pt x="72" y="154"/>
                  </a:lnTo>
                  <a:lnTo>
                    <a:pt x="46" y="145"/>
                  </a:lnTo>
                  <a:lnTo>
                    <a:pt x="22" y="102"/>
                  </a:lnTo>
                  <a:lnTo>
                    <a:pt x="0" y="18"/>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00" name="30471320.375447.12517.12518.6255">
              <a:extLst>
                <a:ext uri="{FF2B5EF4-FFF2-40B4-BE49-F238E27FC236}">
                  <a16:creationId xmlns:a16="http://schemas.microsoft.com/office/drawing/2014/main" id="{9E10C555-E875-4DA4-8140-E4E10D86344C}"/>
                </a:ext>
              </a:extLst>
            </p:cNvPr>
            <p:cNvSpPr>
              <a:spLocks noChangeAspect="1"/>
            </p:cNvSpPr>
            <p:nvPr/>
          </p:nvSpPr>
          <p:spPr bwMode="gray">
            <a:xfrm>
              <a:off x="6841431" y="3488325"/>
              <a:ext cx="298617" cy="275847"/>
            </a:xfrm>
            <a:custGeom>
              <a:avLst/>
              <a:gdLst/>
              <a:ahLst/>
              <a:cxnLst>
                <a:cxn ang="0">
                  <a:pos x="0" y="147"/>
                </a:cxn>
                <a:cxn ang="0">
                  <a:pos x="16" y="190"/>
                </a:cxn>
                <a:cxn ang="0">
                  <a:pos x="166" y="257"/>
                </a:cxn>
                <a:cxn ang="0">
                  <a:pos x="167" y="282"/>
                </a:cxn>
                <a:cxn ang="0">
                  <a:pos x="203" y="298"/>
                </a:cxn>
                <a:cxn ang="0">
                  <a:pos x="264" y="303"/>
                </a:cxn>
                <a:cxn ang="0">
                  <a:pos x="313" y="271"/>
                </a:cxn>
                <a:cxn ang="0">
                  <a:pos x="331" y="268"/>
                </a:cxn>
                <a:cxn ang="0">
                  <a:pos x="287" y="183"/>
                </a:cxn>
                <a:cxn ang="0">
                  <a:pos x="225" y="132"/>
                </a:cxn>
                <a:cxn ang="0">
                  <a:pos x="254" y="52"/>
                </a:cxn>
                <a:cxn ang="0">
                  <a:pos x="228" y="43"/>
                </a:cxn>
                <a:cxn ang="0">
                  <a:pos x="204" y="0"/>
                </a:cxn>
                <a:cxn ang="0">
                  <a:pos x="130" y="3"/>
                </a:cxn>
                <a:cxn ang="0">
                  <a:pos x="93" y="30"/>
                </a:cxn>
                <a:cxn ang="0">
                  <a:pos x="81" y="103"/>
                </a:cxn>
                <a:cxn ang="0">
                  <a:pos x="0" y="147"/>
                </a:cxn>
              </a:cxnLst>
              <a:rect l="0" t="0" r="r" b="b"/>
              <a:pathLst>
                <a:path w="331" h="303">
                  <a:moveTo>
                    <a:pt x="0" y="147"/>
                  </a:moveTo>
                  <a:lnTo>
                    <a:pt x="16" y="190"/>
                  </a:lnTo>
                  <a:lnTo>
                    <a:pt x="166" y="257"/>
                  </a:lnTo>
                  <a:lnTo>
                    <a:pt x="167" y="282"/>
                  </a:lnTo>
                  <a:lnTo>
                    <a:pt x="203" y="298"/>
                  </a:lnTo>
                  <a:lnTo>
                    <a:pt x="264" y="303"/>
                  </a:lnTo>
                  <a:lnTo>
                    <a:pt x="313" y="271"/>
                  </a:lnTo>
                  <a:lnTo>
                    <a:pt x="331" y="268"/>
                  </a:lnTo>
                  <a:lnTo>
                    <a:pt x="287" y="183"/>
                  </a:lnTo>
                  <a:lnTo>
                    <a:pt x="225" y="132"/>
                  </a:lnTo>
                  <a:lnTo>
                    <a:pt x="254" y="52"/>
                  </a:lnTo>
                  <a:lnTo>
                    <a:pt x="228" y="43"/>
                  </a:lnTo>
                  <a:lnTo>
                    <a:pt x="204" y="0"/>
                  </a:lnTo>
                  <a:lnTo>
                    <a:pt x="130" y="3"/>
                  </a:lnTo>
                  <a:lnTo>
                    <a:pt x="93" y="30"/>
                  </a:lnTo>
                  <a:lnTo>
                    <a:pt x="81" y="103"/>
                  </a:lnTo>
                  <a:lnTo>
                    <a:pt x="0" y="147"/>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01" name="30472298.12538720.875225">
              <a:extLst>
                <a:ext uri="{FF2B5EF4-FFF2-40B4-BE49-F238E27FC236}">
                  <a16:creationId xmlns:a16="http://schemas.microsoft.com/office/drawing/2014/main" id="{CBFA1848-97BA-4C36-B7F4-80B47ABFE15D}"/>
                </a:ext>
              </a:extLst>
            </p:cNvPr>
            <p:cNvSpPr>
              <a:spLocks noChangeAspect="1"/>
            </p:cNvSpPr>
            <p:nvPr/>
          </p:nvSpPr>
          <p:spPr bwMode="gray">
            <a:xfrm>
              <a:off x="5877115" y="3128379"/>
              <a:ext cx="353773" cy="334717"/>
            </a:xfrm>
            <a:custGeom>
              <a:avLst/>
              <a:gdLst/>
              <a:ahLst/>
              <a:cxnLst>
                <a:cxn ang="0">
                  <a:pos x="0" y="92"/>
                </a:cxn>
                <a:cxn ang="0">
                  <a:pos x="10" y="49"/>
                </a:cxn>
                <a:cxn ang="0">
                  <a:pos x="57" y="29"/>
                </a:cxn>
                <a:cxn ang="0">
                  <a:pos x="77" y="48"/>
                </a:cxn>
                <a:cxn ang="0">
                  <a:pos x="124" y="9"/>
                </a:cxn>
                <a:cxn ang="0">
                  <a:pos x="176" y="0"/>
                </a:cxn>
                <a:cxn ang="0">
                  <a:pos x="233" y="26"/>
                </a:cxn>
                <a:cxn ang="0">
                  <a:pos x="233" y="66"/>
                </a:cxn>
                <a:cxn ang="0">
                  <a:pos x="187" y="73"/>
                </a:cxn>
                <a:cxn ang="0">
                  <a:pos x="191" y="122"/>
                </a:cxn>
                <a:cxn ang="0">
                  <a:pos x="265" y="205"/>
                </a:cxn>
                <a:cxn ang="0">
                  <a:pos x="312" y="210"/>
                </a:cxn>
                <a:cxn ang="0">
                  <a:pos x="308" y="228"/>
                </a:cxn>
                <a:cxn ang="0">
                  <a:pos x="392" y="282"/>
                </a:cxn>
                <a:cxn ang="0">
                  <a:pos x="334" y="273"/>
                </a:cxn>
                <a:cxn ang="0">
                  <a:pos x="347" y="326"/>
                </a:cxn>
                <a:cxn ang="0">
                  <a:pos x="312" y="367"/>
                </a:cxn>
                <a:cxn ang="0">
                  <a:pos x="297" y="283"/>
                </a:cxn>
                <a:cxn ang="0">
                  <a:pos x="150" y="191"/>
                </a:cxn>
                <a:cxn ang="0">
                  <a:pos x="116" y="130"/>
                </a:cxn>
                <a:cxn ang="0">
                  <a:pos x="69" y="110"/>
                </a:cxn>
                <a:cxn ang="0">
                  <a:pos x="26" y="136"/>
                </a:cxn>
                <a:cxn ang="0">
                  <a:pos x="0" y="92"/>
                </a:cxn>
              </a:cxnLst>
              <a:rect l="0" t="0" r="r" b="b"/>
              <a:pathLst>
                <a:path w="392" h="367">
                  <a:moveTo>
                    <a:pt x="0" y="92"/>
                  </a:moveTo>
                  <a:lnTo>
                    <a:pt x="10" y="49"/>
                  </a:lnTo>
                  <a:lnTo>
                    <a:pt x="57" y="29"/>
                  </a:lnTo>
                  <a:lnTo>
                    <a:pt x="77" y="48"/>
                  </a:lnTo>
                  <a:lnTo>
                    <a:pt x="124" y="9"/>
                  </a:lnTo>
                  <a:lnTo>
                    <a:pt x="176" y="0"/>
                  </a:lnTo>
                  <a:lnTo>
                    <a:pt x="233" y="26"/>
                  </a:lnTo>
                  <a:lnTo>
                    <a:pt x="233" y="66"/>
                  </a:lnTo>
                  <a:lnTo>
                    <a:pt x="187" y="73"/>
                  </a:lnTo>
                  <a:lnTo>
                    <a:pt x="191" y="122"/>
                  </a:lnTo>
                  <a:lnTo>
                    <a:pt x="265" y="205"/>
                  </a:lnTo>
                  <a:lnTo>
                    <a:pt x="312" y="210"/>
                  </a:lnTo>
                  <a:lnTo>
                    <a:pt x="308" y="228"/>
                  </a:lnTo>
                  <a:lnTo>
                    <a:pt x="392" y="282"/>
                  </a:lnTo>
                  <a:lnTo>
                    <a:pt x="334" y="273"/>
                  </a:lnTo>
                  <a:lnTo>
                    <a:pt x="347" y="326"/>
                  </a:lnTo>
                  <a:lnTo>
                    <a:pt x="312" y="367"/>
                  </a:lnTo>
                  <a:lnTo>
                    <a:pt x="297" y="283"/>
                  </a:lnTo>
                  <a:lnTo>
                    <a:pt x="150" y="191"/>
                  </a:lnTo>
                  <a:lnTo>
                    <a:pt x="116" y="130"/>
                  </a:lnTo>
                  <a:lnTo>
                    <a:pt x="69" y="110"/>
                  </a:lnTo>
                  <a:lnTo>
                    <a:pt x="26" y="136"/>
                  </a:lnTo>
                  <a:lnTo>
                    <a:pt x="0" y="92"/>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02" name="30473311.625389.87552.755">
              <a:extLst>
                <a:ext uri="{FF2B5EF4-FFF2-40B4-BE49-F238E27FC236}">
                  <a16:creationId xmlns:a16="http://schemas.microsoft.com/office/drawing/2014/main" id="{F763DC2E-06E2-4B0C-85F6-E3DF2176B71F}"/>
                </a:ext>
              </a:extLst>
            </p:cNvPr>
            <p:cNvSpPr>
              <a:spLocks noChangeAspect="1"/>
            </p:cNvSpPr>
            <p:nvPr/>
          </p:nvSpPr>
          <p:spPr bwMode="gray">
            <a:xfrm>
              <a:off x="5924665" y="3345355"/>
              <a:ext cx="43748" cy="82418"/>
            </a:xfrm>
            <a:custGeom>
              <a:avLst/>
              <a:gdLst/>
              <a:ahLst/>
              <a:cxnLst>
                <a:cxn ang="0">
                  <a:pos x="0" y="14"/>
                </a:cxn>
                <a:cxn ang="0">
                  <a:pos x="8" y="83"/>
                </a:cxn>
                <a:cxn ang="0">
                  <a:pos x="29" y="90"/>
                </a:cxn>
                <a:cxn ang="0">
                  <a:pos x="48" y="36"/>
                </a:cxn>
                <a:cxn ang="0">
                  <a:pos x="30" y="0"/>
                </a:cxn>
                <a:cxn ang="0">
                  <a:pos x="0" y="14"/>
                </a:cxn>
              </a:cxnLst>
              <a:rect l="0" t="0" r="r" b="b"/>
              <a:pathLst>
                <a:path w="48" h="90">
                  <a:moveTo>
                    <a:pt x="0" y="14"/>
                  </a:moveTo>
                  <a:lnTo>
                    <a:pt x="8" y="83"/>
                  </a:lnTo>
                  <a:lnTo>
                    <a:pt x="29" y="90"/>
                  </a:lnTo>
                  <a:lnTo>
                    <a:pt x="48" y="36"/>
                  </a:lnTo>
                  <a:lnTo>
                    <a:pt x="30" y="0"/>
                  </a:lnTo>
                  <a:lnTo>
                    <a:pt x="0" y="1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03" name="30474318.253983.255.755">
              <a:extLst>
                <a:ext uri="{FF2B5EF4-FFF2-40B4-BE49-F238E27FC236}">
                  <a16:creationId xmlns:a16="http://schemas.microsoft.com/office/drawing/2014/main" id="{52566C41-FCB1-4FB5-BE02-3144498304C8}"/>
                </a:ext>
              </a:extLst>
            </p:cNvPr>
            <p:cNvSpPr>
              <a:spLocks noChangeAspect="1"/>
            </p:cNvSpPr>
            <p:nvPr/>
          </p:nvSpPr>
          <p:spPr bwMode="gray">
            <a:xfrm>
              <a:off x="6054002" y="3451321"/>
              <a:ext cx="91298" cy="53825"/>
            </a:xfrm>
            <a:custGeom>
              <a:avLst/>
              <a:gdLst/>
              <a:ahLst/>
              <a:cxnLst>
                <a:cxn ang="0">
                  <a:pos x="0" y="14"/>
                </a:cxn>
                <a:cxn ang="0">
                  <a:pos x="87" y="60"/>
                </a:cxn>
                <a:cxn ang="0">
                  <a:pos x="103" y="0"/>
                </a:cxn>
                <a:cxn ang="0">
                  <a:pos x="0" y="14"/>
                </a:cxn>
              </a:cxnLst>
              <a:rect l="0" t="0" r="r" b="b"/>
              <a:pathLst>
                <a:path w="103" h="60">
                  <a:moveTo>
                    <a:pt x="0" y="14"/>
                  </a:moveTo>
                  <a:lnTo>
                    <a:pt x="87" y="60"/>
                  </a:lnTo>
                  <a:lnTo>
                    <a:pt x="103" y="0"/>
                  </a:lnTo>
                  <a:lnTo>
                    <a:pt x="0" y="1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04" name="30475327.75618.755.1254.3755">
              <a:extLst>
                <a:ext uri="{FF2B5EF4-FFF2-40B4-BE49-F238E27FC236}">
                  <a16:creationId xmlns:a16="http://schemas.microsoft.com/office/drawing/2014/main" id="{DB40093C-6D29-4442-BDB3-39BD9C493F1B}"/>
                </a:ext>
              </a:extLst>
            </p:cNvPr>
            <p:cNvSpPr>
              <a:spLocks noChangeAspect="1"/>
            </p:cNvSpPr>
            <p:nvPr/>
          </p:nvSpPr>
          <p:spPr bwMode="gray">
            <a:xfrm>
              <a:off x="9591734" y="3606065"/>
              <a:ext cx="70376" cy="84099"/>
            </a:xfrm>
            <a:custGeom>
              <a:avLst/>
              <a:gdLst/>
              <a:ahLst/>
              <a:cxnLst>
                <a:cxn ang="0">
                  <a:pos x="0" y="24"/>
                </a:cxn>
                <a:cxn ang="0">
                  <a:pos x="2" y="48"/>
                </a:cxn>
                <a:cxn ang="0">
                  <a:pos x="20" y="24"/>
                </a:cxn>
                <a:cxn ang="0">
                  <a:pos x="28" y="38"/>
                </a:cxn>
                <a:cxn ang="0">
                  <a:pos x="19" y="92"/>
                </a:cxn>
                <a:cxn ang="0">
                  <a:pos x="56" y="90"/>
                </a:cxn>
                <a:cxn ang="0">
                  <a:pos x="78" y="35"/>
                </a:cxn>
                <a:cxn ang="0">
                  <a:pos x="66" y="4"/>
                </a:cxn>
                <a:cxn ang="0">
                  <a:pos x="30" y="0"/>
                </a:cxn>
                <a:cxn ang="0">
                  <a:pos x="0" y="24"/>
                </a:cxn>
              </a:cxnLst>
              <a:rect l="0" t="0" r="r" b="b"/>
              <a:pathLst>
                <a:path w="78" h="92">
                  <a:moveTo>
                    <a:pt x="0" y="24"/>
                  </a:moveTo>
                  <a:lnTo>
                    <a:pt x="2" y="48"/>
                  </a:lnTo>
                  <a:lnTo>
                    <a:pt x="20" y="24"/>
                  </a:lnTo>
                  <a:lnTo>
                    <a:pt x="28" y="38"/>
                  </a:lnTo>
                  <a:lnTo>
                    <a:pt x="19" y="92"/>
                  </a:lnTo>
                  <a:lnTo>
                    <a:pt x="56" y="90"/>
                  </a:lnTo>
                  <a:lnTo>
                    <a:pt x="78" y="35"/>
                  </a:lnTo>
                  <a:lnTo>
                    <a:pt x="66" y="4"/>
                  </a:lnTo>
                  <a:lnTo>
                    <a:pt x="30" y="0"/>
                  </a:lnTo>
                  <a:lnTo>
                    <a:pt x="0" y="2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05" name="30476311.37562117.12521.1255">
              <a:extLst>
                <a:ext uri="{FF2B5EF4-FFF2-40B4-BE49-F238E27FC236}">
                  <a16:creationId xmlns:a16="http://schemas.microsoft.com/office/drawing/2014/main" id="{71E25B1C-951B-4D7B-8A0C-142C168BBD5F}"/>
                </a:ext>
              </a:extLst>
            </p:cNvPr>
            <p:cNvSpPr>
              <a:spLocks noChangeAspect="1"/>
            </p:cNvSpPr>
            <p:nvPr/>
          </p:nvSpPr>
          <p:spPr bwMode="gray">
            <a:xfrm>
              <a:off x="9627872" y="3341991"/>
              <a:ext cx="338557" cy="275847"/>
            </a:xfrm>
            <a:custGeom>
              <a:avLst/>
              <a:gdLst/>
              <a:ahLst/>
              <a:cxnLst>
                <a:cxn ang="0">
                  <a:pos x="0" y="285"/>
                </a:cxn>
                <a:cxn ang="0">
                  <a:pos x="68" y="229"/>
                </a:cxn>
                <a:cxn ang="0">
                  <a:pos x="163" y="229"/>
                </a:cxn>
                <a:cxn ang="0">
                  <a:pos x="201" y="160"/>
                </a:cxn>
                <a:cxn ang="0">
                  <a:pos x="218" y="155"/>
                </a:cxn>
                <a:cxn ang="0">
                  <a:pos x="219" y="181"/>
                </a:cxn>
                <a:cxn ang="0">
                  <a:pos x="262" y="155"/>
                </a:cxn>
                <a:cxn ang="0">
                  <a:pos x="299" y="102"/>
                </a:cxn>
                <a:cxn ang="0">
                  <a:pos x="315" y="16"/>
                </a:cxn>
                <a:cxn ang="0">
                  <a:pos x="344" y="20"/>
                </a:cxn>
                <a:cxn ang="0">
                  <a:pos x="334" y="0"/>
                </a:cxn>
                <a:cxn ang="0">
                  <a:pos x="354" y="2"/>
                </a:cxn>
                <a:cxn ang="0">
                  <a:pos x="377" y="73"/>
                </a:cxn>
                <a:cxn ang="0">
                  <a:pos x="344" y="124"/>
                </a:cxn>
                <a:cxn ang="0">
                  <a:pos x="344" y="171"/>
                </a:cxn>
                <a:cxn ang="0">
                  <a:pos x="321" y="240"/>
                </a:cxn>
                <a:cxn ang="0">
                  <a:pos x="304" y="249"/>
                </a:cxn>
                <a:cxn ang="0">
                  <a:pos x="303" y="223"/>
                </a:cxn>
                <a:cxn ang="0">
                  <a:pos x="248" y="262"/>
                </a:cxn>
                <a:cxn ang="0">
                  <a:pos x="201" y="245"/>
                </a:cxn>
                <a:cxn ang="0">
                  <a:pos x="204" y="277"/>
                </a:cxn>
                <a:cxn ang="0">
                  <a:pos x="164" y="303"/>
                </a:cxn>
                <a:cxn ang="0">
                  <a:pos x="153" y="259"/>
                </a:cxn>
                <a:cxn ang="0">
                  <a:pos x="0" y="285"/>
                </a:cxn>
              </a:cxnLst>
              <a:rect l="0" t="0" r="r" b="b"/>
              <a:pathLst>
                <a:path w="377" h="303">
                  <a:moveTo>
                    <a:pt x="0" y="285"/>
                  </a:moveTo>
                  <a:lnTo>
                    <a:pt x="68" y="229"/>
                  </a:lnTo>
                  <a:lnTo>
                    <a:pt x="163" y="229"/>
                  </a:lnTo>
                  <a:lnTo>
                    <a:pt x="201" y="160"/>
                  </a:lnTo>
                  <a:lnTo>
                    <a:pt x="218" y="155"/>
                  </a:lnTo>
                  <a:lnTo>
                    <a:pt x="219" y="181"/>
                  </a:lnTo>
                  <a:lnTo>
                    <a:pt x="262" y="155"/>
                  </a:lnTo>
                  <a:lnTo>
                    <a:pt x="299" y="102"/>
                  </a:lnTo>
                  <a:lnTo>
                    <a:pt x="315" y="16"/>
                  </a:lnTo>
                  <a:lnTo>
                    <a:pt x="344" y="20"/>
                  </a:lnTo>
                  <a:lnTo>
                    <a:pt x="334" y="0"/>
                  </a:lnTo>
                  <a:lnTo>
                    <a:pt x="354" y="2"/>
                  </a:lnTo>
                  <a:lnTo>
                    <a:pt x="377" y="73"/>
                  </a:lnTo>
                  <a:lnTo>
                    <a:pt x="344" y="124"/>
                  </a:lnTo>
                  <a:lnTo>
                    <a:pt x="344" y="171"/>
                  </a:lnTo>
                  <a:lnTo>
                    <a:pt x="321" y="240"/>
                  </a:lnTo>
                  <a:lnTo>
                    <a:pt x="304" y="249"/>
                  </a:lnTo>
                  <a:lnTo>
                    <a:pt x="303" y="223"/>
                  </a:lnTo>
                  <a:lnTo>
                    <a:pt x="248" y="262"/>
                  </a:lnTo>
                  <a:lnTo>
                    <a:pt x="201" y="245"/>
                  </a:lnTo>
                  <a:lnTo>
                    <a:pt x="204" y="277"/>
                  </a:lnTo>
                  <a:lnTo>
                    <a:pt x="164" y="303"/>
                  </a:lnTo>
                  <a:lnTo>
                    <a:pt x="153" y="259"/>
                  </a:lnTo>
                  <a:lnTo>
                    <a:pt x="0" y="28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06" name="30477327623.53.1254.3755">
              <a:extLst>
                <a:ext uri="{FF2B5EF4-FFF2-40B4-BE49-F238E27FC236}">
                  <a16:creationId xmlns:a16="http://schemas.microsoft.com/office/drawing/2014/main" id="{D428C6F1-5695-41F3-9575-CC0CA7481BB1}"/>
                </a:ext>
              </a:extLst>
            </p:cNvPr>
            <p:cNvSpPr>
              <a:spLocks noChangeAspect="1"/>
            </p:cNvSpPr>
            <p:nvPr/>
          </p:nvSpPr>
          <p:spPr bwMode="gray">
            <a:xfrm>
              <a:off x="9667816" y="3594290"/>
              <a:ext cx="70376" cy="50460"/>
            </a:xfrm>
            <a:custGeom>
              <a:avLst/>
              <a:gdLst/>
              <a:ahLst/>
              <a:cxnLst>
                <a:cxn ang="0">
                  <a:pos x="0" y="29"/>
                </a:cxn>
                <a:cxn ang="0">
                  <a:pos x="26" y="55"/>
                </a:cxn>
                <a:cxn ang="0">
                  <a:pos x="70" y="34"/>
                </a:cxn>
                <a:cxn ang="0">
                  <a:pos x="77" y="0"/>
                </a:cxn>
                <a:cxn ang="0">
                  <a:pos x="0" y="29"/>
                </a:cxn>
              </a:cxnLst>
              <a:rect l="0" t="0" r="r" b="b"/>
              <a:pathLst>
                <a:path w="77" h="55">
                  <a:moveTo>
                    <a:pt x="0" y="29"/>
                  </a:moveTo>
                  <a:lnTo>
                    <a:pt x="26" y="55"/>
                  </a:lnTo>
                  <a:lnTo>
                    <a:pt x="70" y="34"/>
                  </a:lnTo>
                  <a:lnTo>
                    <a:pt x="77" y="0"/>
                  </a:lnTo>
                  <a:lnTo>
                    <a:pt x="0" y="2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07" name="30478302.256389.125115">
              <a:extLst>
                <a:ext uri="{FF2B5EF4-FFF2-40B4-BE49-F238E27FC236}">
                  <a16:creationId xmlns:a16="http://schemas.microsoft.com/office/drawing/2014/main" id="{E7EBBFD8-9329-4359-A4D1-E2C330B0ABEC}"/>
                </a:ext>
              </a:extLst>
            </p:cNvPr>
            <p:cNvSpPr>
              <a:spLocks noChangeAspect="1"/>
            </p:cNvSpPr>
            <p:nvPr/>
          </p:nvSpPr>
          <p:spPr bwMode="gray">
            <a:xfrm>
              <a:off x="9899858" y="3193976"/>
              <a:ext cx="176887" cy="148015"/>
            </a:xfrm>
            <a:custGeom>
              <a:avLst/>
              <a:gdLst/>
              <a:ahLst/>
              <a:cxnLst>
                <a:cxn ang="0">
                  <a:pos x="0" y="116"/>
                </a:cxn>
                <a:cxn ang="0">
                  <a:pos x="8" y="162"/>
                </a:cxn>
                <a:cxn ang="0">
                  <a:pos x="42" y="145"/>
                </a:cxn>
                <a:cxn ang="0">
                  <a:pos x="19" y="117"/>
                </a:cxn>
                <a:cxn ang="0">
                  <a:pos x="113" y="142"/>
                </a:cxn>
                <a:cxn ang="0">
                  <a:pos x="135" y="103"/>
                </a:cxn>
                <a:cxn ang="0">
                  <a:pos x="195" y="91"/>
                </a:cxn>
                <a:cxn ang="0">
                  <a:pos x="174" y="66"/>
                </a:cxn>
                <a:cxn ang="0">
                  <a:pos x="181" y="44"/>
                </a:cxn>
                <a:cxn ang="0">
                  <a:pos x="129" y="48"/>
                </a:cxn>
                <a:cxn ang="0">
                  <a:pos x="67" y="0"/>
                </a:cxn>
                <a:cxn ang="0">
                  <a:pos x="45" y="92"/>
                </a:cxn>
                <a:cxn ang="0">
                  <a:pos x="18" y="87"/>
                </a:cxn>
                <a:cxn ang="0">
                  <a:pos x="0" y="116"/>
                </a:cxn>
              </a:cxnLst>
              <a:rect l="0" t="0" r="r" b="b"/>
              <a:pathLst>
                <a:path w="195" h="162">
                  <a:moveTo>
                    <a:pt x="0" y="116"/>
                  </a:moveTo>
                  <a:lnTo>
                    <a:pt x="8" y="162"/>
                  </a:lnTo>
                  <a:lnTo>
                    <a:pt x="42" y="145"/>
                  </a:lnTo>
                  <a:lnTo>
                    <a:pt x="19" y="117"/>
                  </a:lnTo>
                  <a:lnTo>
                    <a:pt x="113" y="142"/>
                  </a:lnTo>
                  <a:lnTo>
                    <a:pt x="135" y="103"/>
                  </a:lnTo>
                  <a:lnTo>
                    <a:pt x="195" y="91"/>
                  </a:lnTo>
                  <a:lnTo>
                    <a:pt x="174" y="66"/>
                  </a:lnTo>
                  <a:lnTo>
                    <a:pt x="181" y="44"/>
                  </a:lnTo>
                  <a:lnTo>
                    <a:pt x="129" y="48"/>
                  </a:lnTo>
                  <a:lnTo>
                    <a:pt x="67" y="0"/>
                  </a:lnTo>
                  <a:lnTo>
                    <a:pt x="45" y="92"/>
                  </a:lnTo>
                  <a:lnTo>
                    <a:pt x="18" y="87"/>
                  </a:lnTo>
                  <a:lnTo>
                    <a:pt x="0" y="116"/>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08" name="30479308.125608.511.375125">
              <a:extLst>
                <a:ext uri="{FF2B5EF4-FFF2-40B4-BE49-F238E27FC236}">
                  <a16:creationId xmlns:a16="http://schemas.microsoft.com/office/drawing/2014/main" id="{CFED8D77-AE1E-437F-91D8-491B64ED0BBC}"/>
                </a:ext>
              </a:extLst>
            </p:cNvPr>
            <p:cNvSpPr>
              <a:spLocks noChangeAspect="1"/>
            </p:cNvSpPr>
            <p:nvPr/>
          </p:nvSpPr>
          <p:spPr bwMode="gray">
            <a:xfrm>
              <a:off x="9428159" y="3288166"/>
              <a:ext cx="192103" cy="185018"/>
            </a:xfrm>
            <a:custGeom>
              <a:avLst/>
              <a:gdLst/>
              <a:ahLst/>
              <a:cxnLst>
                <a:cxn ang="0">
                  <a:pos x="0" y="116"/>
                </a:cxn>
                <a:cxn ang="0">
                  <a:pos x="38" y="132"/>
                </a:cxn>
                <a:cxn ang="0">
                  <a:pos x="14" y="191"/>
                </a:cxn>
                <a:cxn ang="0">
                  <a:pos x="74" y="204"/>
                </a:cxn>
                <a:cxn ang="0">
                  <a:pos x="136" y="169"/>
                </a:cxn>
                <a:cxn ang="0">
                  <a:pos x="107" y="121"/>
                </a:cxn>
                <a:cxn ang="0">
                  <a:pos x="179" y="79"/>
                </a:cxn>
                <a:cxn ang="0">
                  <a:pos x="212" y="20"/>
                </a:cxn>
                <a:cxn ang="0">
                  <a:pos x="207" y="11"/>
                </a:cxn>
                <a:cxn ang="0">
                  <a:pos x="194" y="0"/>
                </a:cxn>
                <a:cxn ang="0">
                  <a:pos x="131" y="39"/>
                </a:cxn>
                <a:cxn ang="0">
                  <a:pos x="131" y="61"/>
                </a:cxn>
                <a:cxn ang="0">
                  <a:pos x="85" y="54"/>
                </a:cxn>
                <a:cxn ang="0">
                  <a:pos x="0" y="116"/>
                </a:cxn>
              </a:cxnLst>
              <a:rect l="0" t="0" r="r" b="b"/>
              <a:pathLst>
                <a:path w="212" h="204">
                  <a:moveTo>
                    <a:pt x="0" y="116"/>
                  </a:moveTo>
                  <a:lnTo>
                    <a:pt x="38" y="132"/>
                  </a:lnTo>
                  <a:lnTo>
                    <a:pt x="14" y="191"/>
                  </a:lnTo>
                  <a:lnTo>
                    <a:pt x="74" y="204"/>
                  </a:lnTo>
                  <a:lnTo>
                    <a:pt x="136" y="169"/>
                  </a:lnTo>
                  <a:lnTo>
                    <a:pt x="107" y="121"/>
                  </a:lnTo>
                  <a:lnTo>
                    <a:pt x="179" y="79"/>
                  </a:lnTo>
                  <a:lnTo>
                    <a:pt x="212" y="20"/>
                  </a:lnTo>
                  <a:lnTo>
                    <a:pt x="207" y="11"/>
                  </a:lnTo>
                  <a:lnTo>
                    <a:pt x="194" y="0"/>
                  </a:lnTo>
                  <a:lnTo>
                    <a:pt x="131" y="39"/>
                  </a:lnTo>
                  <a:lnTo>
                    <a:pt x="131" y="61"/>
                  </a:lnTo>
                  <a:lnTo>
                    <a:pt x="85" y="54"/>
                  </a:lnTo>
                  <a:lnTo>
                    <a:pt x="0" y="116"/>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09" name="30480350.625563.2515.87513.55">
              <a:extLst>
                <a:ext uri="{FF2B5EF4-FFF2-40B4-BE49-F238E27FC236}">
                  <a16:creationId xmlns:a16="http://schemas.microsoft.com/office/drawing/2014/main" id="{68E15568-8B08-4E08-A8BB-DDAEF639E18F}"/>
                </a:ext>
              </a:extLst>
            </p:cNvPr>
            <p:cNvSpPr>
              <a:spLocks noChangeAspect="1"/>
            </p:cNvSpPr>
            <p:nvPr/>
          </p:nvSpPr>
          <p:spPr bwMode="gray">
            <a:xfrm>
              <a:off x="8703496" y="3977783"/>
              <a:ext cx="214926" cy="255664"/>
            </a:xfrm>
            <a:custGeom>
              <a:avLst/>
              <a:gdLst/>
              <a:ahLst/>
              <a:cxnLst>
                <a:cxn ang="0">
                  <a:pos x="0" y="60"/>
                </a:cxn>
                <a:cxn ang="0">
                  <a:pos x="32" y="100"/>
                </a:cxn>
                <a:cxn ang="0">
                  <a:pos x="22" y="169"/>
                </a:cxn>
                <a:cxn ang="0">
                  <a:pos x="107" y="139"/>
                </a:cxn>
                <a:cxn ang="0">
                  <a:pos x="143" y="169"/>
                </a:cxn>
                <a:cxn ang="0">
                  <a:pos x="175" y="236"/>
                </a:cxn>
                <a:cxn ang="0">
                  <a:pos x="164" y="279"/>
                </a:cxn>
                <a:cxn ang="0">
                  <a:pos x="239" y="267"/>
                </a:cxn>
                <a:cxn ang="0">
                  <a:pos x="203" y="177"/>
                </a:cxn>
                <a:cxn ang="0">
                  <a:pos x="122" y="111"/>
                </a:cxn>
                <a:cxn ang="0">
                  <a:pos x="144" y="73"/>
                </a:cxn>
                <a:cxn ang="0">
                  <a:pos x="99" y="52"/>
                </a:cxn>
                <a:cxn ang="0">
                  <a:pos x="65" y="0"/>
                </a:cxn>
                <a:cxn ang="0">
                  <a:pos x="44" y="1"/>
                </a:cxn>
                <a:cxn ang="0">
                  <a:pos x="47" y="38"/>
                </a:cxn>
                <a:cxn ang="0">
                  <a:pos x="32" y="29"/>
                </a:cxn>
                <a:cxn ang="0">
                  <a:pos x="0" y="60"/>
                </a:cxn>
              </a:cxnLst>
              <a:rect l="0" t="0" r="r" b="b"/>
              <a:pathLst>
                <a:path w="239" h="279">
                  <a:moveTo>
                    <a:pt x="0" y="60"/>
                  </a:moveTo>
                  <a:lnTo>
                    <a:pt x="32" y="100"/>
                  </a:lnTo>
                  <a:lnTo>
                    <a:pt x="22" y="169"/>
                  </a:lnTo>
                  <a:lnTo>
                    <a:pt x="107" y="139"/>
                  </a:lnTo>
                  <a:lnTo>
                    <a:pt x="143" y="169"/>
                  </a:lnTo>
                  <a:lnTo>
                    <a:pt x="175" y="236"/>
                  </a:lnTo>
                  <a:lnTo>
                    <a:pt x="164" y="279"/>
                  </a:lnTo>
                  <a:lnTo>
                    <a:pt x="239" y="267"/>
                  </a:lnTo>
                  <a:lnTo>
                    <a:pt x="203" y="177"/>
                  </a:lnTo>
                  <a:lnTo>
                    <a:pt x="122" y="111"/>
                  </a:lnTo>
                  <a:lnTo>
                    <a:pt x="144" y="73"/>
                  </a:lnTo>
                  <a:lnTo>
                    <a:pt x="99" y="52"/>
                  </a:lnTo>
                  <a:lnTo>
                    <a:pt x="65" y="0"/>
                  </a:lnTo>
                  <a:lnTo>
                    <a:pt x="44" y="1"/>
                  </a:lnTo>
                  <a:lnTo>
                    <a:pt x="47" y="38"/>
                  </a:lnTo>
                  <a:lnTo>
                    <a:pt x="32" y="29"/>
                  </a:lnTo>
                  <a:lnTo>
                    <a:pt x="0" y="6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10" name="30481291385.1251.3750.8755">
              <a:extLst>
                <a:ext uri="{FF2B5EF4-FFF2-40B4-BE49-F238E27FC236}">
                  <a16:creationId xmlns:a16="http://schemas.microsoft.com/office/drawing/2014/main" id="{A9B5E327-3109-4644-B208-C2C63FAF1CE3}"/>
                </a:ext>
              </a:extLst>
            </p:cNvPr>
            <p:cNvSpPr>
              <a:spLocks noChangeAspect="1"/>
            </p:cNvSpPr>
            <p:nvPr/>
          </p:nvSpPr>
          <p:spPr bwMode="gray">
            <a:xfrm>
              <a:off x="5848583" y="3012319"/>
              <a:ext cx="13316" cy="20183"/>
            </a:xfrm>
            <a:custGeom>
              <a:avLst/>
              <a:gdLst/>
              <a:ahLst/>
              <a:cxnLst>
                <a:cxn ang="0">
                  <a:pos x="0" y="22"/>
                </a:cxn>
                <a:cxn ang="0">
                  <a:pos x="13" y="0"/>
                </a:cxn>
                <a:cxn ang="0">
                  <a:pos x="17" y="28"/>
                </a:cxn>
                <a:cxn ang="0">
                  <a:pos x="0" y="22"/>
                </a:cxn>
              </a:cxnLst>
              <a:rect l="0" t="0" r="r" b="b"/>
              <a:pathLst>
                <a:path w="17" h="28">
                  <a:moveTo>
                    <a:pt x="0" y="22"/>
                  </a:moveTo>
                  <a:lnTo>
                    <a:pt x="13" y="0"/>
                  </a:lnTo>
                  <a:lnTo>
                    <a:pt x="17" y="28"/>
                  </a:lnTo>
                  <a:lnTo>
                    <a:pt x="0" y="22"/>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11" name="30483285.875539.752559.6255">
              <a:extLst>
                <a:ext uri="{FF2B5EF4-FFF2-40B4-BE49-F238E27FC236}">
                  <a16:creationId xmlns:a16="http://schemas.microsoft.com/office/drawing/2014/main" id="{8CBCC3FD-EBFF-42FB-81C1-7F3A081ED76C}"/>
                </a:ext>
              </a:extLst>
            </p:cNvPr>
            <p:cNvSpPr>
              <a:spLocks noChangeAspect="1"/>
            </p:cNvSpPr>
            <p:nvPr/>
          </p:nvSpPr>
          <p:spPr bwMode="gray">
            <a:xfrm>
              <a:off x="8326900" y="2928220"/>
              <a:ext cx="954809" cy="405360"/>
            </a:xfrm>
            <a:custGeom>
              <a:avLst/>
              <a:gdLst/>
              <a:ahLst/>
              <a:cxnLst>
                <a:cxn ang="0">
                  <a:pos x="0" y="139"/>
                </a:cxn>
                <a:cxn ang="0">
                  <a:pos x="34" y="184"/>
                </a:cxn>
                <a:cxn ang="0">
                  <a:pos x="81" y="201"/>
                </a:cxn>
                <a:cxn ang="0">
                  <a:pos x="100" y="296"/>
                </a:cxn>
                <a:cxn ang="0">
                  <a:pos x="247" y="333"/>
                </a:cxn>
                <a:cxn ang="0">
                  <a:pos x="309" y="397"/>
                </a:cxn>
                <a:cxn ang="0">
                  <a:pos x="430" y="393"/>
                </a:cxn>
                <a:cxn ang="0">
                  <a:pos x="567" y="444"/>
                </a:cxn>
                <a:cxn ang="0">
                  <a:pos x="750" y="397"/>
                </a:cxn>
                <a:cxn ang="0">
                  <a:pos x="806" y="360"/>
                </a:cxn>
                <a:cxn ang="0">
                  <a:pos x="806" y="309"/>
                </a:cxn>
                <a:cxn ang="0">
                  <a:pos x="857" y="315"/>
                </a:cxn>
                <a:cxn ang="0">
                  <a:pos x="968" y="241"/>
                </a:cxn>
                <a:cxn ang="0">
                  <a:pos x="1058" y="236"/>
                </a:cxn>
                <a:cxn ang="0">
                  <a:pos x="1015" y="180"/>
                </a:cxn>
                <a:cxn ang="0">
                  <a:pos x="930" y="195"/>
                </a:cxn>
                <a:cxn ang="0">
                  <a:pos x="929" y="132"/>
                </a:cxn>
                <a:cxn ang="0">
                  <a:pos x="951" y="98"/>
                </a:cxn>
                <a:cxn ang="0">
                  <a:pos x="890" y="88"/>
                </a:cxn>
                <a:cxn ang="0">
                  <a:pos x="732" y="126"/>
                </a:cxn>
                <a:cxn ang="0">
                  <a:pos x="593" y="70"/>
                </a:cxn>
                <a:cxn ang="0">
                  <a:pos x="504" y="78"/>
                </a:cxn>
                <a:cxn ang="0">
                  <a:pos x="471" y="32"/>
                </a:cxn>
                <a:cxn ang="0">
                  <a:pos x="383" y="0"/>
                </a:cxn>
                <a:cxn ang="0">
                  <a:pos x="336" y="33"/>
                </a:cxn>
                <a:cxn ang="0">
                  <a:pos x="334" y="96"/>
                </a:cxn>
                <a:cxn ang="0">
                  <a:pos x="133" y="69"/>
                </a:cxn>
                <a:cxn ang="0">
                  <a:pos x="0" y="139"/>
                </a:cxn>
              </a:cxnLst>
              <a:rect l="0" t="0" r="r" b="b"/>
              <a:pathLst>
                <a:path w="1058" h="444">
                  <a:moveTo>
                    <a:pt x="0" y="139"/>
                  </a:moveTo>
                  <a:lnTo>
                    <a:pt x="34" y="184"/>
                  </a:lnTo>
                  <a:lnTo>
                    <a:pt x="81" y="201"/>
                  </a:lnTo>
                  <a:lnTo>
                    <a:pt x="100" y="296"/>
                  </a:lnTo>
                  <a:lnTo>
                    <a:pt x="247" y="333"/>
                  </a:lnTo>
                  <a:lnTo>
                    <a:pt x="309" y="397"/>
                  </a:lnTo>
                  <a:lnTo>
                    <a:pt x="430" y="393"/>
                  </a:lnTo>
                  <a:lnTo>
                    <a:pt x="567" y="444"/>
                  </a:lnTo>
                  <a:lnTo>
                    <a:pt x="750" y="397"/>
                  </a:lnTo>
                  <a:lnTo>
                    <a:pt x="806" y="360"/>
                  </a:lnTo>
                  <a:lnTo>
                    <a:pt x="806" y="309"/>
                  </a:lnTo>
                  <a:lnTo>
                    <a:pt x="857" y="315"/>
                  </a:lnTo>
                  <a:lnTo>
                    <a:pt x="968" y="241"/>
                  </a:lnTo>
                  <a:lnTo>
                    <a:pt x="1058" y="236"/>
                  </a:lnTo>
                  <a:lnTo>
                    <a:pt x="1015" y="180"/>
                  </a:lnTo>
                  <a:lnTo>
                    <a:pt x="930" y="195"/>
                  </a:lnTo>
                  <a:lnTo>
                    <a:pt x="929" y="132"/>
                  </a:lnTo>
                  <a:lnTo>
                    <a:pt x="951" y="98"/>
                  </a:lnTo>
                  <a:lnTo>
                    <a:pt x="890" y="88"/>
                  </a:lnTo>
                  <a:lnTo>
                    <a:pt x="732" y="126"/>
                  </a:lnTo>
                  <a:lnTo>
                    <a:pt x="593" y="70"/>
                  </a:lnTo>
                  <a:lnTo>
                    <a:pt x="504" y="78"/>
                  </a:lnTo>
                  <a:lnTo>
                    <a:pt x="471" y="32"/>
                  </a:lnTo>
                  <a:lnTo>
                    <a:pt x="383" y="0"/>
                  </a:lnTo>
                  <a:lnTo>
                    <a:pt x="336" y="33"/>
                  </a:lnTo>
                  <a:lnTo>
                    <a:pt x="334" y="96"/>
                  </a:lnTo>
                  <a:lnTo>
                    <a:pt x="133" y="69"/>
                  </a:lnTo>
                  <a:lnTo>
                    <a:pt x="0" y="13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12" name="30484345.75472.37516.37514.3755">
              <a:extLst>
                <a:ext uri="{FF2B5EF4-FFF2-40B4-BE49-F238E27FC236}">
                  <a16:creationId xmlns:a16="http://schemas.microsoft.com/office/drawing/2014/main" id="{7485638D-F472-48EF-9538-E2CF36112835}"/>
                </a:ext>
              </a:extLst>
            </p:cNvPr>
            <p:cNvSpPr>
              <a:spLocks noChangeAspect="1"/>
            </p:cNvSpPr>
            <p:nvPr/>
          </p:nvSpPr>
          <p:spPr bwMode="gray">
            <a:xfrm>
              <a:off x="7246559" y="3897049"/>
              <a:ext cx="228241" cy="265756"/>
            </a:xfrm>
            <a:custGeom>
              <a:avLst/>
              <a:gdLst/>
              <a:ahLst/>
              <a:cxnLst>
                <a:cxn ang="0">
                  <a:pos x="0" y="204"/>
                </a:cxn>
                <a:cxn ang="0">
                  <a:pos x="35" y="288"/>
                </a:cxn>
                <a:cxn ang="0">
                  <a:pos x="95" y="275"/>
                </a:cxn>
                <a:cxn ang="0">
                  <a:pos x="191" y="203"/>
                </a:cxn>
                <a:cxn ang="0">
                  <a:pos x="190" y="169"/>
                </a:cxn>
                <a:cxn ang="0">
                  <a:pos x="252" y="105"/>
                </a:cxn>
                <a:cxn ang="0">
                  <a:pos x="256" y="85"/>
                </a:cxn>
                <a:cxn ang="0">
                  <a:pos x="222" y="48"/>
                </a:cxn>
                <a:cxn ang="0">
                  <a:pos x="143" y="0"/>
                </a:cxn>
                <a:cxn ang="0">
                  <a:pos x="123" y="1"/>
                </a:cxn>
                <a:cxn ang="0">
                  <a:pos x="134" y="27"/>
                </a:cxn>
                <a:cxn ang="0">
                  <a:pos x="106" y="77"/>
                </a:cxn>
                <a:cxn ang="0">
                  <a:pos x="123" y="101"/>
                </a:cxn>
                <a:cxn ang="0">
                  <a:pos x="98" y="170"/>
                </a:cxn>
                <a:cxn ang="0">
                  <a:pos x="0" y="204"/>
                </a:cxn>
              </a:cxnLst>
              <a:rect l="0" t="0" r="r" b="b"/>
              <a:pathLst>
                <a:path w="256" h="288">
                  <a:moveTo>
                    <a:pt x="0" y="204"/>
                  </a:moveTo>
                  <a:lnTo>
                    <a:pt x="35" y="288"/>
                  </a:lnTo>
                  <a:lnTo>
                    <a:pt x="95" y="275"/>
                  </a:lnTo>
                  <a:lnTo>
                    <a:pt x="191" y="203"/>
                  </a:lnTo>
                  <a:lnTo>
                    <a:pt x="190" y="169"/>
                  </a:lnTo>
                  <a:lnTo>
                    <a:pt x="252" y="105"/>
                  </a:lnTo>
                  <a:lnTo>
                    <a:pt x="256" y="85"/>
                  </a:lnTo>
                  <a:lnTo>
                    <a:pt x="222" y="48"/>
                  </a:lnTo>
                  <a:lnTo>
                    <a:pt x="143" y="0"/>
                  </a:lnTo>
                  <a:lnTo>
                    <a:pt x="123" y="1"/>
                  </a:lnTo>
                  <a:lnTo>
                    <a:pt x="134" y="27"/>
                  </a:lnTo>
                  <a:lnTo>
                    <a:pt x="106" y="77"/>
                  </a:lnTo>
                  <a:lnTo>
                    <a:pt x="123" y="101"/>
                  </a:lnTo>
                  <a:lnTo>
                    <a:pt x="98" y="170"/>
                  </a:lnTo>
                  <a:lnTo>
                    <a:pt x="0" y="20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13" name="30485335.25525.1257.62515.1255">
              <a:extLst>
                <a:ext uri="{FF2B5EF4-FFF2-40B4-BE49-F238E27FC236}">
                  <a16:creationId xmlns:a16="http://schemas.microsoft.com/office/drawing/2014/main" id="{644496C7-3FD6-4827-925C-9C35B5363FA7}"/>
                </a:ext>
              </a:extLst>
            </p:cNvPr>
            <p:cNvSpPr>
              <a:spLocks noChangeAspect="1"/>
            </p:cNvSpPr>
            <p:nvPr/>
          </p:nvSpPr>
          <p:spPr bwMode="gray">
            <a:xfrm>
              <a:off x="8092953" y="3728849"/>
              <a:ext cx="239653" cy="124467"/>
            </a:xfrm>
            <a:custGeom>
              <a:avLst/>
              <a:gdLst/>
              <a:ahLst/>
              <a:cxnLst>
                <a:cxn ang="0">
                  <a:pos x="0" y="54"/>
                </a:cxn>
                <a:cxn ang="0">
                  <a:pos x="33" y="0"/>
                </a:cxn>
                <a:cxn ang="0">
                  <a:pos x="139" y="35"/>
                </a:cxn>
                <a:cxn ang="0">
                  <a:pos x="195" y="87"/>
                </a:cxn>
                <a:cxn ang="0">
                  <a:pos x="268" y="87"/>
                </a:cxn>
                <a:cxn ang="0">
                  <a:pos x="264" y="138"/>
                </a:cxn>
                <a:cxn ang="0">
                  <a:pos x="90" y="105"/>
                </a:cxn>
                <a:cxn ang="0">
                  <a:pos x="0" y="54"/>
                </a:cxn>
              </a:cxnLst>
              <a:rect l="0" t="0" r="r" b="b"/>
              <a:pathLst>
                <a:path w="268" h="138">
                  <a:moveTo>
                    <a:pt x="0" y="54"/>
                  </a:moveTo>
                  <a:lnTo>
                    <a:pt x="33" y="0"/>
                  </a:lnTo>
                  <a:lnTo>
                    <a:pt x="139" y="35"/>
                  </a:lnTo>
                  <a:lnTo>
                    <a:pt x="195" y="87"/>
                  </a:lnTo>
                  <a:lnTo>
                    <a:pt x="268" y="87"/>
                  </a:lnTo>
                  <a:lnTo>
                    <a:pt x="264" y="138"/>
                  </a:lnTo>
                  <a:lnTo>
                    <a:pt x="90" y="105"/>
                  </a:lnTo>
                  <a:lnTo>
                    <a:pt x="0" y="5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14" name="30486283.253816.256.8755">
              <a:extLst>
                <a:ext uri="{FF2B5EF4-FFF2-40B4-BE49-F238E27FC236}">
                  <a16:creationId xmlns:a16="http://schemas.microsoft.com/office/drawing/2014/main" id="{5264EE19-11F3-4F09-BD83-3910AE4E7E44}"/>
                </a:ext>
              </a:extLst>
            </p:cNvPr>
            <p:cNvSpPr>
              <a:spLocks noChangeAspect="1"/>
            </p:cNvSpPr>
            <p:nvPr/>
          </p:nvSpPr>
          <p:spPr bwMode="gray">
            <a:xfrm>
              <a:off x="5782016" y="2887851"/>
              <a:ext cx="110316" cy="100920"/>
            </a:xfrm>
            <a:custGeom>
              <a:avLst/>
              <a:gdLst/>
              <a:ahLst/>
              <a:cxnLst>
                <a:cxn ang="0">
                  <a:pos x="0" y="84"/>
                </a:cxn>
                <a:cxn ang="0">
                  <a:pos x="47" y="70"/>
                </a:cxn>
                <a:cxn ang="0">
                  <a:pos x="22" y="57"/>
                </a:cxn>
                <a:cxn ang="0">
                  <a:pos x="45" y="18"/>
                </a:cxn>
                <a:cxn ang="0">
                  <a:pos x="63" y="43"/>
                </a:cxn>
                <a:cxn ang="0">
                  <a:pos x="64" y="0"/>
                </a:cxn>
                <a:cxn ang="0">
                  <a:pos x="119" y="0"/>
                </a:cxn>
                <a:cxn ang="0">
                  <a:pos x="114" y="43"/>
                </a:cxn>
                <a:cxn ang="0">
                  <a:pos x="80" y="59"/>
                </a:cxn>
                <a:cxn ang="0">
                  <a:pos x="81" y="112"/>
                </a:cxn>
                <a:cxn ang="0">
                  <a:pos x="48" y="80"/>
                </a:cxn>
                <a:cxn ang="0">
                  <a:pos x="0" y="84"/>
                </a:cxn>
              </a:cxnLst>
              <a:rect l="0" t="0" r="r" b="b"/>
              <a:pathLst>
                <a:path w="119" h="112">
                  <a:moveTo>
                    <a:pt x="0" y="84"/>
                  </a:moveTo>
                  <a:lnTo>
                    <a:pt x="47" y="70"/>
                  </a:lnTo>
                  <a:lnTo>
                    <a:pt x="22" y="57"/>
                  </a:lnTo>
                  <a:lnTo>
                    <a:pt x="45" y="18"/>
                  </a:lnTo>
                  <a:lnTo>
                    <a:pt x="63" y="43"/>
                  </a:lnTo>
                  <a:lnTo>
                    <a:pt x="64" y="0"/>
                  </a:lnTo>
                  <a:lnTo>
                    <a:pt x="119" y="0"/>
                  </a:lnTo>
                  <a:lnTo>
                    <a:pt x="114" y="43"/>
                  </a:lnTo>
                  <a:lnTo>
                    <a:pt x="80" y="59"/>
                  </a:lnTo>
                  <a:lnTo>
                    <a:pt x="81" y="112"/>
                  </a:lnTo>
                  <a:lnTo>
                    <a:pt x="48" y="80"/>
                  </a:lnTo>
                  <a:lnTo>
                    <a:pt x="0" y="8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15" name="3048747468813.62514.55">
              <a:extLst>
                <a:ext uri="{FF2B5EF4-FFF2-40B4-BE49-F238E27FC236}">
                  <a16:creationId xmlns:a16="http://schemas.microsoft.com/office/drawing/2014/main" id="{3EB9829A-AA3C-476A-9522-BE6B99B2792B}"/>
                </a:ext>
              </a:extLst>
            </p:cNvPr>
            <p:cNvSpPr>
              <a:spLocks noChangeAspect="1"/>
            </p:cNvSpPr>
            <p:nvPr/>
          </p:nvSpPr>
          <p:spPr bwMode="gray">
            <a:xfrm>
              <a:off x="10702504" y="5975990"/>
              <a:ext cx="232046" cy="220341"/>
            </a:xfrm>
            <a:custGeom>
              <a:avLst/>
              <a:gdLst/>
              <a:ahLst/>
              <a:cxnLst>
                <a:cxn ang="0">
                  <a:pos x="0" y="212"/>
                </a:cxn>
                <a:cxn ang="0">
                  <a:pos x="54" y="138"/>
                </a:cxn>
                <a:cxn ang="0">
                  <a:pos x="147" y="83"/>
                </a:cxn>
                <a:cxn ang="0">
                  <a:pos x="194" y="0"/>
                </a:cxn>
                <a:cxn ang="0">
                  <a:pos x="223" y="25"/>
                </a:cxn>
                <a:cxn ang="0">
                  <a:pos x="254" y="14"/>
                </a:cxn>
                <a:cxn ang="0">
                  <a:pos x="257" y="43"/>
                </a:cxn>
                <a:cxn ang="0">
                  <a:pos x="209" y="101"/>
                </a:cxn>
                <a:cxn ang="0">
                  <a:pos x="220" y="127"/>
                </a:cxn>
                <a:cxn ang="0">
                  <a:pos x="165" y="137"/>
                </a:cxn>
                <a:cxn ang="0">
                  <a:pos x="139" y="218"/>
                </a:cxn>
                <a:cxn ang="0">
                  <a:pos x="83" y="243"/>
                </a:cxn>
                <a:cxn ang="0">
                  <a:pos x="0" y="212"/>
                </a:cxn>
              </a:cxnLst>
              <a:rect l="0" t="0" r="r" b="b"/>
              <a:pathLst>
                <a:path w="257" h="243">
                  <a:moveTo>
                    <a:pt x="0" y="212"/>
                  </a:moveTo>
                  <a:lnTo>
                    <a:pt x="54" y="138"/>
                  </a:lnTo>
                  <a:lnTo>
                    <a:pt x="147" y="83"/>
                  </a:lnTo>
                  <a:lnTo>
                    <a:pt x="194" y="0"/>
                  </a:lnTo>
                  <a:lnTo>
                    <a:pt x="223" y="25"/>
                  </a:lnTo>
                  <a:lnTo>
                    <a:pt x="254" y="14"/>
                  </a:lnTo>
                  <a:lnTo>
                    <a:pt x="257" y="43"/>
                  </a:lnTo>
                  <a:lnTo>
                    <a:pt x="209" y="101"/>
                  </a:lnTo>
                  <a:lnTo>
                    <a:pt x="220" y="127"/>
                  </a:lnTo>
                  <a:lnTo>
                    <a:pt x="165" y="137"/>
                  </a:lnTo>
                  <a:lnTo>
                    <a:pt x="139" y="218"/>
                  </a:lnTo>
                  <a:lnTo>
                    <a:pt x="83" y="243"/>
                  </a:lnTo>
                  <a:lnTo>
                    <a:pt x="0" y="212"/>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16" name="30488460.625699.515115">
              <a:extLst>
                <a:ext uri="{FF2B5EF4-FFF2-40B4-BE49-F238E27FC236}">
                  <a16:creationId xmlns:a16="http://schemas.microsoft.com/office/drawing/2014/main" id="{618E0E1C-2B38-46FB-8E49-A31DE913C1FC}"/>
                </a:ext>
              </a:extLst>
            </p:cNvPr>
            <p:cNvSpPr>
              <a:spLocks noChangeAspect="1"/>
            </p:cNvSpPr>
            <p:nvPr/>
          </p:nvSpPr>
          <p:spPr bwMode="gray">
            <a:xfrm>
              <a:off x="10887001" y="5759013"/>
              <a:ext cx="176887" cy="243889"/>
            </a:xfrm>
            <a:custGeom>
              <a:avLst/>
              <a:gdLst/>
              <a:ahLst/>
              <a:cxnLst>
                <a:cxn ang="0">
                  <a:pos x="0" y="0"/>
                </a:cxn>
                <a:cxn ang="0">
                  <a:pos x="53" y="30"/>
                </a:cxn>
                <a:cxn ang="0">
                  <a:pos x="67" y="89"/>
                </a:cxn>
                <a:cxn ang="0">
                  <a:pos x="90" y="105"/>
                </a:cxn>
                <a:cxn ang="0">
                  <a:pos x="104" y="81"/>
                </a:cxn>
                <a:cxn ang="0">
                  <a:pos x="115" y="121"/>
                </a:cxn>
                <a:cxn ang="0">
                  <a:pos x="193" y="121"/>
                </a:cxn>
                <a:cxn ang="0">
                  <a:pos x="177" y="180"/>
                </a:cxn>
                <a:cxn ang="0">
                  <a:pos x="138" y="188"/>
                </a:cxn>
                <a:cxn ang="0">
                  <a:pos x="105" y="265"/>
                </a:cxn>
                <a:cxn ang="0">
                  <a:pos x="68" y="266"/>
                </a:cxn>
                <a:cxn ang="0">
                  <a:pos x="85" y="239"/>
                </a:cxn>
                <a:cxn ang="0">
                  <a:pos x="37" y="184"/>
                </a:cxn>
                <a:cxn ang="0">
                  <a:pos x="75" y="136"/>
                </a:cxn>
                <a:cxn ang="0">
                  <a:pos x="68" y="96"/>
                </a:cxn>
                <a:cxn ang="0">
                  <a:pos x="0" y="0"/>
                </a:cxn>
              </a:cxnLst>
              <a:rect l="0" t="0" r="r" b="b"/>
              <a:pathLst>
                <a:path w="193" h="266">
                  <a:moveTo>
                    <a:pt x="0" y="0"/>
                  </a:moveTo>
                  <a:lnTo>
                    <a:pt x="53" y="30"/>
                  </a:lnTo>
                  <a:lnTo>
                    <a:pt x="67" y="89"/>
                  </a:lnTo>
                  <a:lnTo>
                    <a:pt x="90" y="105"/>
                  </a:lnTo>
                  <a:lnTo>
                    <a:pt x="104" y="81"/>
                  </a:lnTo>
                  <a:lnTo>
                    <a:pt x="115" y="121"/>
                  </a:lnTo>
                  <a:lnTo>
                    <a:pt x="193" y="121"/>
                  </a:lnTo>
                  <a:lnTo>
                    <a:pt x="177" y="180"/>
                  </a:lnTo>
                  <a:lnTo>
                    <a:pt x="138" y="188"/>
                  </a:lnTo>
                  <a:lnTo>
                    <a:pt x="105" y="265"/>
                  </a:lnTo>
                  <a:lnTo>
                    <a:pt x="68" y="266"/>
                  </a:lnTo>
                  <a:lnTo>
                    <a:pt x="85" y="239"/>
                  </a:lnTo>
                  <a:lnTo>
                    <a:pt x="37" y="184"/>
                  </a:lnTo>
                  <a:lnTo>
                    <a:pt x="75" y="136"/>
                  </a:lnTo>
                  <a:lnTo>
                    <a:pt x="68" y="96"/>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17" name="30490231.125383.87539.12548.755">
              <a:extLst>
                <a:ext uri="{FF2B5EF4-FFF2-40B4-BE49-F238E27FC236}">
                  <a16:creationId xmlns:a16="http://schemas.microsoft.com/office/drawing/2014/main" id="{EE460FA2-2A2A-4613-BAF7-F9A615D9AB7B}"/>
                </a:ext>
              </a:extLst>
            </p:cNvPr>
            <p:cNvSpPr>
              <a:spLocks noChangeAspect="1"/>
            </p:cNvSpPr>
            <p:nvPr/>
          </p:nvSpPr>
          <p:spPr bwMode="gray">
            <a:xfrm>
              <a:off x="5825761" y="2043493"/>
              <a:ext cx="781724" cy="632428"/>
            </a:xfrm>
            <a:custGeom>
              <a:avLst/>
              <a:gdLst/>
              <a:ahLst/>
              <a:cxnLst>
                <a:cxn ang="0">
                  <a:pos x="3" y="548"/>
                </a:cxn>
                <a:cxn ang="0">
                  <a:pos x="84" y="539"/>
                </a:cxn>
                <a:cxn ang="0">
                  <a:pos x="22" y="571"/>
                </a:cxn>
                <a:cxn ang="0">
                  <a:pos x="69" y="577"/>
                </a:cxn>
                <a:cxn ang="0">
                  <a:pos x="43" y="629"/>
                </a:cxn>
                <a:cxn ang="0">
                  <a:pos x="105" y="693"/>
                </a:cxn>
                <a:cxn ang="0">
                  <a:pos x="184" y="610"/>
                </a:cxn>
                <a:cxn ang="0">
                  <a:pos x="244" y="600"/>
                </a:cxn>
                <a:cxn ang="0">
                  <a:pos x="255" y="537"/>
                </a:cxn>
                <a:cxn ang="0">
                  <a:pos x="239" y="417"/>
                </a:cxn>
                <a:cxn ang="0">
                  <a:pos x="289" y="363"/>
                </a:cxn>
                <a:cxn ang="0">
                  <a:pos x="374" y="233"/>
                </a:cxn>
                <a:cxn ang="0">
                  <a:pos x="428" y="179"/>
                </a:cxn>
                <a:cxn ang="0">
                  <a:pos x="502" y="157"/>
                </a:cxn>
                <a:cxn ang="0">
                  <a:pos x="518" y="120"/>
                </a:cxn>
                <a:cxn ang="0">
                  <a:pos x="580" y="136"/>
                </a:cxn>
                <a:cxn ang="0">
                  <a:pos x="690" y="121"/>
                </a:cxn>
                <a:cxn ang="0">
                  <a:pos x="767" y="63"/>
                </a:cxn>
                <a:cxn ang="0">
                  <a:pos x="799" y="120"/>
                </a:cxn>
                <a:cxn ang="0">
                  <a:pos x="819" y="83"/>
                </a:cxn>
                <a:cxn ang="0">
                  <a:pos x="788" y="59"/>
                </a:cxn>
                <a:cxn ang="0">
                  <a:pos x="803" y="13"/>
                </a:cxn>
                <a:cxn ang="0">
                  <a:pos x="784" y="4"/>
                </a:cxn>
                <a:cxn ang="0">
                  <a:pos x="731" y="39"/>
                </a:cxn>
                <a:cxn ang="0">
                  <a:pos x="720" y="8"/>
                </a:cxn>
                <a:cxn ang="0">
                  <a:pos x="694" y="14"/>
                </a:cxn>
                <a:cxn ang="0">
                  <a:pos x="606" y="66"/>
                </a:cxn>
                <a:cxn ang="0">
                  <a:pos x="565" y="81"/>
                </a:cxn>
                <a:cxn ang="0">
                  <a:pos x="503" y="105"/>
                </a:cxn>
                <a:cxn ang="0">
                  <a:pos x="487" y="99"/>
                </a:cxn>
                <a:cxn ang="0">
                  <a:pos x="481" y="109"/>
                </a:cxn>
                <a:cxn ang="0">
                  <a:pos x="424" y="138"/>
                </a:cxn>
                <a:cxn ang="0">
                  <a:pos x="421" y="156"/>
                </a:cxn>
                <a:cxn ang="0">
                  <a:pos x="340" y="205"/>
                </a:cxn>
                <a:cxn ang="0">
                  <a:pos x="277" y="253"/>
                </a:cxn>
                <a:cxn ang="0">
                  <a:pos x="154" y="405"/>
                </a:cxn>
                <a:cxn ang="0">
                  <a:pos x="211" y="410"/>
                </a:cxn>
                <a:cxn ang="0">
                  <a:pos x="69" y="458"/>
                </a:cxn>
                <a:cxn ang="0">
                  <a:pos x="46" y="473"/>
                </a:cxn>
                <a:cxn ang="0">
                  <a:pos x="4" y="495"/>
                </a:cxn>
                <a:cxn ang="0">
                  <a:pos x="0" y="519"/>
                </a:cxn>
              </a:cxnLst>
              <a:rect l="0" t="0" r="r" b="b"/>
              <a:pathLst>
                <a:path w="863" h="693">
                  <a:moveTo>
                    <a:pt x="0" y="519"/>
                  </a:moveTo>
                  <a:lnTo>
                    <a:pt x="3" y="548"/>
                  </a:lnTo>
                  <a:lnTo>
                    <a:pt x="81" y="528"/>
                  </a:lnTo>
                  <a:lnTo>
                    <a:pt x="84" y="539"/>
                  </a:lnTo>
                  <a:lnTo>
                    <a:pt x="2" y="560"/>
                  </a:lnTo>
                  <a:lnTo>
                    <a:pt x="22" y="571"/>
                  </a:lnTo>
                  <a:lnTo>
                    <a:pt x="14" y="608"/>
                  </a:lnTo>
                  <a:lnTo>
                    <a:pt x="69" y="577"/>
                  </a:lnTo>
                  <a:lnTo>
                    <a:pt x="9" y="629"/>
                  </a:lnTo>
                  <a:lnTo>
                    <a:pt x="43" y="629"/>
                  </a:lnTo>
                  <a:lnTo>
                    <a:pt x="22" y="674"/>
                  </a:lnTo>
                  <a:lnTo>
                    <a:pt x="105" y="693"/>
                  </a:lnTo>
                  <a:lnTo>
                    <a:pt x="171" y="649"/>
                  </a:lnTo>
                  <a:lnTo>
                    <a:pt x="184" y="610"/>
                  </a:lnTo>
                  <a:lnTo>
                    <a:pt x="205" y="649"/>
                  </a:lnTo>
                  <a:lnTo>
                    <a:pt x="244" y="600"/>
                  </a:lnTo>
                  <a:lnTo>
                    <a:pt x="237" y="556"/>
                  </a:lnTo>
                  <a:lnTo>
                    <a:pt x="255" y="537"/>
                  </a:lnTo>
                  <a:lnTo>
                    <a:pt x="237" y="516"/>
                  </a:lnTo>
                  <a:lnTo>
                    <a:pt x="239" y="417"/>
                  </a:lnTo>
                  <a:lnTo>
                    <a:pt x="301" y="394"/>
                  </a:lnTo>
                  <a:lnTo>
                    <a:pt x="289" y="363"/>
                  </a:lnTo>
                  <a:lnTo>
                    <a:pt x="316" y="288"/>
                  </a:lnTo>
                  <a:lnTo>
                    <a:pt x="374" y="233"/>
                  </a:lnTo>
                  <a:lnTo>
                    <a:pt x="386" y="187"/>
                  </a:lnTo>
                  <a:lnTo>
                    <a:pt x="428" y="179"/>
                  </a:lnTo>
                  <a:lnTo>
                    <a:pt x="440" y="150"/>
                  </a:lnTo>
                  <a:lnTo>
                    <a:pt x="502" y="157"/>
                  </a:lnTo>
                  <a:lnTo>
                    <a:pt x="503" y="120"/>
                  </a:lnTo>
                  <a:lnTo>
                    <a:pt x="518" y="120"/>
                  </a:lnTo>
                  <a:lnTo>
                    <a:pt x="542" y="103"/>
                  </a:lnTo>
                  <a:lnTo>
                    <a:pt x="580" y="136"/>
                  </a:lnTo>
                  <a:lnTo>
                    <a:pt x="650" y="142"/>
                  </a:lnTo>
                  <a:lnTo>
                    <a:pt x="690" y="121"/>
                  </a:lnTo>
                  <a:lnTo>
                    <a:pt x="701" y="76"/>
                  </a:lnTo>
                  <a:lnTo>
                    <a:pt x="767" y="63"/>
                  </a:lnTo>
                  <a:lnTo>
                    <a:pt x="803" y="81"/>
                  </a:lnTo>
                  <a:lnTo>
                    <a:pt x="799" y="120"/>
                  </a:lnTo>
                  <a:lnTo>
                    <a:pt x="861" y="76"/>
                  </a:lnTo>
                  <a:lnTo>
                    <a:pt x="819" y="83"/>
                  </a:lnTo>
                  <a:lnTo>
                    <a:pt x="830" y="72"/>
                  </a:lnTo>
                  <a:lnTo>
                    <a:pt x="788" y="59"/>
                  </a:lnTo>
                  <a:lnTo>
                    <a:pt x="863" y="39"/>
                  </a:lnTo>
                  <a:lnTo>
                    <a:pt x="803" y="13"/>
                  </a:lnTo>
                  <a:lnTo>
                    <a:pt x="763" y="39"/>
                  </a:lnTo>
                  <a:lnTo>
                    <a:pt x="784" y="4"/>
                  </a:lnTo>
                  <a:lnTo>
                    <a:pt x="752" y="0"/>
                  </a:lnTo>
                  <a:lnTo>
                    <a:pt x="731" y="39"/>
                  </a:lnTo>
                  <a:lnTo>
                    <a:pt x="720" y="41"/>
                  </a:lnTo>
                  <a:lnTo>
                    <a:pt x="720" y="8"/>
                  </a:lnTo>
                  <a:lnTo>
                    <a:pt x="665" y="63"/>
                  </a:lnTo>
                  <a:lnTo>
                    <a:pt x="694" y="14"/>
                  </a:lnTo>
                  <a:lnTo>
                    <a:pt x="665" y="6"/>
                  </a:lnTo>
                  <a:lnTo>
                    <a:pt x="606" y="66"/>
                  </a:lnTo>
                  <a:lnTo>
                    <a:pt x="550" y="47"/>
                  </a:lnTo>
                  <a:lnTo>
                    <a:pt x="565" y="81"/>
                  </a:lnTo>
                  <a:lnTo>
                    <a:pt x="542" y="63"/>
                  </a:lnTo>
                  <a:lnTo>
                    <a:pt x="503" y="105"/>
                  </a:lnTo>
                  <a:lnTo>
                    <a:pt x="507" y="70"/>
                  </a:lnTo>
                  <a:lnTo>
                    <a:pt x="487" y="99"/>
                  </a:lnTo>
                  <a:lnTo>
                    <a:pt x="469" y="79"/>
                  </a:lnTo>
                  <a:lnTo>
                    <a:pt x="481" y="109"/>
                  </a:lnTo>
                  <a:lnTo>
                    <a:pt x="436" y="96"/>
                  </a:lnTo>
                  <a:lnTo>
                    <a:pt x="424" y="138"/>
                  </a:lnTo>
                  <a:lnTo>
                    <a:pt x="382" y="153"/>
                  </a:lnTo>
                  <a:lnTo>
                    <a:pt x="421" y="156"/>
                  </a:lnTo>
                  <a:lnTo>
                    <a:pt x="352" y="176"/>
                  </a:lnTo>
                  <a:lnTo>
                    <a:pt x="340" y="205"/>
                  </a:lnTo>
                  <a:lnTo>
                    <a:pt x="360" y="205"/>
                  </a:lnTo>
                  <a:lnTo>
                    <a:pt x="277" y="253"/>
                  </a:lnTo>
                  <a:lnTo>
                    <a:pt x="245" y="336"/>
                  </a:lnTo>
                  <a:lnTo>
                    <a:pt x="154" y="405"/>
                  </a:lnTo>
                  <a:lnTo>
                    <a:pt x="171" y="422"/>
                  </a:lnTo>
                  <a:lnTo>
                    <a:pt x="211" y="410"/>
                  </a:lnTo>
                  <a:lnTo>
                    <a:pt x="118" y="431"/>
                  </a:lnTo>
                  <a:lnTo>
                    <a:pt x="69" y="458"/>
                  </a:lnTo>
                  <a:lnTo>
                    <a:pt x="81" y="473"/>
                  </a:lnTo>
                  <a:lnTo>
                    <a:pt x="46" y="473"/>
                  </a:lnTo>
                  <a:lnTo>
                    <a:pt x="48" y="495"/>
                  </a:lnTo>
                  <a:lnTo>
                    <a:pt x="4" y="495"/>
                  </a:lnTo>
                  <a:lnTo>
                    <a:pt x="46" y="506"/>
                  </a:lnTo>
                  <a:lnTo>
                    <a:pt x="0" y="51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18" name="30492398.25640.2514.62518.6255">
              <a:extLst>
                <a:ext uri="{FF2B5EF4-FFF2-40B4-BE49-F238E27FC236}">
                  <a16:creationId xmlns:a16="http://schemas.microsoft.com/office/drawing/2014/main" id="{4F7AB43B-62FA-48BF-B078-4014D40FFF50}"/>
                </a:ext>
              </a:extLst>
            </p:cNvPr>
            <p:cNvSpPr>
              <a:spLocks noChangeAspect="1"/>
            </p:cNvSpPr>
            <p:nvPr/>
          </p:nvSpPr>
          <p:spPr bwMode="gray">
            <a:xfrm>
              <a:off x="9937897" y="4748138"/>
              <a:ext cx="296713" cy="237163"/>
            </a:xfrm>
            <a:custGeom>
              <a:avLst/>
              <a:gdLst/>
              <a:ahLst/>
              <a:cxnLst>
                <a:cxn ang="0">
                  <a:pos x="0" y="0"/>
                </a:cxn>
                <a:cxn ang="0">
                  <a:pos x="5" y="216"/>
                </a:cxn>
                <a:cxn ang="0">
                  <a:pos x="59" y="223"/>
                </a:cxn>
                <a:cxn ang="0">
                  <a:pos x="112" y="164"/>
                </a:cxn>
                <a:cxn ang="0">
                  <a:pos x="171" y="190"/>
                </a:cxn>
                <a:cxn ang="0">
                  <a:pos x="226" y="248"/>
                </a:cxn>
                <a:cxn ang="0">
                  <a:pos x="331" y="259"/>
                </a:cxn>
                <a:cxn ang="0">
                  <a:pos x="211" y="162"/>
                </a:cxn>
                <a:cxn ang="0">
                  <a:pos x="220" y="116"/>
                </a:cxn>
                <a:cxn ang="0">
                  <a:pos x="163" y="99"/>
                </a:cxn>
                <a:cxn ang="0">
                  <a:pos x="111" y="40"/>
                </a:cxn>
                <a:cxn ang="0">
                  <a:pos x="0" y="0"/>
                </a:cxn>
              </a:cxnLst>
              <a:rect l="0" t="0" r="r" b="b"/>
              <a:pathLst>
                <a:path w="331" h="259">
                  <a:moveTo>
                    <a:pt x="0" y="0"/>
                  </a:moveTo>
                  <a:lnTo>
                    <a:pt x="5" y="216"/>
                  </a:lnTo>
                  <a:lnTo>
                    <a:pt x="59" y="223"/>
                  </a:lnTo>
                  <a:lnTo>
                    <a:pt x="112" y="164"/>
                  </a:lnTo>
                  <a:lnTo>
                    <a:pt x="171" y="190"/>
                  </a:lnTo>
                  <a:lnTo>
                    <a:pt x="226" y="248"/>
                  </a:lnTo>
                  <a:lnTo>
                    <a:pt x="331" y="259"/>
                  </a:lnTo>
                  <a:lnTo>
                    <a:pt x="211" y="162"/>
                  </a:lnTo>
                  <a:lnTo>
                    <a:pt x="220" y="116"/>
                  </a:lnTo>
                  <a:lnTo>
                    <a:pt x="163" y="99"/>
                  </a:lnTo>
                  <a:lnTo>
                    <a:pt x="111" y="40"/>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19" name="30493401.375653.8753.757.755">
              <a:extLst>
                <a:ext uri="{FF2B5EF4-FFF2-40B4-BE49-F238E27FC236}">
                  <a16:creationId xmlns:a16="http://schemas.microsoft.com/office/drawing/2014/main" id="{98551BC6-9241-434F-AE5A-5DD2C527923A}"/>
                </a:ext>
              </a:extLst>
            </p:cNvPr>
            <p:cNvSpPr>
              <a:spLocks noChangeAspect="1"/>
            </p:cNvSpPr>
            <p:nvPr/>
          </p:nvSpPr>
          <p:spPr bwMode="gray">
            <a:xfrm>
              <a:off x="10156632" y="4798598"/>
              <a:ext cx="123631" cy="62235"/>
            </a:xfrm>
            <a:custGeom>
              <a:avLst/>
              <a:gdLst/>
              <a:ahLst/>
              <a:cxnLst>
                <a:cxn ang="0">
                  <a:pos x="0" y="44"/>
                </a:cxn>
                <a:cxn ang="0">
                  <a:pos x="81" y="67"/>
                </a:cxn>
                <a:cxn ang="0">
                  <a:pos x="137" y="21"/>
                </a:cxn>
                <a:cxn ang="0">
                  <a:pos x="115" y="0"/>
                </a:cxn>
                <a:cxn ang="0">
                  <a:pos x="97" y="26"/>
                </a:cxn>
                <a:cxn ang="0">
                  <a:pos x="0" y="44"/>
                </a:cxn>
              </a:cxnLst>
              <a:rect l="0" t="0" r="r" b="b"/>
              <a:pathLst>
                <a:path w="137" h="67">
                  <a:moveTo>
                    <a:pt x="0" y="44"/>
                  </a:moveTo>
                  <a:lnTo>
                    <a:pt x="81" y="67"/>
                  </a:lnTo>
                  <a:lnTo>
                    <a:pt x="137" y="21"/>
                  </a:lnTo>
                  <a:lnTo>
                    <a:pt x="115" y="0"/>
                  </a:lnTo>
                  <a:lnTo>
                    <a:pt x="97" y="26"/>
                  </a:lnTo>
                  <a:lnTo>
                    <a:pt x="0" y="4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20" name="30494398.5658.6253.754.1255">
              <a:extLst>
                <a:ext uri="{FF2B5EF4-FFF2-40B4-BE49-F238E27FC236}">
                  <a16:creationId xmlns:a16="http://schemas.microsoft.com/office/drawing/2014/main" id="{E8BFF6F0-E93D-4732-B98C-6EEE7C2FFAB2}"/>
                </a:ext>
              </a:extLst>
            </p:cNvPr>
            <p:cNvSpPr>
              <a:spLocks noChangeAspect="1"/>
            </p:cNvSpPr>
            <p:nvPr/>
          </p:nvSpPr>
          <p:spPr bwMode="gray">
            <a:xfrm>
              <a:off x="10232709" y="4753183"/>
              <a:ext cx="64667" cy="60551"/>
            </a:xfrm>
            <a:custGeom>
              <a:avLst/>
              <a:gdLst/>
              <a:ahLst/>
              <a:cxnLst>
                <a:cxn ang="0">
                  <a:pos x="0" y="0"/>
                </a:cxn>
                <a:cxn ang="0">
                  <a:pos x="55" y="30"/>
                </a:cxn>
                <a:cxn ang="0">
                  <a:pos x="73" y="66"/>
                </a:cxn>
                <a:cxn ang="0">
                  <a:pos x="72" y="40"/>
                </a:cxn>
                <a:cxn ang="0">
                  <a:pos x="0" y="0"/>
                </a:cxn>
              </a:cxnLst>
              <a:rect l="0" t="0" r="r" b="b"/>
              <a:pathLst>
                <a:path w="73" h="66">
                  <a:moveTo>
                    <a:pt x="0" y="0"/>
                  </a:moveTo>
                  <a:lnTo>
                    <a:pt x="55" y="30"/>
                  </a:lnTo>
                  <a:lnTo>
                    <a:pt x="73" y="66"/>
                  </a:lnTo>
                  <a:lnTo>
                    <a:pt x="72" y="40"/>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21" name="30497310.37535710.565">
              <a:extLst>
                <a:ext uri="{FF2B5EF4-FFF2-40B4-BE49-F238E27FC236}">
                  <a16:creationId xmlns:a16="http://schemas.microsoft.com/office/drawing/2014/main" id="{3FAE9F11-331B-4F53-B0C7-F6426B64349D}"/>
                </a:ext>
              </a:extLst>
            </p:cNvPr>
            <p:cNvSpPr>
              <a:spLocks noChangeAspect="1"/>
            </p:cNvSpPr>
            <p:nvPr/>
          </p:nvSpPr>
          <p:spPr bwMode="gray">
            <a:xfrm>
              <a:off x="5395906" y="3323489"/>
              <a:ext cx="98904" cy="173246"/>
            </a:xfrm>
            <a:custGeom>
              <a:avLst/>
              <a:gdLst/>
              <a:ahLst/>
              <a:cxnLst>
                <a:cxn ang="0">
                  <a:pos x="0" y="121"/>
                </a:cxn>
                <a:cxn ang="0">
                  <a:pos x="18" y="0"/>
                </a:cxn>
                <a:cxn ang="0">
                  <a:pos x="104" y="8"/>
                </a:cxn>
                <a:cxn ang="0">
                  <a:pos x="66" y="85"/>
                </a:cxn>
                <a:cxn ang="0">
                  <a:pos x="66" y="180"/>
                </a:cxn>
                <a:cxn ang="0">
                  <a:pos x="15" y="185"/>
                </a:cxn>
                <a:cxn ang="0">
                  <a:pos x="22" y="127"/>
                </a:cxn>
                <a:cxn ang="0">
                  <a:pos x="0" y="121"/>
                </a:cxn>
              </a:cxnLst>
              <a:rect l="0" t="0" r="r" b="b"/>
              <a:pathLst>
                <a:path w="104" h="185">
                  <a:moveTo>
                    <a:pt x="0" y="121"/>
                  </a:moveTo>
                  <a:lnTo>
                    <a:pt x="18" y="0"/>
                  </a:lnTo>
                  <a:lnTo>
                    <a:pt x="104" y="8"/>
                  </a:lnTo>
                  <a:lnTo>
                    <a:pt x="66" y="85"/>
                  </a:lnTo>
                  <a:lnTo>
                    <a:pt x="66" y="180"/>
                  </a:lnTo>
                  <a:lnTo>
                    <a:pt x="15" y="185"/>
                  </a:lnTo>
                  <a:lnTo>
                    <a:pt x="22" y="127"/>
                  </a:lnTo>
                  <a:lnTo>
                    <a:pt x="0" y="121"/>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22" name="30498331.125439.62532.87539.6255">
              <a:extLst>
                <a:ext uri="{FF2B5EF4-FFF2-40B4-BE49-F238E27FC236}">
                  <a16:creationId xmlns:a16="http://schemas.microsoft.com/office/drawing/2014/main" id="{0F1FF8E5-2850-4178-A7CF-E2C75181FC74}"/>
                </a:ext>
              </a:extLst>
            </p:cNvPr>
            <p:cNvSpPr>
              <a:spLocks noChangeAspect="1"/>
            </p:cNvSpPr>
            <p:nvPr/>
          </p:nvSpPr>
          <p:spPr bwMode="gray">
            <a:xfrm>
              <a:off x="6721605" y="3663252"/>
              <a:ext cx="633369" cy="531511"/>
            </a:xfrm>
            <a:custGeom>
              <a:avLst/>
              <a:gdLst/>
              <a:ahLst/>
              <a:cxnLst>
                <a:cxn ang="0">
                  <a:pos x="0" y="153"/>
                </a:cxn>
                <a:cxn ang="0">
                  <a:pos x="10" y="102"/>
                </a:cxn>
                <a:cxn ang="0">
                  <a:pos x="47" y="113"/>
                </a:cxn>
                <a:cxn ang="0">
                  <a:pos x="92" y="81"/>
                </a:cxn>
                <a:cxn ang="0">
                  <a:pos x="112" y="59"/>
                </a:cxn>
                <a:cxn ang="0">
                  <a:pos x="75" y="25"/>
                </a:cxn>
                <a:cxn ang="0">
                  <a:pos x="150" y="0"/>
                </a:cxn>
                <a:cxn ang="0">
                  <a:pos x="300" y="67"/>
                </a:cxn>
                <a:cxn ang="0">
                  <a:pos x="301" y="92"/>
                </a:cxn>
                <a:cxn ang="0">
                  <a:pos x="337" y="108"/>
                </a:cxn>
                <a:cxn ang="0">
                  <a:pos x="369" y="125"/>
                </a:cxn>
                <a:cxn ang="0">
                  <a:pos x="398" y="113"/>
                </a:cxn>
                <a:cxn ang="0">
                  <a:pos x="458" y="132"/>
                </a:cxn>
                <a:cxn ang="0">
                  <a:pos x="539" y="265"/>
                </a:cxn>
                <a:cxn ang="0">
                  <a:pos x="549" y="275"/>
                </a:cxn>
                <a:cxn ang="0">
                  <a:pos x="580" y="327"/>
                </a:cxn>
                <a:cxn ang="0">
                  <a:pos x="686" y="340"/>
                </a:cxn>
                <a:cxn ang="0">
                  <a:pos x="703" y="364"/>
                </a:cxn>
                <a:cxn ang="0">
                  <a:pos x="678" y="433"/>
                </a:cxn>
                <a:cxn ang="0">
                  <a:pos x="580" y="467"/>
                </a:cxn>
                <a:cxn ang="0">
                  <a:pos x="473" y="491"/>
                </a:cxn>
                <a:cxn ang="0">
                  <a:pos x="388" y="584"/>
                </a:cxn>
                <a:cxn ang="0">
                  <a:pos x="388" y="549"/>
                </a:cxn>
                <a:cxn ang="0">
                  <a:pos x="327" y="525"/>
                </a:cxn>
                <a:cxn ang="0">
                  <a:pos x="267" y="557"/>
                </a:cxn>
                <a:cxn ang="0">
                  <a:pos x="207" y="451"/>
                </a:cxn>
                <a:cxn ang="0">
                  <a:pos x="157" y="410"/>
                </a:cxn>
                <a:cxn ang="0">
                  <a:pos x="125" y="300"/>
                </a:cxn>
                <a:cxn ang="0">
                  <a:pos x="0" y="153"/>
                </a:cxn>
              </a:cxnLst>
              <a:rect l="0" t="0" r="r" b="b"/>
              <a:pathLst>
                <a:path w="703" h="584">
                  <a:moveTo>
                    <a:pt x="0" y="153"/>
                  </a:moveTo>
                  <a:lnTo>
                    <a:pt x="10" y="102"/>
                  </a:lnTo>
                  <a:lnTo>
                    <a:pt x="47" y="113"/>
                  </a:lnTo>
                  <a:lnTo>
                    <a:pt x="92" y="81"/>
                  </a:lnTo>
                  <a:lnTo>
                    <a:pt x="112" y="59"/>
                  </a:lnTo>
                  <a:lnTo>
                    <a:pt x="75" y="25"/>
                  </a:lnTo>
                  <a:lnTo>
                    <a:pt x="150" y="0"/>
                  </a:lnTo>
                  <a:lnTo>
                    <a:pt x="300" y="67"/>
                  </a:lnTo>
                  <a:lnTo>
                    <a:pt x="301" y="92"/>
                  </a:lnTo>
                  <a:lnTo>
                    <a:pt x="337" y="108"/>
                  </a:lnTo>
                  <a:lnTo>
                    <a:pt x="369" y="125"/>
                  </a:lnTo>
                  <a:lnTo>
                    <a:pt x="398" y="113"/>
                  </a:lnTo>
                  <a:lnTo>
                    <a:pt x="458" y="132"/>
                  </a:lnTo>
                  <a:lnTo>
                    <a:pt x="539" y="265"/>
                  </a:lnTo>
                  <a:lnTo>
                    <a:pt x="549" y="275"/>
                  </a:lnTo>
                  <a:lnTo>
                    <a:pt x="580" y="327"/>
                  </a:lnTo>
                  <a:lnTo>
                    <a:pt x="686" y="340"/>
                  </a:lnTo>
                  <a:lnTo>
                    <a:pt x="703" y="364"/>
                  </a:lnTo>
                  <a:lnTo>
                    <a:pt x="678" y="433"/>
                  </a:lnTo>
                  <a:lnTo>
                    <a:pt x="580" y="467"/>
                  </a:lnTo>
                  <a:lnTo>
                    <a:pt x="473" y="491"/>
                  </a:lnTo>
                  <a:lnTo>
                    <a:pt x="388" y="584"/>
                  </a:lnTo>
                  <a:lnTo>
                    <a:pt x="388" y="549"/>
                  </a:lnTo>
                  <a:lnTo>
                    <a:pt x="327" y="525"/>
                  </a:lnTo>
                  <a:lnTo>
                    <a:pt x="267" y="557"/>
                  </a:lnTo>
                  <a:lnTo>
                    <a:pt x="207" y="451"/>
                  </a:lnTo>
                  <a:lnTo>
                    <a:pt x="157" y="410"/>
                  </a:lnTo>
                  <a:lnTo>
                    <a:pt x="125" y="300"/>
                  </a:lnTo>
                  <a:lnTo>
                    <a:pt x="0" y="153"/>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23" name="30499206.625411.25103.25321.6255">
              <a:extLst>
                <a:ext uri="{FF2B5EF4-FFF2-40B4-BE49-F238E27FC236}">
                  <a16:creationId xmlns:a16="http://schemas.microsoft.com/office/drawing/2014/main" id="{216247B4-7687-4D3F-86C8-7459D85C2B12}"/>
                </a:ext>
              </a:extLst>
            </p:cNvPr>
            <p:cNvSpPr>
              <a:spLocks noChangeAspect="1"/>
            </p:cNvSpPr>
            <p:nvPr/>
          </p:nvSpPr>
          <p:spPr bwMode="gray">
            <a:xfrm>
              <a:off x="6267027" y="1644859"/>
              <a:ext cx="5154439" cy="1673584"/>
            </a:xfrm>
            <a:custGeom>
              <a:avLst/>
              <a:gdLst/>
              <a:ahLst/>
              <a:cxnLst>
                <a:cxn ang="0">
                  <a:pos x="93" y="1148"/>
                </a:cxn>
                <a:cxn ang="0">
                  <a:pos x="301" y="1001"/>
                </a:cxn>
                <a:cxn ang="0">
                  <a:pos x="298" y="591"/>
                </a:cxn>
                <a:cxn ang="0">
                  <a:pos x="541" y="545"/>
                </a:cxn>
                <a:cxn ang="0">
                  <a:pos x="598" y="844"/>
                </a:cxn>
                <a:cxn ang="0">
                  <a:pos x="672" y="747"/>
                </a:cxn>
                <a:cxn ang="0">
                  <a:pos x="846" y="645"/>
                </a:cxn>
                <a:cxn ang="0">
                  <a:pos x="1311" y="554"/>
                </a:cxn>
                <a:cxn ang="0">
                  <a:pos x="1652" y="567"/>
                </a:cxn>
                <a:cxn ang="0">
                  <a:pos x="1660" y="318"/>
                </a:cxn>
                <a:cxn ang="0">
                  <a:pos x="1784" y="629"/>
                </a:cxn>
                <a:cxn ang="0">
                  <a:pos x="1858" y="567"/>
                </a:cxn>
                <a:cxn ang="0">
                  <a:pos x="1938" y="567"/>
                </a:cxn>
                <a:cxn ang="0">
                  <a:pos x="1854" y="411"/>
                </a:cxn>
                <a:cxn ang="0">
                  <a:pos x="2123" y="399"/>
                </a:cxn>
                <a:cxn ang="0">
                  <a:pos x="2237" y="257"/>
                </a:cxn>
                <a:cxn ang="0">
                  <a:pos x="2542" y="107"/>
                </a:cxn>
                <a:cxn ang="0">
                  <a:pos x="2724" y="47"/>
                </a:cxn>
                <a:cxn ang="0">
                  <a:pos x="3143" y="124"/>
                </a:cxn>
                <a:cxn ang="0">
                  <a:pos x="2895" y="301"/>
                </a:cxn>
                <a:cxn ang="0">
                  <a:pos x="3172" y="304"/>
                </a:cxn>
                <a:cxn ang="0">
                  <a:pos x="3460" y="264"/>
                </a:cxn>
                <a:cxn ang="0">
                  <a:pos x="3868" y="399"/>
                </a:cxn>
                <a:cxn ang="0">
                  <a:pos x="4318" y="397"/>
                </a:cxn>
                <a:cxn ang="0">
                  <a:pos x="4766" y="514"/>
                </a:cxn>
                <a:cxn ang="0">
                  <a:pos x="5041" y="496"/>
                </a:cxn>
                <a:cxn ang="0">
                  <a:pos x="5579" y="678"/>
                </a:cxn>
                <a:cxn ang="0">
                  <a:pos x="5552" y="810"/>
                </a:cxn>
                <a:cxn ang="0">
                  <a:pos x="5376" y="708"/>
                </a:cxn>
                <a:cxn ang="0">
                  <a:pos x="5321" y="917"/>
                </a:cxn>
                <a:cxn ang="0">
                  <a:pos x="4890" y="1011"/>
                </a:cxn>
                <a:cxn ang="0">
                  <a:pos x="4762" y="1214"/>
                </a:cxn>
                <a:cxn ang="0">
                  <a:pos x="4582" y="1462"/>
                </a:cxn>
                <a:cxn ang="0">
                  <a:pos x="4826" y="926"/>
                </a:cxn>
                <a:cxn ang="0">
                  <a:pos x="4492" y="1044"/>
                </a:cxn>
                <a:cxn ang="0">
                  <a:pos x="4106" y="1078"/>
                </a:cxn>
                <a:cxn ang="0">
                  <a:pos x="3965" y="1344"/>
                </a:cxn>
                <a:cxn ang="0">
                  <a:pos x="4035" y="1469"/>
                </a:cxn>
                <a:cxn ang="0">
                  <a:pos x="3727" y="1776"/>
                </a:cxn>
                <a:cxn ang="0">
                  <a:pos x="3540" y="1370"/>
                </a:cxn>
                <a:cxn ang="0">
                  <a:pos x="3166" y="1491"/>
                </a:cxn>
                <a:cxn ang="0">
                  <a:pos x="2610" y="1499"/>
                </a:cxn>
                <a:cxn ang="0">
                  <a:pos x="2013" y="1498"/>
                </a:cxn>
                <a:cxn ang="0">
                  <a:pos x="1747" y="1363"/>
                </a:cxn>
                <a:cxn ang="0">
                  <a:pos x="1418" y="1265"/>
                </a:cxn>
                <a:cxn ang="0">
                  <a:pos x="1193" y="1308"/>
                </a:cxn>
                <a:cxn ang="0">
                  <a:pos x="1245" y="1463"/>
                </a:cxn>
                <a:cxn ang="0">
                  <a:pos x="1090" y="1448"/>
                </a:cxn>
                <a:cxn ang="0">
                  <a:pos x="894" y="1483"/>
                </a:cxn>
                <a:cxn ang="0">
                  <a:pos x="888" y="1575"/>
                </a:cxn>
                <a:cxn ang="0">
                  <a:pos x="930" y="1652"/>
                </a:cxn>
                <a:cxn ang="0">
                  <a:pos x="870" y="1795"/>
                </a:cxn>
                <a:cxn ang="0">
                  <a:pos x="643" y="1739"/>
                </a:cxn>
                <a:cxn ang="0">
                  <a:pos x="653" y="1525"/>
                </a:cxn>
                <a:cxn ang="0">
                  <a:pos x="442" y="1397"/>
                </a:cxn>
                <a:cxn ang="0">
                  <a:pos x="383" y="1362"/>
                </a:cxn>
                <a:cxn ang="0">
                  <a:pos x="231" y="1252"/>
                </a:cxn>
                <a:cxn ang="0">
                  <a:pos x="139" y="1341"/>
                </a:cxn>
              </a:cxnLst>
              <a:rect l="0" t="0" r="r" b="b"/>
              <a:pathLst>
                <a:path w="5699" h="1829">
                  <a:moveTo>
                    <a:pt x="0" y="1300"/>
                  </a:moveTo>
                  <a:lnTo>
                    <a:pt x="47" y="1257"/>
                  </a:lnTo>
                  <a:lnTo>
                    <a:pt x="31" y="1275"/>
                  </a:lnTo>
                  <a:lnTo>
                    <a:pt x="52" y="1280"/>
                  </a:lnTo>
                  <a:lnTo>
                    <a:pt x="47" y="1194"/>
                  </a:lnTo>
                  <a:lnTo>
                    <a:pt x="66" y="1154"/>
                  </a:lnTo>
                  <a:lnTo>
                    <a:pt x="93" y="1148"/>
                  </a:lnTo>
                  <a:lnTo>
                    <a:pt x="148" y="1186"/>
                  </a:lnTo>
                  <a:lnTo>
                    <a:pt x="161" y="1114"/>
                  </a:lnTo>
                  <a:lnTo>
                    <a:pt x="137" y="1115"/>
                  </a:lnTo>
                  <a:lnTo>
                    <a:pt x="128" y="1074"/>
                  </a:lnTo>
                  <a:lnTo>
                    <a:pt x="353" y="1037"/>
                  </a:lnTo>
                  <a:lnTo>
                    <a:pt x="298" y="1022"/>
                  </a:lnTo>
                  <a:lnTo>
                    <a:pt x="301" y="1001"/>
                  </a:lnTo>
                  <a:lnTo>
                    <a:pt x="266" y="1008"/>
                  </a:lnTo>
                  <a:lnTo>
                    <a:pt x="394" y="901"/>
                  </a:lnTo>
                  <a:lnTo>
                    <a:pt x="338" y="787"/>
                  </a:lnTo>
                  <a:lnTo>
                    <a:pt x="352" y="733"/>
                  </a:lnTo>
                  <a:lnTo>
                    <a:pt x="317" y="673"/>
                  </a:lnTo>
                  <a:lnTo>
                    <a:pt x="345" y="638"/>
                  </a:lnTo>
                  <a:lnTo>
                    <a:pt x="298" y="591"/>
                  </a:lnTo>
                  <a:lnTo>
                    <a:pt x="312" y="553"/>
                  </a:lnTo>
                  <a:lnTo>
                    <a:pt x="374" y="509"/>
                  </a:lnTo>
                  <a:lnTo>
                    <a:pt x="408" y="503"/>
                  </a:lnTo>
                  <a:lnTo>
                    <a:pt x="451" y="513"/>
                  </a:lnTo>
                  <a:lnTo>
                    <a:pt x="413" y="523"/>
                  </a:lnTo>
                  <a:lnTo>
                    <a:pt x="442" y="539"/>
                  </a:lnTo>
                  <a:lnTo>
                    <a:pt x="541" y="545"/>
                  </a:lnTo>
                  <a:lnTo>
                    <a:pt x="716" y="637"/>
                  </a:lnTo>
                  <a:lnTo>
                    <a:pt x="720" y="681"/>
                  </a:lnTo>
                  <a:lnTo>
                    <a:pt x="644" y="721"/>
                  </a:lnTo>
                  <a:lnTo>
                    <a:pt x="409" y="666"/>
                  </a:lnTo>
                  <a:lnTo>
                    <a:pt x="506" y="732"/>
                  </a:lnTo>
                  <a:lnTo>
                    <a:pt x="503" y="807"/>
                  </a:lnTo>
                  <a:lnTo>
                    <a:pt x="598" y="844"/>
                  </a:lnTo>
                  <a:lnTo>
                    <a:pt x="622" y="838"/>
                  </a:lnTo>
                  <a:lnTo>
                    <a:pt x="610" y="807"/>
                  </a:lnTo>
                  <a:lnTo>
                    <a:pt x="566" y="795"/>
                  </a:lnTo>
                  <a:lnTo>
                    <a:pt x="577" y="769"/>
                  </a:lnTo>
                  <a:lnTo>
                    <a:pt x="620" y="798"/>
                  </a:lnTo>
                  <a:lnTo>
                    <a:pt x="712" y="807"/>
                  </a:lnTo>
                  <a:lnTo>
                    <a:pt x="672" y="747"/>
                  </a:lnTo>
                  <a:lnTo>
                    <a:pt x="757" y="696"/>
                  </a:lnTo>
                  <a:lnTo>
                    <a:pt x="819" y="732"/>
                  </a:lnTo>
                  <a:lnTo>
                    <a:pt x="817" y="595"/>
                  </a:lnTo>
                  <a:lnTo>
                    <a:pt x="791" y="575"/>
                  </a:lnTo>
                  <a:lnTo>
                    <a:pt x="894" y="605"/>
                  </a:lnTo>
                  <a:lnTo>
                    <a:pt x="901" y="622"/>
                  </a:lnTo>
                  <a:lnTo>
                    <a:pt x="846" y="645"/>
                  </a:lnTo>
                  <a:lnTo>
                    <a:pt x="901" y="689"/>
                  </a:lnTo>
                  <a:lnTo>
                    <a:pt x="948" y="638"/>
                  </a:lnTo>
                  <a:lnTo>
                    <a:pt x="1140" y="558"/>
                  </a:lnTo>
                  <a:lnTo>
                    <a:pt x="1169" y="554"/>
                  </a:lnTo>
                  <a:lnTo>
                    <a:pt x="1140" y="568"/>
                  </a:lnTo>
                  <a:lnTo>
                    <a:pt x="1172" y="607"/>
                  </a:lnTo>
                  <a:lnTo>
                    <a:pt x="1311" y="554"/>
                  </a:lnTo>
                  <a:lnTo>
                    <a:pt x="1342" y="593"/>
                  </a:lnTo>
                  <a:lnTo>
                    <a:pt x="1375" y="564"/>
                  </a:lnTo>
                  <a:lnTo>
                    <a:pt x="1359" y="520"/>
                  </a:lnTo>
                  <a:lnTo>
                    <a:pt x="1378" y="506"/>
                  </a:lnTo>
                  <a:lnTo>
                    <a:pt x="1484" y="527"/>
                  </a:lnTo>
                  <a:lnTo>
                    <a:pt x="1624" y="604"/>
                  </a:lnTo>
                  <a:lnTo>
                    <a:pt x="1652" y="567"/>
                  </a:lnTo>
                  <a:lnTo>
                    <a:pt x="1621" y="528"/>
                  </a:lnTo>
                  <a:lnTo>
                    <a:pt x="1579" y="517"/>
                  </a:lnTo>
                  <a:lnTo>
                    <a:pt x="1595" y="457"/>
                  </a:lnTo>
                  <a:lnTo>
                    <a:pt x="1566" y="448"/>
                  </a:lnTo>
                  <a:lnTo>
                    <a:pt x="1576" y="421"/>
                  </a:lnTo>
                  <a:lnTo>
                    <a:pt x="1627" y="391"/>
                  </a:lnTo>
                  <a:lnTo>
                    <a:pt x="1660" y="318"/>
                  </a:lnTo>
                  <a:lnTo>
                    <a:pt x="1733" y="319"/>
                  </a:lnTo>
                  <a:lnTo>
                    <a:pt x="1767" y="330"/>
                  </a:lnTo>
                  <a:lnTo>
                    <a:pt x="1741" y="407"/>
                  </a:lnTo>
                  <a:lnTo>
                    <a:pt x="1771" y="446"/>
                  </a:lnTo>
                  <a:lnTo>
                    <a:pt x="1762" y="553"/>
                  </a:lnTo>
                  <a:lnTo>
                    <a:pt x="1797" y="590"/>
                  </a:lnTo>
                  <a:lnTo>
                    <a:pt x="1784" y="629"/>
                  </a:lnTo>
                  <a:lnTo>
                    <a:pt x="1729" y="659"/>
                  </a:lnTo>
                  <a:lnTo>
                    <a:pt x="1747" y="673"/>
                  </a:lnTo>
                  <a:lnTo>
                    <a:pt x="1674" y="688"/>
                  </a:lnTo>
                  <a:lnTo>
                    <a:pt x="1751" y="714"/>
                  </a:lnTo>
                  <a:lnTo>
                    <a:pt x="1837" y="629"/>
                  </a:lnTo>
                  <a:lnTo>
                    <a:pt x="1828" y="575"/>
                  </a:lnTo>
                  <a:lnTo>
                    <a:pt x="1858" y="567"/>
                  </a:lnTo>
                  <a:lnTo>
                    <a:pt x="1903" y="557"/>
                  </a:lnTo>
                  <a:lnTo>
                    <a:pt x="1925" y="587"/>
                  </a:lnTo>
                  <a:lnTo>
                    <a:pt x="1922" y="627"/>
                  </a:lnTo>
                  <a:lnTo>
                    <a:pt x="1979" y="640"/>
                  </a:lnTo>
                  <a:lnTo>
                    <a:pt x="1935" y="626"/>
                  </a:lnTo>
                  <a:lnTo>
                    <a:pt x="1954" y="602"/>
                  </a:lnTo>
                  <a:lnTo>
                    <a:pt x="1938" y="567"/>
                  </a:lnTo>
                  <a:lnTo>
                    <a:pt x="1807" y="543"/>
                  </a:lnTo>
                  <a:lnTo>
                    <a:pt x="1828" y="459"/>
                  </a:lnTo>
                  <a:lnTo>
                    <a:pt x="1782" y="407"/>
                  </a:lnTo>
                  <a:lnTo>
                    <a:pt x="1847" y="359"/>
                  </a:lnTo>
                  <a:lnTo>
                    <a:pt x="1839" y="325"/>
                  </a:lnTo>
                  <a:lnTo>
                    <a:pt x="1869" y="344"/>
                  </a:lnTo>
                  <a:lnTo>
                    <a:pt x="1854" y="411"/>
                  </a:lnTo>
                  <a:lnTo>
                    <a:pt x="1874" y="421"/>
                  </a:lnTo>
                  <a:lnTo>
                    <a:pt x="1962" y="441"/>
                  </a:lnTo>
                  <a:lnTo>
                    <a:pt x="1883" y="385"/>
                  </a:lnTo>
                  <a:lnTo>
                    <a:pt x="1943" y="388"/>
                  </a:lnTo>
                  <a:lnTo>
                    <a:pt x="1929" y="366"/>
                  </a:lnTo>
                  <a:lnTo>
                    <a:pt x="1962" y="355"/>
                  </a:lnTo>
                  <a:lnTo>
                    <a:pt x="2123" y="399"/>
                  </a:lnTo>
                  <a:lnTo>
                    <a:pt x="2093" y="428"/>
                  </a:lnTo>
                  <a:lnTo>
                    <a:pt x="2089" y="472"/>
                  </a:lnTo>
                  <a:lnTo>
                    <a:pt x="2122" y="496"/>
                  </a:lnTo>
                  <a:lnTo>
                    <a:pt x="2138" y="399"/>
                  </a:lnTo>
                  <a:lnTo>
                    <a:pt x="2050" y="349"/>
                  </a:lnTo>
                  <a:lnTo>
                    <a:pt x="2032" y="282"/>
                  </a:lnTo>
                  <a:lnTo>
                    <a:pt x="2237" y="257"/>
                  </a:lnTo>
                  <a:lnTo>
                    <a:pt x="2211" y="195"/>
                  </a:lnTo>
                  <a:lnTo>
                    <a:pt x="2237" y="209"/>
                  </a:lnTo>
                  <a:lnTo>
                    <a:pt x="2271" y="184"/>
                  </a:lnTo>
                  <a:lnTo>
                    <a:pt x="2247" y="177"/>
                  </a:lnTo>
                  <a:lnTo>
                    <a:pt x="2461" y="126"/>
                  </a:lnTo>
                  <a:lnTo>
                    <a:pt x="2443" y="113"/>
                  </a:lnTo>
                  <a:lnTo>
                    <a:pt x="2542" y="107"/>
                  </a:lnTo>
                  <a:lnTo>
                    <a:pt x="2541" y="124"/>
                  </a:lnTo>
                  <a:lnTo>
                    <a:pt x="2566" y="124"/>
                  </a:lnTo>
                  <a:lnTo>
                    <a:pt x="2637" y="102"/>
                  </a:lnTo>
                  <a:lnTo>
                    <a:pt x="2671" y="114"/>
                  </a:lnTo>
                  <a:lnTo>
                    <a:pt x="2640" y="87"/>
                  </a:lnTo>
                  <a:lnTo>
                    <a:pt x="2721" y="81"/>
                  </a:lnTo>
                  <a:lnTo>
                    <a:pt x="2724" y="47"/>
                  </a:lnTo>
                  <a:lnTo>
                    <a:pt x="2820" y="0"/>
                  </a:lnTo>
                  <a:lnTo>
                    <a:pt x="2886" y="27"/>
                  </a:lnTo>
                  <a:lnTo>
                    <a:pt x="2829" y="52"/>
                  </a:lnTo>
                  <a:lnTo>
                    <a:pt x="2926" y="51"/>
                  </a:lnTo>
                  <a:lnTo>
                    <a:pt x="2887" y="87"/>
                  </a:lnTo>
                  <a:lnTo>
                    <a:pt x="3052" y="69"/>
                  </a:lnTo>
                  <a:lnTo>
                    <a:pt x="3143" y="124"/>
                  </a:lnTo>
                  <a:lnTo>
                    <a:pt x="3129" y="144"/>
                  </a:lnTo>
                  <a:lnTo>
                    <a:pt x="3099" y="132"/>
                  </a:lnTo>
                  <a:lnTo>
                    <a:pt x="3140" y="150"/>
                  </a:lnTo>
                  <a:lnTo>
                    <a:pt x="3119" y="183"/>
                  </a:lnTo>
                  <a:lnTo>
                    <a:pt x="2820" y="342"/>
                  </a:lnTo>
                  <a:lnTo>
                    <a:pt x="2915" y="322"/>
                  </a:lnTo>
                  <a:lnTo>
                    <a:pt x="2895" y="301"/>
                  </a:lnTo>
                  <a:lnTo>
                    <a:pt x="3047" y="271"/>
                  </a:lnTo>
                  <a:lnTo>
                    <a:pt x="3005" y="276"/>
                  </a:lnTo>
                  <a:lnTo>
                    <a:pt x="3015" y="249"/>
                  </a:lnTo>
                  <a:lnTo>
                    <a:pt x="3099" y="271"/>
                  </a:lnTo>
                  <a:lnTo>
                    <a:pt x="3111" y="249"/>
                  </a:lnTo>
                  <a:lnTo>
                    <a:pt x="3130" y="301"/>
                  </a:lnTo>
                  <a:lnTo>
                    <a:pt x="3172" y="304"/>
                  </a:lnTo>
                  <a:lnTo>
                    <a:pt x="3133" y="283"/>
                  </a:lnTo>
                  <a:lnTo>
                    <a:pt x="3213" y="270"/>
                  </a:lnTo>
                  <a:lnTo>
                    <a:pt x="3309" y="282"/>
                  </a:lnTo>
                  <a:lnTo>
                    <a:pt x="3301" y="301"/>
                  </a:lnTo>
                  <a:lnTo>
                    <a:pt x="3385" y="318"/>
                  </a:lnTo>
                  <a:lnTo>
                    <a:pt x="3458" y="314"/>
                  </a:lnTo>
                  <a:lnTo>
                    <a:pt x="3460" y="264"/>
                  </a:lnTo>
                  <a:lnTo>
                    <a:pt x="3482" y="259"/>
                  </a:lnTo>
                  <a:lnTo>
                    <a:pt x="3668" y="314"/>
                  </a:lnTo>
                  <a:lnTo>
                    <a:pt x="3642" y="399"/>
                  </a:lnTo>
                  <a:lnTo>
                    <a:pt x="3728" y="457"/>
                  </a:lnTo>
                  <a:lnTo>
                    <a:pt x="3775" y="377"/>
                  </a:lnTo>
                  <a:lnTo>
                    <a:pt x="3807" y="411"/>
                  </a:lnTo>
                  <a:lnTo>
                    <a:pt x="3868" y="399"/>
                  </a:lnTo>
                  <a:lnTo>
                    <a:pt x="3951" y="428"/>
                  </a:lnTo>
                  <a:lnTo>
                    <a:pt x="4018" y="410"/>
                  </a:lnTo>
                  <a:lnTo>
                    <a:pt x="4011" y="377"/>
                  </a:lnTo>
                  <a:lnTo>
                    <a:pt x="4057" y="323"/>
                  </a:lnTo>
                  <a:lnTo>
                    <a:pt x="4334" y="362"/>
                  </a:lnTo>
                  <a:lnTo>
                    <a:pt x="4352" y="386"/>
                  </a:lnTo>
                  <a:lnTo>
                    <a:pt x="4318" y="397"/>
                  </a:lnTo>
                  <a:lnTo>
                    <a:pt x="4407" y="410"/>
                  </a:lnTo>
                  <a:lnTo>
                    <a:pt x="4440" y="448"/>
                  </a:lnTo>
                  <a:lnTo>
                    <a:pt x="4649" y="441"/>
                  </a:lnTo>
                  <a:lnTo>
                    <a:pt x="4687" y="472"/>
                  </a:lnTo>
                  <a:lnTo>
                    <a:pt x="4674" y="509"/>
                  </a:lnTo>
                  <a:lnTo>
                    <a:pt x="4734" y="535"/>
                  </a:lnTo>
                  <a:lnTo>
                    <a:pt x="4766" y="514"/>
                  </a:lnTo>
                  <a:lnTo>
                    <a:pt x="4914" y="529"/>
                  </a:lnTo>
                  <a:lnTo>
                    <a:pt x="4944" y="509"/>
                  </a:lnTo>
                  <a:lnTo>
                    <a:pt x="4962" y="542"/>
                  </a:lnTo>
                  <a:lnTo>
                    <a:pt x="5024" y="569"/>
                  </a:lnTo>
                  <a:lnTo>
                    <a:pt x="5053" y="550"/>
                  </a:lnTo>
                  <a:lnTo>
                    <a:pt x="5023" y="520"/>
                  </a:lnTo>
                  <a:lnTo>
                    <a:pt x="5041" y="496"/>
                  </a:lnTo>
                  <a:lnTo>
                    <a:pt x="5300" y="534"/>
                  </a:lnTo>
                  <a:lnTo>
                    <a:pt x="5472" y="630"/>
                  </a:lnTo>
                  <a:lnTo>
                    <a:pt x="5508" y="630"/>
                  </a:lnTo>
                  <a:lnTo>
                    <a:pt x="5552" y="708"/>
                  </a:lnTo>
                  <a:lnTo>
                    <a:pt x="5534" y="666"/>
                  </a:lnTo>
                  <a:lnTo>
                    <a:pt x="5562" y="662"/>
                  </a:lnTo>
                  <a:lnTo>
                    <a:pt x="5579" y="678"/>
                  </a:lnTo>
                  <a:lnTo>
                    <a:pt x="5629" y="673"/>
                  </a:lnTo>
                  <a:lnTo>
                    <a:pt x="5699" y="718"/>
                  </a:lnTo>
                  <a:lnTo>
                    <a:pt x="5599" y="767"/>
                  </a:lnTo>
                  <a:lnTo>
                    <a:pt x="5619" y="781"/>
                  </a:lnTo>
                  <a:lnTo>
                    <a:pt x="5584" y="791"/>
                  </a:lnTo>
                  <a:lnTo>
                    <a:pt x="5612" y="809"/>
                  </a:lnTo>
                  <a:lnTo>
                    <a:pt x="5552" y="810"/>
                  </a:lnTo>
                  <a:lnTo>
                    <a:pt x="5533" y="781"/>
                  </a:lnTo>
                  <a:lnTo>
                    <a:pt x="5509" y="792"/>
                  </a:lnTo>
                  <a:lnTo>
                    <a:pt x="5471" y="747"/>
                  </a:lnTo>
                  <a:lnTo>
                    <a:pt x="5403" y="748"/>
                  </a:lnTo>
                  <a:lnTo>
                    <a:pt x="5386" y="721"/>
                  </a:lnTo>
                  <a:lnTo>
                    <a:pt x="5402" y="708"/>
                  </a:lnTo>
                  <a:lnTo>
                    <a:pt x="5376" y="708"/>
                  </a:lnTo>
                  <a:lnTo>
                    <a:pt x="5354" y="718"/>
                  </a:lnTo>
                  <a:lnTo>
                    <a:pt x="5379" y="750"/>
                  </a:lnTo>
                  <a:lnTo>
                    <a:pt x="5364" y="769"/>
                  </a:lnTo>
                  <a:lnTo>
                    <a:pt x="5306" y="800"/>
                  </a:lnTo>
                  <a:lnTo>
                    <a:pt x="5267" y="794"/>
                  </a:lnTo>
                  <a:lnTo>
                    <a:pt x="5332" y="883"/>
                  </a:lnTo>
                  <a:lnTo>
                    <a:pt x="5321" y="917"/>
                  </a:lnTo>
                  <a:lnTo>
                    <a:pt x="5255" y="893"/>
                  </a:lnTo>
                  <a:lnTo>
                    <a:pt x="5258" y="906"/>
                  </a:lnTo>
                  <a:lnTo>
                    <a:pt x="5137" y="950"/>
                  </a:lnTo>
                  <a:lnTo>
                    <a:pt x="5030" y="1041"/>
                  </a:lnTo>
                  <a:lnTo>
                    <a:pt x="4957" y="1007"/>
                  </a:lnTo>
                  <a:lnTo>
                    <a:pt x="4890" y="1044"/>
                  </a:lnTo>
                  <a:lnTo>
                    <a:pt x="4890" y="1011"/>
                  </a:lnTo>
                  <a:lnTo>
                    <a:pt x="4851" y="1045"/>
                  </a:lnTo>
                  <a:lnTo>
                    <a:pt x="4804" y="1043"/>
                  </a:lnTo>
                  <a:lnTo>
                    <a:pt x="4753" y="1131"/>
                  </a:lnTo>
                  <a:lnTo>
                    <a:pt x="4793" y="1148"/>
                  </a:lnTo>
                  <a:lnTo>
                    <a:pt x="4777" y="1177"/>
                  </a:lnTo>
                  <a:lnTo>
                    <a:pt x="4796" y="1223"/>
                  </a:lnTo>
                  <a:lnTo>
                    <a:pt x="4762" y="1214"/>
                  </a:lnTo>
                  <a:lnTo>
                    <a:pt x="4741" y="1254"/>
                  </a:lnTo>
                  <a:lnTo>
                    <a:pt x="4755" y="1290"/>
                  </a:lnTo>
                  <a:lnTo>
                    <a:pt x="4682" y="1320"/>
                  </a:lnTo>
                  <a:lnTo>
                    <a:pt x="4687" y="1360"/>
                  </a:lnTo>
                  <a:lnTo>
                    <a:pt x="4639" y="1371"/>
                  </a:lnTo>
                  <a:lnTo>
                    <a:pt x="4626" y="1415"/>
                  </a:lnTo>
                  <a:lnTo>
                    <a:pt x="4582" y="1462"/>
                  </a:lnTo>
                  <a:lnTo>
                    <a:pt x="4545" y="1290"/>
                  </a:lnTo>
                  <a:lnTo>
                    <a:pt x="4549" y="1198"/>
                  </a:lnTo>
                  <a:lnTo>
                    <a:pt x="4582" y="1143"/>
                  </a:lnTo>
                  <a:lnTo>
                    <a:pt x="4633" y="1132"/>
                  </a:lnTo>
                  <a:lnTo>
                    <a:pt x="4751" y="1016"/>
                  </a:lnTo>
                  <a:lnTo>
                    <a:pt x="4807" y="993"/>
                  </a:lnTo>
                  <a:lnTo>
                    <a:pt x="4826" y="926"/>
                  </a:lnTo>
                  <a:lnTo>
                    <a:pt x="4851" y="908"/>
                  </a:lnTo>
                  <a:lnTo>
                    <a:pt x="4806" y="906"/>
                  </a:lnTo>
                  <a:lnTo>
                    <a:pt x="4792" y="961"/>
                  </a:lnTo>
                  <a:lnTo>
                    <a:pt x="4692" y="1008"/>
                  </a:lnTo>
                  <a:lnTo>
                    <a:pt x="4701" y="938"/>
                  </a:lnTo>
                  <a:lnTo>
                    <a:pt x="4594" y="953"/>
                  </a:lnTo>
                  <a:lnTo>
                    <a:pt x="4492" y="1044"/>
                  </a:lnTo>
                  <a:lnTo>
                    <a:pt x="4512" y="1081"/>
                  </a:lnTo>
                  <a:lnTo>
                    <a:pt x="4403" y="1093"/>
                  </a:lnTo>
                  <a:lnTo>
                    <a:pt x="4389" y="1082"/>
                  </a:lnTo>
                  <a:lnTo>
                    <a:pt x="4426" y="1077"/>
                  </a:lnTo>
                  <a:lnTo>
                    <a:pt x="4336" y="1054"/>
                  </a:lnTo>
                  <a:lnTo>
                    <a:pt x="4311" y="1077"/>
                  </a:lnTo>
                  <a:lnTo>
                    <a:pt x="4106" y="1078"/>
                  </a:lnTo>
                  <a:lnTo>
                    <a:pt x="3862" y="1287"/>
                  </a:lnTo>
                  <a:lnTo>
                    <a:pt x="3911" y="1296"/>
                  </a:lnTo>
                  <a:lnTo>
                    <a:pt x="3911" y="1333"/>
                  </a:lnTo>
                  <a:lnTo>
                    <a:pt x="3940" y="1309"/>
                  </a:lnTo>
                  <a:lnTo>
                    <a:pt x="3932" y="1341"/>
                  </a:lnTo>
                  <a:lnTo>
                    <a:pt x="3969" y="1323"/>
                  </a:lnTo>
                  <a:lnTo>
                    <a:pt x="3965" y="1344"/>
                  </a:lnTo>
                  <a:lnTo>
                    <a:pt x="3976" y="1309"/>
                  </a:lnTo>
                  <a:lnTo>
                    <a:pt x="4011" y="1311"/>
                  </a:lnTo>
                  <a:lnTo>
                    <a:pt x="4064" y="1355"/>
                  </a:lnTo>
                  <a:lnTo>
                    <a:pt x="4017" y="1359"/>
                  </a:lnTo>
                  <a:lnTo>
                    <a:pt x="4058" y="1373"/>
                  </a:lnTo>
                  <a:lnTo>
                    <a:pt x="4068" y="1403"/>
                  </a:lnTo>
                  <a:lnTo>
                    <a:pt x="4035" y="1469"/>
                  </a:lnTo>
                  <a:lnTo>
                    <a:pt x="4028" y="1568"/>
                  </a:lnTo>
                  <a:lnTo>
                    <a:pt x="3856" y="1776"/>
                  </a:lnTo>
                  <a:lnTo>
                    <a:pt x="3796" y="1803"/>
                  </a:lnTo>
                  <a:lnTo>
                    <a:pt x="3749" y="1776"/>
                  </a:lnTo>
                  <a:lnTo>
                    <a:pt x="3708" y="1816"/>
                  </a:lnTo>
                  <a:lnTo>
                    <a:pt x="3703" y="1807"/>
                  </a:lnTo>
                  <a:lnTo>
                    <a:pt x="3727" y="1776"/>
                  </a:lnTo>
                  <a:lnTo>
                    <a:pt x="3717" y="1723"/>
                  </a:lnTo>
                  <a:lnTo>
                    <a:pt x="3790" y="1703"/>
                  </a:lnTo>
                  <a:lnTo>
                    <a:pt x="3848" y="1564"/>
                  </a:lnTo>
                  <a:lnTo>
                    <a:pt x="3723" y="1597"/>
                  </a:lnTo>
                  <a:lnTo>
                    <a:pt x="3703" y="1545"/>
                  </a:lnTo>
                  <a:lnTo>
                    <a:pt x="3602" y="1513"/>
                  </a:lnTo>
                  <a:lnTo>
                    <a:pt x="3540" y="1370"/>
                  </a:lnTo>
                  <a:lnTo>
                    <a:pt x="3473" y="1344"/>
                  </a:lnTo>
                  <a:lnTo>
                    <a:pt x="3352" y="1382"/>
                  </a:lnTo>
                  <a:lnTo>
                    <a:pt x="3375" y="1413"/>
                  </a:lnTo>
                  <a:lnTo>
                    <a:pt x="3326" y="1498"/>
                  </a:lnTo>
                  <a:lnTo>
                    <a:pt x="3277" y="1520"/>
                  </a:lnTo>
                  <a:lnTo>
                    <a:pt x="3227" y="1501"/>
                  </a:lnTo>
                  <a:lnTo>
                    <a:pt x="3166" y="1491"/>
                  </a:lnTo>
                  <a:lnTo>
                    <a:pt x="3008" y="1529"/>
                  </a:lnTo>
                  <a:lnTo>
                    <a:pt x="2869" y="1473"/>
                  </a:lnTo>
                  <a:lnTo>
                    <a:pt x="2780" y="1481"/>
                  </a:lnTo>
                  <a:lnTo>
                    <a:pt x="2747" y="1435"/>
                  </a:lnTo>
                  <a:lnTo>
                    <a:pt x="2659" y="1403"/>
                  </a:lnTo>
                  <a:lnTo>
                    <a:pt x="2612" y="1436"/>
                  </a:lnTo>
                  <a:lnTo>
                    <a:pt x="2610" y="1499"/>
                  </a:lnTo>
                  <a:lnTo>
                    <a:pt x="2409" y="1472"/>
                  </a:lnTo>
                  <a:lnTo>
                    <a:pt x="2303" y="1529"/>
                  </a:lnTo>
                  <a:lnTo>
                    <a:pt x="2247" y="1553"/>
                  </a:lnTo>
                  <a:lnTo>
                    <a:pt x="2175" y="1507"/>
                  </a:lnTo>
                  <a:lnTo>
                    <a:pt x="2130" y="1532"/>
                  </a:lnTo>
                  <a:lnTo>
                    <a:pt x="2045" y="1501"/>
                  </a:lnTo>
                  <a:lnTo>
                    <a:pt x="2013" y="1498"/>
                  </a:lnTo>
                  <a:lnTo>
                    <a:pt x="1988" y="1448"/>
                  </a:lnTo>
                  <a:lnTo>
                    <a:pt x="1943" y="1448"/>
                  </a:lnTo>
                  <a:lnTo>
                    <a:pt x="1924" y="1457"/>
                  </a:lnTo>
                  <a:lnTo>
                    <a:pt x="1888" y="1419"/>
                  </a:lnTo>
                  <a:lnTo>
                    <a:pt x="1863" y="1429"/>
                  </a:lnTo>
                  <a:lnTo>
                    <a:pt x="1840" y="1441"/>
                  </a:lnTo>
                  <a:lnTo>
                    <a:pt x="1747" y="1363"/>
                  </a:lnTo>
                  <a:lnTo>
                    <a:pt x="1719" y="1356"/>
                  </a:lnTo>
                  <a:lnTo>
                    <a:pt x="1656" y="1297"/>
                  </a:lnTo>
                  <a:lnTo>
                    <a:pt x="1597" y="1333"/>
                  </a:lnTo>
                  <a:lnTo>
                    <a:pt x="1586" y="1308"/>
                  </a:lnTo>
                  <a:lnTo>
                    <a:pt x="1498" y="1305"/>
                  </a:lnTo>
                  <a:lnTo>
                    <a:pt x="1465" y="1261"/>
                  </a:lnTo>
                  <a:lnTo>
                    <a:pt x="1418" y="1265"/>
                  </a:lnTo>
                  <a:lnTo>
                    <a:pt x="1402" y="1283"/>
                  </a:lnTo>
                  <a:lnTo>
                    <a:pt x="1342" y="1294"/>
                  </a:lnTo>
                  <a:lnTo>
                    <a:pt x="1326" y="1283"/>
                  </a:lnTo>
                  <a:lnTo>
                    <a:pt x="1304" y="1316"/>
                  </a:lnTo>
                  <a:lnTo>
                    <a:pt x="1286" y="1308"/>
                  </a:lnTo>
                  <a:lnTo>
                    <a:pt x="1216" y="1318"/>
                  </a:lnTo>
                  <a:lnTo>
                    <a:pt x="1193" y="1308"/>
                  </a:lnTo>
                  <a:lnTo>
                    <a:pt x="1184" y="1318"/>
                  </a:lnTo>
                  <a:lnTo>
                    <a:pt x="1220" y="1356"/>
                  </a:lnTo>
                  <a:lnTo>
                    <a:pt x="1195" y="1378"/>
                  </a:lnTo>
                  <a:lnTo>
                    <a:pt x="1198" y="1410"/>
                  </a:lnTo>
                  <a:lnTo>
                    <a:pt x="1238" y="1411"/>
                  </a:lnTo>
                  <a:lnTo>
                    <a:pt x="1255" y="1441"/>
                  </a:lnTo>
                  <a:lnTo>
                    <a:pt x="1245" y="1463"/>
                  </a:lnTo>
                  <a:lnTo>
                    <a:pt x="1216" y="1448"/>
                  </a:lnTo>
                  <a:lnTo>
                    <a:pt x="1193" y="1462"/>
                  </a:lnTo>
                  <a:lnTo>
                    <a:pt x="1171" y="1450"/>
                  </a:lnTo>
                  <a:lnTo>
                    <a:pt x="1160" y="1429"/>
                  </a:lnTo>
                  <a:lnTo>
                    <a:pt x="1132" y="1441"/>
                  </a:lnTo>
                  <a:lnTo>
                    <a:pt x="1112" y="1430"/>
                  </a:lnTo>
                  <a:lnTo>
                    <a:pt x="1090" y="1448"/>
                  </a:lnTo>
                  <a:lnTo>
                    <a:pt x="1058" y="1452"/>
                  </a:lnTo>
                  <a:lnTo>
                    <a:pt x="1040" y="1429"/>
                  </a:lnTo>
                  <a:lnTo>
                    <a:pt x="932" y="1422"/>
                  </a:lnTo>
                  <a:lnTo>
                    <a:pt x="919" y="1435"/>
                  </a:lnTo>
                  <a:lnTo>
                    <a:pt x="908" y="1433"/>
                  </a:lnTo>
                  <a:lnTo>
                    <a:pt x="893" y="1458"/>
                  </a:lnTo>
                  <a:lnTo>
                    <a:pt x="894" y="1483"/>
                  </a:lnTo>
                  <a:lnTo>
                    <a:pt x="882" y="1484"/>
                  </a:lnTo>
                  <a:lnTo>
                    <a:pt x="872" y="1463"/>
                  </a:lnTo>
                  <a:lnTo>
                    <a:pt x="857" y="1466"/>
                  </a:lnTo>
                  <a:lnTo>
                    <a:pt x="853" y="1536"/>
                  </a:lnTo>
                  <a:lnTo>
                    <a:pt x="870" y="1558"/>
                  </a:lnTo>
                  <a:lnTo>
                    <a:pt x="870" y="1578"/>
                  </a:lnTo>
                  <a:lnTo>
                    <a:pt x="888" y="1575"/>
                  </a:lnTo>
                  <a:lnTo>
                    <a:pt x="908" y="1565"/>
                  </a:lnTo>
                  <a:lnTo>
                    <a:pt x="929" y="1597"/>
                  </a:lnTo>
                  <a:lnTo>
                    <a:pt x="944" y="1617"/>
                  </a:lnTo>
                  <a:lnTo>
                    <a:pt x="959" y="1644"/>
                  </a:lnTo>
                  <a:lnTo>
                    <a:pt x="982" y="1651"/>
                  </a:lnTo>
                  <a:lnTo>
                    <a:pt x="952" y="1671"/>
                  </a:lnTo>
                  <a:lnTo>
                    <a:pt x="930" y="1652"/>
                  </a:lnTo>
                  <a:lnTo>
                    <a:pt x="907" y="1732"/>
                  </a:lnTo>
                  <a:lnTo>
                    <a:pt x="934" y="1752"/>
                  </a:lnTo>
                  <a:lnTo>
                    <a:pt x="958" y="1829"/>
                  </a:lnTo>
                  <a:lnTo>
                    <a:pt x="936" y="1816"/>
                  </a:lnTo>
                  <a:lnTo>
                    <a:pt x="914" y="1807"/>
                  </a:lnTo>
                  <a:lnTo>
                    <a:pt x="888" y="1803"/>
                  </a:lnTo>
                  <a:lnTo>
                    <a:pt x="870" y="1795"/>
                  </a:lnTo>
                  <a:lnTo>
                    <a:pt x="852" y="1792"/>
                  </a:lnTo>
                  <a:lnTo>
                    <a:pt x="837" y="1765"/>
                  </a:lnTo>
                  <a:lnTo>
                    <a:pt x="802" y="1781"/>
                  </a:lnTo>
                  <a:lnTo>
                    <a:pt x="771" y="1780"/>
                  </a:lnTo>
                  <a:lnTo>
                    <a:pt x="750" y="1756"/>
                  </a:lnTo>
                  <a:lnTo>
                    <a:pt x="697" y="1734"/>
                  </a:lnTo>
                  <a:lnTo>
                    <a:pt x="643" y="1739"/>
                  </a:lnTo>
                  <a:lnTo>
                    <a:pt x="587" y="1700"/>
                  </a:lnTo>
                  <a:lnTo>
                    <a:pt x="631" y="1664"/>
                  </a:lnTo>
                  <a:lnTo>
                    <a:pt x="636" y="1634"/>
                  </a:lnTo>
                  <a:lnTo>
                    <a:pt x="635" y="1604"/>
                  </a:lnTo>
                  <a:lnTo>
                    <a:pt x="639" y="1580"/>
                  </a:lnTo>
                  <a:lnTo>
                    <a:pt x="668" y="1572"/>
                  </a:lnTo>
                  <a:lnTo>
                    <a:pt x="653" y="1525"/>
                  </a:lnTo>
                  <a:lnTo>
                    <a:pt x="618" y="1513"/>
                  </a:lnTo>
                  <a:lnTo>
                    <a:pt x="602" y="1505"/>
                  </a:lnTo>
                  <a:lnTo>
                    <a:pt x="578" y="1512"/>
                  </a:lnTo>
                  <a:lnTo>
                    <a:pt x="529" y="1499"/>
                  </a:lnTo>
                  <a:lnTo>
                    <a:pt x="489" y="1454"/>
                  </a:lnTo>
                  <a:lnTo>
                    <a:pt x="457" y="1440"/>
                  </a:lnTo>
                  <a:lnTo>
                    <a:pt x="442" y="1397"/>
                  </a:lnTo>
                  <a:lnTo>
                    <a:pt x="413" y="1393"/>
                  </a:lnTo>
                  <a:lnTo>
                    <a:pt x="387" y="1407"/>
                  </a:lnTo>
                  <a:lnTo>
                    <a:pt x="369" y="1415"/>
                  </a:lnTo>
                  <a:lnTo>
                    <a:pt x="361" y="1396"/>
                  </a:lnTo>
                  <a:lnTo>
                    <a:pt x="347" y="1377"/>
                  </a:lnTo>
                  <a:lnTo>
                    <a:pt x="386" y="1374"/>
                  </a:lnTo>
                  <a:lnTo>
                    <a:pt x="383" y="1362"/>
                  </a:lnTo>
                  <a:lnTo>
                    <a:pt x="374" y="1352"/>
                  </a:lnTo>
                  <a:lnTo>
                    <a:pt x="361" y="1342"/>
                  </a:lnTo>
                  <a:lnTo>
                    <a:pt x="341" y="1294"/>
                  </a:lnTo>
                  <a:lnTo>
                    <a:pt x="312" y="1268"/>
                  </a:lnTo>
                  <a:lnTo>
                    <a:pt x="282" y="1267"/>
                  </a:lnTo>
                  <a:lnTo>
                    <a:pt x="253" y="1267"/>
                  </a:lnTo>
                  <a:lnTo>
                    <a:pt x="231" y="1252"/>
                  </a:lnTo>
                  <a:lnTo>
                    <a:pt x="211" y="1249"/>
                  </a:lnTo>
                  <a:lnTo>
                    <a:pt x="194" y="1249"/>
                  </a:lnTo>
                  <a:lnTo>
                    <a:pt x="183" y="1261"/>
                  </a:lnTo>
                  <a:lnTo>
                    <a:pt x="162" y="1282"/>
                  </a:lnTo>
                  <a:lnTo>
                    <a:pt x="159" y="1303"/>
                  </a:lnTo>
                  <a:lnTo>
                    <a:pt x="150" y="1308"/>
                  </a:lnTo>
                  <a:lnTo>
                    <a:pt x="139" y="1341"/>
                  </a:lnTo>
                  <a:lnTo>
                    <a:pt x="130" y="1331"/>
                  </a:lnTo>
                  <a:lnTo>
                    <a:pt x="126" y="1319"/>
                  </a:lnTo>
                  <a:lnTo>
                    <a:pt x="0" y="130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24" name="30500193.25462.12549.3755">
              <a:extLst>
                <a:ext uri="{FF2B5EF4-FFF2-40B4-BE49-F238E27FC236}">
                  <a16:creationId xmlns:a16="http://schemas.microsoft.com/office/drawing/2014/main" id="{260D7425-DC61-44C2-8DC7-7641078BECAA}"/>
                </a:ext>
              </a:extLst>
            </p:cNvPr>
            <p:cNvSpPr>
              <a:spLocks noChangeAspect="1"/>
            </p:cNvSpPr>
            <p:nvPr/>
          </p:nvSpPr>
          <p:spPr bwMode="gray">
            <a:xfrm>
              <a:off x="7082988" y="1427883"/>
              <a:ext cx="148358" cy="65597"/>
            </a:xfrm>
            <a:custGeom>
              <a:avLst/>
              <a:gdLst/>
              <a:ahLst/>
              <a:cxnLst>
                <a:cxn ang="0">
                  <a:pos x="0" y="51"/>
                </a:cxn>
                <a:cxn ang="0">
                  <a:pos x="34" y="34"/>
                </a:cxn>
                <a:cxn ang="0">
                  <a:pos x="8" y="21"/>
                </a:cxn>
                <a:cxn ang="0">
                  <a:pos x="128" y="0"/>
                </a:cxn>
                <a:cxn ang="0">
                  <a:pos x="148" y="1"/>
                </a:cxn>
                <a:cxn ang="0">
                  <a:pos x="125" y="19"/>
                </a:cxn>
                <a:cxn ang="0">
                  <a:pos x="166" y="18"/>
                </a:cxn>
                <a:cxn ang="0">
                  <a:pos x="59" y="59"/>
                </a:cxn>
                <a:cxn ang="0">
                  <a:pos x="34" y="71"/>
                </a:cxn>
                <a:cxn ang="0">
                  <a:pos x="40" y="54"/>
                </a:cxn>
                <a:cxn ang="0">
                  <a:pos x="0" y="51"/>
                </a:cxn>
              </a:cxnLst>
              <a:rect l="0" t="0" r="r" b="b"/>
              <a:pathLst>
                <a:path w="166" h="71">
                  <a:moveTo>
                    <a:pt x="0" y="51"/>
                  </a:moveTo>
                  <a:lnTo>
                    <a:pt x="34" y="34"/>
                  </a:lnTo>
                  <a:lnTo>
                    <a:pt x="8" y="21"/>
                  </a:lnTo>
                  <a:lnTo>
                    <a:pt x="128" y="0"/>
                  </a:lnTo>
                  <a:lnTo>
                    <a:pt x="148" y="1"/>
                  </a:lnTo>
                  <a:lnTo>
                    <a:pt x="125" y="19"/>
                  </a:lnTo>
                  <a:lnTo>
                    <a:pt x="166" y="18"/>
                  </a:lnTo>
                  <a:lnTo>
                    <a:pt x="59" y="59"/>
                  </a:lnTo>
                  <a:lnTo>
                    <a:pt x="34" y="71"/>
                  </a:lnTo>
                  <a:lnTo>
                    <a:pt x="40" y="54"/>
                  </a:lnTo>
                  <a:lnTo>
                    <a:pt x="0" y="51"/>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25" name="30501236.5465.1252.253.755">
              <a:extLst>
                <a:ext uri="{FF2B5EF4-FFF2-40B4-BE49-F238E27FC236}">
                  <a16:creationId xmlns:a16="http://schemas.microsoft.com/office/drawing/2014/main" id="{83603671-D282-4D70-8127-9754E217C76D}"/>
                </a:ext>
              </a:extLst>
            </p:cNvPr>
            <p:cNvSpPr>
              <a:spLocks noChangeAspect="1"/>
            </p:cNvSpPr>
            <p:nvPr/>
          </p:nvSpPr>
          <p:spPr bwMode="gray">
            <a:xfrm>
              <a:off x="7130538" y="2129276"/>
              <a:ext cx="58961" cy="35323"/>
            </a:xfrm>
            <a:custGeom>
              <a:avLst/>
              <a:gdLst/>
              <a:ahLst/>
              <a:cxnLst>
                <a:cxn ang="0">
                  <a:pos x="0" y="38"/>
                </a:cxn>
                <a:cxn ang="0">
                  <a:pos x="19" y="0"/>
                </a:cxn>
                <a:cxn ang="0">
                  <a:pos x="66" y="21"/>
                </a:cxn>
                <a:cxn ang="0">
                  <a:pos x="0" y="38"/>
                </a:cxn>
              </a:cxnLst>
              <a:rect l="0" t="0" r="r" b="b"/>
              <a:pathLst>
                <a:path w="66" h="38">
                  <a:moveTo>
                    <a:pt x="0" y="38"/>
                  </a:moveTo>
                  <a:lnTo>
                    <a:pt x="19" y="0"/>
                  </a:lnTo>
                  <a:lnTo>
                    <a:pt x="66" y="21"/>
                  </a:lnTo>
                  <a:lnTo>
                    <a:pt x="0" y="38"/>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26" name="30502223.625471.58.7511.55">
              <a:extLst>
                <a:ext uri="{FF2B5EF4-FFF2-40B4-BE49-F238E27FC236}">
                  <a16:creationId xmlns:a16="http://schemas.microsoft.com/office/drawing/2014/main" id="{85DF162E-2427-4A30-810F-C221FC68D93E}"/>
                </a:ext>
              </a:extLst>
            </p:cNvPr>
            <p:cNvSpPr>
              <a:spLocks noChangeAspect="1"/>
            </p:cNvSpPr>
            <p:nvPr/>
          </p:nvSpPr>
          <p:spPr bwMode="gray">
            <a:xfrm>
              <a:off x="7231343" y="1920706"/>
              <a:ext cx="184493" cy="142969"/>
            </a:xfrm>
            <a:custGeom>
              <a:avLst/>
              <a:gdLst/>
              <a:ahLst/>
              <a:cxnLst>
                <a:cxn ang="0">
                  <a:pos x="0" y="76"/>
                </a:cxn>
                <a:cxn ang="0">
                  <a:pos x="16" y="109"/>
                </a:cxn>
                <a:cxn ang="0">
                  <a:pos x="38" y="98"/>
                </a:cxn>
                <a:cxn ang="0">
                  <a:pos x="63" y="120"/>
                </a:cxn>
                <a:cxn ang="0">
                  <a:pos x="82" y="109"/>
                </a:cxn>
                <a:cxn ang="0">
                  <a:pos x="75" y="147"/>
                </a:cxn>
                <a:cxn ang="0">
                  <a:pos x="203" y="154"/>
                </a:cxn>
                <a:cxn ang="0">
                  <a:pos x="154" y="127"/>
                </a:cxn>
                <a:cxn ang="0">
                  <a:pos x="129" y="79"/>
                </a:cxn>
                <a:cxn ang="0">
                  <a:pos x="132" y="29"/>
                </a:cxn>
                <a:cxn ang="0">
                  <a:pos x="163" y="0"/>
                </a:cxn>
                <a:cxn ang="0">
                  <a:pos x="52" y="10"/>
                </a:cxn>
                <a:cxn ang="0">
                  <a:pos x="26" y="76"/>
                </a:cxn>
                <a:cxn ang="0">
                  <a:pos x="0" y="76"/>
                </a:cxn>
              </a:cxnLst>
              <a:rect l="0" t="0" r="r" b="b"/>
              <a:pathLst>
                <a:path w="203" h="154">
                  <a:moveTo>
                    <a:pt x="0" y="76"/>
                  </a:moveTo>
                  <a:lnTo>
                    <a:pt x="16" y="109"/>
                  </a:lnTo>
                  <a:lnTo>
                    <a:pt x="38" y="98"/>
                  </a:lnTo>
                  <a:lnTo>
                    <a:pt x="63" y="120"/>
                  </a:lnTo>
                  <a:lnTo>
                    <a:pt x="82" y="109"/>
                  </a:lnTo>
                  <a:lnTo>
                    <a:pt x="75" y="147"/>
                  </a:lnTo>
                  <a:lnTo>
                    <a:pt x="203" y="154"/>
                  </a:lnTo>
                  <a:lnTo>
                    <a:pt x="154" y="127"/>
                  </a:lnTo>
                  <a:lnTo>
                    <a:pt x="129" y="79"/>
                  </a:lnTo>
                  <a:lnTo>
                    <a:pt x="132" y="29"/>
                  </a:lnTo>
                  <a:lnTo>
                    <a:pt x="163" y="0"/>
                  </a:lnTo>
                  <a:lnTo>
                    <a:pt x="52" y="10"/>
                  </a:lnTo>
                  <a:lnTo>
                    <a:pt x="26" y="76"/>
                  </a:lnTo>
                  <a:lnTo>
                    <a:pt x="0" y="76"/>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27" name="30503209.625475.51428.8755">
              <a:extLst>
                <a:ext uri="{FF2B5EF4-FFF2-40B4-BE49-F238E27FC236}">
                  <a16:creationId xmlns:a16="http://schemas.microsoft.com/office/drawing/2014/main" id="{73090046-0708-4363-9060-1D33F56927C7}"/>
                </a:ext>
              </a:extLst>
            </p:cNvPr>
            <p:cNvSpPr>
              <a:spLocks noChangeAspect="1"/>
            </p:cNvSpPr>
            <p:nvPr/>
          </p:nvSpPr>
          <p:spPr bwMode="gray">
            <a:xfrm>
              <a:off x="7294109" y="1695319"/>
              <a:ext cx="465993" cy="225387"/>
            </a:xfrm>
            <a:custGeom>
              <a:avLst/>
              <a:gdLst/>
              <a:ahLst/>
              <a:cxnLst>
                <a:cxn ang="0">
                  <a:pos x="0" y="213"/>
                </a:cxn>
                <a:cxn ang="0">
                  <a:pos x="48" y="220"/>
                </a:cxn>
                <a:cxn ang="0">
                  <a:pos x="17" y="242"/>
                </a:cxn>
                <a:cxn ang="0">
                  <a:pos x="102" y="249"/>
                </a:cxn>
                <a:cxn ang="0">
                  <a:pos x="105" y="220"/>
                </a:cxn>
                <a:cxn ang="0">
                  <a:pos x="128" y="225"/>
                </a:cxn>
                <a:cxn ang="0">
                  <a:pos x="103" y="209"/>
                </a:cxn>
                <a:cxn ang="0">
                  <a:pos x="138" y="214"/>
                </a:cxn>
                <a:cxn ang="0">
                  <a:pos x="130" y="183"/>
                </a:cxn>
                <a:cxn ang="0">
                  <a:pos x="147" y="202"/>
                </a:cxn>
                <a:cxn ang="0">
                  <a:pos x="171" y="184"/>
                </a:cxn>
                <a:cxn ang="0">
                  <a:pos x="156" y="163"/>
                </a:cxn>
                <a:cxn ang="0">
                  <a:pos x="208" y="166"/>
                </a:cxn>
                <a:cxn ang="0">
                  <a:pos x="194" y="154"/>
                </a:cxn>
                <a:cxn ang="0">
                  <a:pos x="217" y="157"/>
                </a:cxn>
                <a:cxn ang="0">
                  <a:pos x="231" y="132"/>
                </a:cxn>
                <a:cxn ang="0">
                  <a:pos x="487" y="52"/>
                </a:cxn>
                <a:cxn ang="0">
                  <a:pos x="513" y="22"/>
                </a:cxn>
                <a:cxn ang="0">
                  <a:pos x="463" y="0"/>
                </a:cxn>
                <a:cxn ang="0">
                  <a:pos x="356" y="49"/>
                </a:cxn>
                <a:cxn ang="0">
                  <a:pos x="245" y="49"/>
                </a:cxn>
                <a:cxn ang="0">
                  <a:pos x="127" y="117"/>
                </a:cxn>
                <a:cxn ang="0">
                  <a:pos x="62" y="125"/>
                </a:cxn>
                <a:cxn ang="0">
                  <a:pos x="65" y="154"/>
                </a:cxn>
                <a:cxn ang="0">
                  <a:pos x="101" y="157"/>
                </a:cxn>
                <a:cxn ang="0">
                  <a:pos x="61" y="158"/>
                </a:cxn>
                <a:cxn ang="0">
                  <a:pos x="79" y="170"/>
                </a:cxn>
                <a:cxn ang="0">
                  <a:pos x="48" y="184"/>
                </a:cxn>
                <a:cxn ang="0">
                  <a:pos x="83" y="198"/>
                </a:cxn>
                <a:cxn ang="0">
                  <a:pos x="0" y="213"/>
                </a:cxn>
              </a:cxnLst>
              <a:rect l="0" t="0" r="r" b="b"/>
              <a:pathLst>
                <a:path w="513" h="249">
                  <a:moveTo>
                    <a:pt x="0" y="213"/>
                  </a:moveTo>
                  <a:lnTo>
                    <a:pt x="48" y="220"/>
                  </a:lnTo>
                  <a:lnTo>
                    <a:pt x="17" y="242"/>
                  </a:lnTo>
                  <a:lnTo>
                    <a:pt x="102" y="249"/>
                  </a:lnTo>
                  <a:lnTo>
                    <a:pt x="105" y="220"/>
                  </a:lnTo>
                  <a:lnTo>
                    <a:pt x="128" y="225"/>
                  </a:lnTo>
                  <a:lnTo>
                    <a:pt x="103" y="209"/>
                  </a:lnTo>
                  <a:lnTo>
                    <a:pt x="138" y="214"/>
                  </a:lnTo>
                  <a:lnTo>
                    <a:pt x="130" y="183"/>
                  </a:lnTo>
                  <a:lnTo>
                    <a:pt x="147" y="202"/>
                  </a:lnTo>
                  <a:lnTo>
                    <a:pt x="171" y="184"/>
                  </a:lnTo>
                  <a:lnTo>
                    <a:pt x="156" y="163"/>
                  </a:lnTo>
                  <a:lnTo>
                    <a:pt x="208" y="166"/>
                  </a:lnTo>
                  <a:lnTo>
                    <a:pt x="194" y="154"/>
                  </a:lnTo>
                  <a:lnTo>
                    <a:pt x="217" y="157"/>
                  </a:lnTo>
                  <a:lnTo>
                    <a:pt x="231" y="132"/>
                  </a:lnTo>
                  <a:lnTo>
                    <a:pt x="487" y="52"/>
                  </a:lnTo>
                  <a:lnTo>
                    <a:pt x="513" y="22"/>
                  </a:lnTo>
                  <a:lnTo>
                    <a:pt x="463" y="0"/>
                  </a:lnTo>
                  <a:lnTo>
                    <a:pt x="356" y="49"/>
                  </a:lnTo>
                  <a:lnTo>
                    <a:pt x="245" y="49"/>
                  </a:lnTo>
                  <a:lnTo>
                    <a:pt x="127" y="117"/>
                  </a:lnTo>
                  <a:lnTo>
                    <a:pt x="62" y="125"/>
                  </a:lnTo>
                  <a:lnTo>
                    <a:pt x="65" y="154"/>
                  </a:lnTo>
                  <a:lnTo>
                    <a:pt x="101" y="157"/>
                  </a:lnTo>
                  <a:lnTo>
                    <a:pt x="61" y="158"/>
                  </a:lnTo>
                  <a:lnTo>
                    <a:pt x="79" y="170"/>
                  </a:lnTo>
                  <a:lnTo>
                    <a:pt x="48" y="184"/>
                  </a:lnTo>
                  <a:lnTo>
                    <a:pt x="83" y="198"/>
                  </a:lnTo>
                  <a:lnTo>
                    <a:pt x="0" y="213"/>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28" name="30504191.125492.1252.8755.55">
              <a:extLst>
                <a:ext uri="{FF2B5EF4-FFF2-40B4-BE49-F238E27FC236}">
                  <a16:creationId xmlns:a16="http://schemas.microsoft.com/office/drawing/2014/main" id="{4CA0E232-B568-463A-BC09-134C7024C6EF}"/>
                </a:ext>
              </a:extLst>
            </p:cNvPr>
            <p:cNvSpPr>
              <a:spLocks noChangeAspect="1"/>
            </p:cNvSpPr>
            <p:nvPr/>
          </p:nvSpPr>
          <p:spPr bwMode="gray">
            <a:xfrm>
              <a:off x="7564194" y="1394244"/>
              <a:ext cx="85592" cy="45414"/>
            </a:xfrm>
            <a:custGeom>
              <a:avLst/>
              <a:gdLst/>
              <a:ahLst/>
              <a:cxnLst>
                <a:cxn ang="0">
                  <a:pos x="0" y="36"/>
                </a:cxn>
                <a:cxn ang="0">
                  <a:pos x="31" y="51"/>
                </a:cxn>
                <a:cxn ang="0">
                  <a:pos x="99" y="33"/>
                </a:cxn>
                <a:cxn ang="0">
                  <a:pos x="58" y="0"/>
                </a:cxn>
                <a:cxn ang="0">
                  <a:pos x="0" y="36"/>
                </a:cxn>
              </a:cxnLst>
              <a:rect l="0" t="0" r="r" b="b"/>
              <a:pathLst>
                <a:path w="99" h="51">
                  <a:moveTo>
                    <a:pt x="0" y="36"/>
                  </a:moveTo>
                  <a:lnTo>
                    <a:pt x="31" y="51"/>
                  </a:lnTo>
                  <a:lnTo>
                    <a:pt x="99" y="33"/>
                  </a:lnTo>
                  <a:lnTo>
                    <a:pt x="58" y="0"/>
                  </a:lnTo>
                  <a:lnTo>
                    <a:pt x="0" y="36"/>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29" name="30505196.75545.751.8755.1255">
              <a:extLst>
                <a:ext uri="{FF2B5EF4-FFF2-40B4-BE49-F238E27FC236}">
                  <a16:creationId xmlns:a16="http://schemas.microsoft.com/office/drawing/2014/main" id="{1AE4834F-3308-49FD-B043-E6869785CF44}"/>
                </a:ext>
              </a:extLst>
            </p:cNvPr>
            <p:cNvSpPr>
              <a:spLocks noChangeAspect="1"/>
            </p:cNvSpPr>
            <p:nvPr/>
          </p:nvSpPr>
          <p:spPr bwMode="gray">
            <a:xfrm>
              <a:off x="8421999" y="1483388"/>
              <a:ext cx="81787" cy="33639"/>
            </a:xfrm>
            <a:custGeom>
              <a:avLst/>
              <a:gdLst/>
              <a:ahLst/>
              <a:cxnLst>
                <a:cxn ang="0">
                  <a:pos x="0" y="0"/>
                </a:cxn>
                <a:cxn ang="0">
                  <a:pos x="40" y="26"/>
                </a:cxn>
                <a:cxn ang="0">
                  <a:pos x="26" y="33"/>
                </a:cxn>
                <a:cxn ang="0">
                  <a:pos x="62" y="31"/>
                </a:cxn>
                <a:cxn ang="0">
                  <a:pos x="89" y="15"/>
                </a:cxn>
                <a:cxn ang="0">
                  <a:pos x="0" y="0"/>
                </a:cxn>
              </a:cxnLst>
              <a:rect l="0" t="0" r="r" b="b"/>
              <a:pathLst>
                <a:path w="89" h="33">
                  <a:moveTo>
                    <a:pt x="0" y="0"/>
                  </a:moveTo>
                  <a:lnTo>
                    <a:pt x="40" y="26"/>
                  </a:lnTo>
                  <a:lnTo>
                    <a:pt x="26" y="33"/>
                  </a:lnTo>
                  <a:lnTo>
                    <a:pt x="62" y="31"/>
                  </a:lnTo>
                  <a:lnTo>
                    <a:pt x="89" y="15"/>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30" name="30506191.75546.6255.2511.8755">
              <a:extLst>
                <a:ext uri="{FF2B5EF4-FFF2-40B4-BE49-F238E27FC236}">
                  <a16:creationId xmlns:a16="http://schemas.microsoft.com/office/drawing/2014/main" id="{113544EA-C357-466D-BE2E-55D9E6BCAE5F}"/>
                </a:ext>
              </a:extLst>
            </p:cNvPr>
            <p:cNvSpPr>
              <a:spLocks noChangeAspect="1"/>
            </p:cNvSpPr>
            <p:nvPr/>
          </p:nvSpPr>
          <p:spPr bwMode="gray">
            <a:xfrm>
              <a:off x="8437216" y="1404335"/>
              <a:ext cx="190202" cy="85783"/>
            </a:xfrm>
            <a:custGeom>
              <a:avLst/>
              <a:gdLst/>
              <a:ahLst/>
              <a:cxnLst>
                <a:cxn ang="0">
                  <a:pos x="0" y="75"/>
                </a:cxn>
                <a:cxn ang="0">
                  <a:pos x="56" y="25"/>
                </a:cxn>
                <a:cxn ang="0">
                  <a:pos x="136" y="0"/>
                </a:cxn>
                <a:cxn ang="0">
                  <a:pos x="212" y="44"/>
                </a:cxn>
                <a:cxn ang="0">
                  <a:pos x="187" y="52"/>
                </a:cxn>
                <a:cxn ang="0">
                  <a:pos x="194" y="73"/>
                </a:cxn>
                <a:cxn ang="0">
                  <a:pos x="84" y="92"/>
                </a:cxn>
                <a:cxn ang="0">
                  <a:pos x="0" y="75"/>
                </a:cxn>
              </a:cxnLst>
              <a:rect l="0" t="0" r="r" b="b"/>
              <a:pathLst>
                <a:path w="212" h="92">
                  <a:moveTo>
                    <a:pt x="0" y="75"/>
                  </a:moveTo>
                  <a:lnTo>
                    <a:pt x="56" y="25"/>
                  </a:lnTo>
                  <a:lnTo>
                    <a:pt x="136" y="0"/>
                  </a:lnTo>
                  <a:lnTo>
                    <a:pt x="212" y="44"/>
                  </a:lnTo>
                  <a:lnTo>
                    <a:pt x="187" y="52"/>
                  </a:lnTo>
                  <a:lnTo>
                    <a:pt x="194" y="73"/>
                  </a:lnTo>
                  <a:lnTo>
                    <a:pt x="84" y="92"/>
                  </a:lnTo>
                  <a:lnTo>
                    <a:pt x="0" y="7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31" name="30507196.25549.256.12513.55">
              <a:extLst>
                <a:ext uri="{FF2B5EF4-FFF2-40B4-BE49-F238E27FC236}">
                  <a16:creationId xmlns:a16="http://schemas.microsoft.com/office/drawing/2014/main" id="{5078AB83-50A5-4954-977A-7F4DC1C4E064}"/>
                </a:ext>
              </a:extLst>
            </p:cNvPr>
            <p:cNvSpPr>
              <a:spLocks noChangeAspect="1"/>
            </p:cNvSpPr>
            <p:nvPr/>
          </p:nvSpPr>
          <p:spPr bwMode="gray">
            <a:xfrm>
              <a:off x="8479060" y="1478343"/>
              <a:ext cx="214926" cy="97555"/>
            </a:xfrm>
            <a:custGeom>
              <a:avLst/>
              <a:gdLst/>
              <a:ahLst/>
              <a:cxnLst>
                <a:cxn ang="0">
                  <a:pos x="0" y="46"/>
                </a:cxn>
                <a:cxn ang="0">
                  <a:pos x="44" y="52"/>
                </a:cxn>
                <a:cxn ang="0">
                  <a:pos x="74" y="89"/>
                </a:cxn>
                <a:cxn ang="0">
                  <a:pos x="98" y="78"/>
                </a:cxn>
                <a:cxn ang="0">
                  <a:pos x="197" y="107"/>
                </a:cxn>
                <a:cxn ang="0">
                  <a:pos x="230" y="95"/>
                </a:cxn>
                <a:cxn ang="0">
                  <a:pos x="205" y="67"/>
                </a:cxn>
                <a:cxn ang="0">
                  <a:pos x="224" y="74"/>
                </a:cxn>
                <a:cxn ang="0">
                  <a:pos x="239" y="31"/>
                </a:cxn>
                <a:cxn ang="0">
                  <a:pos x="187" y="9"/>
                </a:cxn>
                <a:cxn ang="0">
                  <a:pos x="136" y="39"/>
                </a:cxn>
                <a:cxn ang="0">
                  <a:pos x="178" y="23"/>
                </a:cxn>
                <a:cxn ang="0">
                  <a:pos x="153" y="0"/>
                </a:cxn>
                <a:cxn ang="0">
                  <a:pos x="70" y="8"/>
                </a:cxn>
                <a:cxn ang="0">
                  <a:pos x="0" y="46"/>
                </a:cxn>
              </a:cxnLst>
              <a:rect l="0" t="0" r="r" b="b"/>
              <a:pathLst>
                <a:path w="239" h="107">
                  <a:moveTo>
                    <a:pt x="0" y="46"/>
                  </a:moveTo>
                  <a:lnTo>
                    <a:pt x="44" y="52"/>
                  </a:lnTo>
                  <a:lnTo>
                    <a:pt x="74" y="89"/>
                  </a:lnTo>
                  <a:lnTo>
                    <a:pt x="98" y="78"/>
                  </a:lnTo>
                  <a:lnTo>
                    <a:pt x="197" y="107"/>
                  </a:lnTo>
                  <a:lnTo>
                    <a:pt x="230" y="95"/>
                  </a:lnTo>
                  <a:lnTo>
                    <a:pt x="205" y="67"/>
                  </a:lnTo>
                  <a:lnTo>
                    <a:pt x="224" y="74"/>
                  </a:lnTo>
                  <a:lnTo>
                    <a:pt x="239" y="31"/>
                  </a:lnTo>
                  <a:lnTo>
                    <a:pt x="187" y="9"/>
                  </a:lnTo>
                  <a:lnTo>
                    <a:pt x="136" y="39"/>
                  </a:lnTo>
                  <a:lnTo>
                    <a:pt x="178" y="23"/>
                  </a:lnTo>
                  <a:lnTo>
                    <a:pt x="153" y="0"/>
                  </a:lnTo>
                  <a:lnTo>
                    <a:pt x="70" y="8"/>
                  </a:lnTo>
                  <a:lnTo>
                    <a:pt x="0" y="46"/>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32" name="30508199.375561.756.2511.255">
              <a:extLst>
                <a:ext uri="{FF2B5EF4-FFF2-40B4-BE49-F238E27FC236}">
                  <a16:creationId xmlns:a16="http://schemas.microsoft.com/office/drawing/2014/main" id="{83B9D06A-C0F9-4A97-B130-B23F82D67078}"/>
                </a:ext>
              </a:extLst>
            </p:cNvPr>
            <p:cNvSpPr>
              <a:spLocks noChangeAspect="1"/>
            </p:cNvSpPr>
            <p:nvPr/>
          </p:nvSpPr>
          <p:spPr bwMode="gray">
            <a:xfrm>
              <a:off x="8678769" y="1528803"/>
              <a:ext cx="178787" cy="100920"/>
            </a:xfrm>
            <a:custGeom>
              <a:avLst/>
              <a:gdLst/>
              <a:ahLst/>
              <a:cxnLst>
                <a:cxn ang="0">
                  <a:pos x="0" y="92"/>
                </a:cxn>
                <a:cxn ang="0">
                  <a:pos x="15" y="109"/>
                </a:cxn>
                <a:cxn ang="0">
                  <a:pos x="183" y="87"/>
                </a:cxn>
                <a:cxn ang="0">
                  <a:pos x="199" y="51"/>
                </a:cxn>
                <a:cxn ang="0">
                  <a:pos x="152" y="22"/>
                </a:cxn>
                <a:cxn ang="0">
                  <a:pos x="113" y="33"/>
                </a:cxn>
                <a:cxn ang="0">
                  <a:pos x="119" y="10"/>
                </a:cxn>
                <a:cxn ang="0">
                  <a:pos x="96" y="0"/>
                </a:cxn>
                <a:cxn ang="0">
                  <a:pos x="19" y="81"/>
                </a:cxn>
                <a:cxn ang="0">
                  <a:pos x="0" y="92"/>
                </a:cxn>
              </a:cxnLst>
              <a:rect l="0" t="0" r="r" b="b"/>
              <a:pathLst>
                <a:path w="199" h="109">
                  <a:moveTo>
                    <a:pt x="0" y="92"/>
                  </a:moveTo>
                  <a:lnTo>
                    <a:pt x="15" y="109"/>
                  </a:lnTo>
                  <a:lnTo>
                    <a:pt x="183" y="87"/>
                  </a:lnTo>
                  <a:lnTo>
                    <a:pt x="199" y="51"/>
                  </a:lnTo>
                  <a:lnTo>
                    <a:pt x="152" y="22"/>
                  </a:lnTo>
                  <a:lnTo>
                    <a:pt x="113" y="33"/>
                  </a:lnTo>
                  <a:lnTo>
                    <a:pt x="119" y="10"/>
                  </a:lnTo>
                  <a:lnTo>
                    <a:pt x="96" y="0"/>
                  </a:lnTo>
                  <a:lnTo>
                    <a:pt x="19" y="81"/>
                  </a:lnTo>
                  <a:lnTo>
                    <a:pt x="0" y="92"/>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33" name="30509212.5631.755.87512.6255">
              <a:extLst>
                <a:ext uri="{FF2B5EF4-FFF2-40B4-BE49-F238E27FC236}">
                  <a16:creationId xmlns:a16="http://schemas.microsoft.com/office/drawing/2014/main" id="{41F0D32A-E8BE-4253-81AE-6D8ADF1AB906}"/>
                </a:ext>
              </a:extLst>
            </p:cNvPr>
            <p:cNvSpPr>
              <a:spLocks noChangeAspect="1"/>
            </p:cNvSpPr>
            <p:nvPr/>
          </p:nvSpPr>
          <p:spPr bwMode="gray">
            <a:xfrm>
              <a:off x="9800954" y="1739053"/>
              <a:ext cx="203514" cy="95874"/>
            </a:xfrm>
            <a:custGeom>
              <a:avLst/>
              <a:gdLst/>
              <a:ahLst/>
              <a:cxnLst>
                <a:cxn ang="0">
                  <a:pos x="0" y="56"/>
                </a:cxn>
                <a:cxn ang="0">
                  <a:pos x="45" y="4"/>
                </a:cxn>
                <a:cxn ang="0">
                  <a:pos x="77" y="0"/>
                </a:cxn>
                <a:cxn ang="0">
                  <a:pos x="128" y="40"/>
                </a:cxn>
                <a:cxn ang="0">
                  <a:pos x="136" y="11"/>
                </a:cxn>
                <a:cxn ang="0">
                  <a:pos x="192" y="34"/>
                </a:cxn>
                <a:cxn ang="0">
                  <a:pos x="187" y="72"/>
                </a:cxn>
                <a:cxn ang="0">
                  <a:pos x="223" y="85"/>
                </a:cxn>
                <a:cxn ang="0">
                  <a:pos x="106" y="92"/>
                </a:cxn>
                <a:cxn ang="0">
                  <a:pos x="99" y="76"/>
                </a:cxn>
                <a:cxn ang="0">
                  <a:pos x="80" y="103"/>
                </a:cxn>
                <a:cxn ang="0">
                  <a:pos x="0" y="56"/>
                </a:cxn>
              </a:cxnLst>
              <a:rect l="0" t="0" r="r" b="b"/>
              <a:pathLst>
                <a:path w="223" h="103">
                  <a:moveTo>
                    <a:pt x="0" y="56"/>
                  </a:moveTo>
                  <a:lnTo>
                    <a:pt x="45" y="4"/>
                  </a:lnTo>
                  <a:lnTo>
                    <a:pt x="77" y="0"/>
                  </a:lnTo>
                  <a:lnTo>
                    <a:pt x="128" y="40"/>
                  </a:lnTo>
                  <a:lnTo>
                    <a:pt x="136" y="11"/>
                  </a:lnTo>
                  <a:lnTo>
                    <a:pt x="192" y="34"/>
                  </a:lnTo>
                  <a:lnTo>
                    <a:pt x="187" y="72"/>
                  </a:lnTo>
                  <a:lnTo>
                    <a:pt x="223" y="85"/>
                  </a:lnTo>
                  <a:lnTo>
                    <a:pt x="106" y="92"/>
                  </a:lnTo>
                  <a:lnTo>
                    <a:pt x="99" y="76"/>
                  </a:lnTo>
                  <a:lnTo>
                    <a:pt x="80" y="103"/>
                  </a:lnTo>
                  <a:lnTo>
                    <a:pt x="0" y="56"/>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34" name="30510212.75640.62547.6255">
              <a:extLst>
                <a:ext uri="{FF2B5EF4-FFF2-40B4-BE49-F238E27FC236}">
                  <a16:creationId xmlns:a16="http://schemas.microsoft.com/office/drawing/2014/main" id="{419CBED3-4B79-4E51-837F-97CFAEEE3B3A}"/>
                </a:ext>
              </a:extLst>
            </p:cNvPr>
            <p:cNvSpPr>
              <a:spLocks noChangeAspect="1"/>
            </p:cNvSpPr>
            <p:nvPr/>
          </p:nvSpPr>
          <p:spPr bwMode="gray">
            <a:xfrm>
              <a:off x="9943607" y="1745779"/>
              <a:ext cx="119826" cy="62232"/>
            </a:xfrm>
            <a:custGeom>
              <a:avLst/>
              <a:gdLst/>
              <a:ahLst/>
              <a:cxnLst>
                <a:cxn ang="0">
                  <a:pos x="0" y="0"/>
                </a:cxn>
                <a:cxn ang="0">
                  <a:pos x="46" y="26"/>
                </a:cxn>
                <a:cxn ang="0">
                  <a:pos x="33" y="50"/>
                </a:cxn>
                <a:cxn ang="0">
                  <a:pos x="57" y="70"/>
                </a:cxn>
                <a:cxn ang="0">
                  <a:pos x="98" y="70"/>
                </a:cxn>
                <a:cxn ang="0">
                  <a:pos x="138" y="44"/>
                </a:cxn>
                <a:cxn ang="0">
                  <a:pos x="0" y="0"/>
                </a:cxn>
              </a:cxnLst>
              <a:rect l="0" t="0" r="r" b="b"/>
              <a:pathLst>
                <a:path w="138" h="70">
                  <a:moveTo>
                    <a:pt x="0" y="0"/>
                  </a:moveTo>
                  <a:lnTo>
                    <a:pt x="46" y="26"/>
                  </a:lnTo>
                  <a:lnTo>
                    <a:pt x="33" y="50"/>
                  </a:lnTo>
                  <a:lnTo>
                    <a:pt x="57" y="70"/>
                  </a:lnTo>
                  <a:lnTo>
                    <a:pt x="98" y="70"/>
                  </a:lnTo>
                  <a:lnTo>
                    <a:pt x="138" y="44"/>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35" name="30511280.5641.2520.3755.8755">
              <a:extLst>
                <a:ext uri="{FF2B5EF4-FFF2-40B4-BE49-F238E27FC236}">
                  <a16:creationId xmlns:a16="http://schemas.microsoft.com/office/drawing/2014/main" id="{4FFD0ADF-7709-4AE2-8013-AEA262A190C1}"/>
                </a:ext>
              </a:extLst>
            </p:cNvPr>
            <p:cNvSpPr>
              <a:spLocks noChangeAspect="1"/>
            </p:cNvSpPr>
            <p:nvPr/>
          </p:nvSpPr>
          <p:spPr bwMode="gray">
            <a:xfrm>
              <a:off x="9953113" y="2842441"/>
              <a:ext cx="95099" cy="329672"/>
            </a:xfrm>
            <a:custGeom>
              <a:avLst/>
              <a:gdLst/>
              <a:ahLst/>
              <a:cxnLst>
                <a:cxn ang="0">
                  <a:pos x="0" y="92"/>
                </a:cxn>
                <a:cxn ang="0">
                  <a:pos x="18" y="137"/>
                </a:cxn>
                <a:cxn ang="0">
                  <a:pos x="18" y="363"/>
                </a:cxn>
                <a:cxn ang="0">
                  <a:pos x="36" y="335"/>
                </a:cxn>
                <a:cxn ang="0">
                  <a:pos x="62" y="353"/>
                </a:cxn>
                <a:cxn ang="0">
                  <a:pos x="32" y="291"/>
                </a:cxn>
                <a:cxn ang="0">
                  <a:pos x="48" y="228"/>
                </a:cxn>
                <a:cxn ang="0">
                  <a:pos x="103" y="247"/>
                </a:cxn>
                <a:cxn ang="0">
                  <a:pos x="51" y="128"/>
                </a:cxn>
                <a:cxn ang="0">
                  <a:pos x="36" y="0"/>
                </a:cxn>
                <a:cxn ang="0">
                  <a:pos x="0" y="92"/>
                </a:cxn>
              </a:cxnLst>
              <a:rect l="0" t="0" r="r" b="b"/>
              <a:pathLst>
                <a:path w="103" h="363">
                  <a:moveTo>
                    <a:pt x="0" y="92"/>
                  </a:moveTo>
                  <a:lnTo>
                    <a:pt x="18" y="137"/>
                  </a:lnTo>
                  <a:lnTo>
                    <a:pt x="18" y="363"/>
                  </a:lnTo>
                  <a:lnTo>
                    <a:pt x="36" y="335"/>
                  </a:lnTo>
                  <a:lnTo>
                    <a:pt x="62" y="353"/>
                  </a:lnTo>
                  <a:lnTo>
                    <a:pt x="32" y="291"/>
                  </a:lnTo>
                  <a:lnTo>
                    <a:pt x="48" y="228"/>
                  </a:lnTo>
                  <a:lnTo>
                    <a:pt x="103" y="247"/>
                  </a:lnTo>
                  <a:lnTo>
                    <a:pt x="51" y="128"/>
                  </a:lnTo>
                  <a:lnTo>
                    <a:pt x="36" y="0"/>
                  </a:lnTo>
                  <a:lnTo>
                    <a:pt x="0" y="92"/>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36" name="30512215649.8752.8758.755">
              <a:extLst>
                <a:ext uri="{FF2B5EF4-FFF2-40B4-BE49-F238E27FC236}">
                  <a16:creationId xmlns:a16="http://schemas.microsoft.com/office/drawing/2014/main" id="{38AC4E09-8EEE-4097-81AC-7D7E1C734978}"/>
                </a:ext>
              </a:extLst>
            </p:cNvPr>
            <p:cNvSpPr>
              <a:spLocks noChangeAspect="1"/>
            </p:cNvSpPr>
            <p:nvPr/>
          </p:nvSpPr>
          <p:spPr bwMode="gray">
            <a:xfrm>
              <a:off x="10091961" y="1781102"/>
              <a:ext cx="140748" cy="47095"/>
            </a:xfrm>
            <a:custGeom>
              <a:avLst/>
              <a:gdLst/>
              <a:ahLst/>
              <a:cxnLst>
                <a:cxn ang="0">
                  <a:pos x="0" y="0"/>
                </a:cxn>
                <a:cxn ang="0">
                  <a:pos x="28" y="36"/>
                </a:cxn>
                <a:cxn ang="0">
                  <a:pos x="99" y="52"/>
                </a:cxn>
                <a:cxn ang="0">
                  <a:pos x="155" y="41"/>
                </a:cxn>
                <a:cxn ang="0">
                  <a:pos x="0" y="0"/>
                </a:cxn>
              </a:cxnLst>
              <a:rect l="0" t="0" r="r" b="b"/>
              <a:pathLst>
                <a:path w="155" h="52">
                  <a:moveTo>
                    <a:pt x="0" y="0"/>
                  </a:moveTo>
                  <a:lnTo>
                    <a:pt x="28" y="36"/>
                  </a:lnTo>
                  <a:lnTo>
                    <a:pt x="99" y="52"/>
                  </a:lnTo>
                  <a:lnTo>
                    <a:pt x="155" y="41"/>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37" name="30513306.25357.2516.7523.255">
              <a:extLst>
                <a:ext uri="{FF2B5EF4-FFF2-40B4-BE49-F238E27FC236}">
                  <a16:creationId xmlns:a16="http://schemas.microsoft.com/office/drawing/2014/main" id="{C6E5466E-736D-48AB-BDA2-A8CE245BCFB6}"/>
                </a:ext>
              </a:extLst>
            </p:cNvPr>
            <p:cNvSpPr>
              <a:spLocks noChangeAspect="1"/>
            </p:cNvSpPr>
            <p:nvPr/>
          </p:nvSpPr>
          <p:spPr bwMode="gray">
            <a:xfrm>
              <a:off x="5399711" y="3257892"/>
              <a:ext cx="372795" cy="270801"/>
            </a:xfrm>
            <a:custGeom>
              <a:avLst/>
              <a:gdLst/>
              <a:ahLst/>
              <a:cxnLst>
                <a:cxn ang="0">
                  <a:pos x="0" y="24"/>
                </a:cxn>
                <a:cxn ang="0">
                  <a:pos x="14" y="73"/>
                </a:cxn>
                <a:cxn ang="0">
                  <a:pos x="100" y="81"/>
                </a:cxn>
                <a:cxn ang="0">
                  <a:pos x="62" y="158"/>
                </a:cxn>
                <a:cxn ang="0">
                  <a:pos x="62" y="253"/>
                </a:cxn>
                <a:cxn ang="0">
                  <a:pos x="124" y="295"/>
                </a:cxn>
                <a:cxn ang="0">
                  <a:pos x="243" y="268"/>
                </a:cxn>
                <a:cxn ang="0">
                  <a:pos x="310" y="196"/>
                </a:cxn>
                <a:cxn ang="0">
                  <a:pos x="297" y="167"/>
                </a:cxn>
                <a:cxn ang="0">
                  <a:pos x="332" y="115"/>
                </a:cxn>
                <a:cxn ang="0">
                  <a:pos x="409" y="74"/>
                </a:cxn>
                <a:cxn ang="0">
                  <a:pos x="411" y="51"/>
                </a:cxn>
                <a:cxn ang="0">
                  <a:pos x="361" y="45"/>
                </a:cxn>
                <a:cxn ang="0">
                  <a:pos x="350" y="41"/>
                </a:cxn>
                <a:cxn ang="0">
                  <a:pos x="246" y="11"/>
                </a:cxn>
                <a:cxn ang="0">
                  <a:pos x="36" y="0"/>
                </a:cxn>
                <a:cxn ang="0">
                  <a:pos x="0" y="24"/>
                </a:cxn>
              </a:cxnLst>
              <a:rect l="0" t="0" r="r" b="b"/>
              <a:pathLst>
                <a:path w="411" h="295">
                  <a:moveTo>
                    <a:pt x="0" y="24"/>
                  </a:moveTo>
                  <a:lnTo>
                    <a:pt x="14" y="73"/>
                  </a:lnTo>
                  <a:lnTo>
                    <a:pt x="100" y="81"/>
                  </a:lnTo>
                  <a:lnTo>
                    <a:pt x="62" y="158"/>
                  </a:lnTo>
                  <a:lnTo>
                    <a:pt x="62" y="253"/>
                  </a:lnTo>
                  <a:lnTo>
                    <a:pt x="124" y="295"/>
                  </a:lnTo>
                  <a:lnTo>
                    <a:pt x="243" y="268"/>
                  </a:lnTo>
                  <a:lnTo>
                    <a:pt x="310" y="196"/>
                  </a:lnTo>
                  <a:lnTo>
                    <a:pt x="297" y="167"/>
                  </a:lnTo>
                  <a:lnTo>
                    <a:pt x="332" y="115"/>
                  </a:lnTo>
                  <a:lnTo>
                    <a:pt x="409" y="74"/>
                  </a:lnTo>
                  <a:lnTo>
                    <a:pt x="411" y="51"/>
                  </a:lnTo>
                  <a:lnTo>
                    <a:pt x="361" y="45"/>
                  </a:lnTo>
                  <a:lnTo>
                    <a:pt x="350" y="41"/>
                  </a:lnTo>
                  <a:lnTo>
                    <a:pt x="246" y="11"/>
                  </a:lnTo>
                  <a:lnTo>
                    <a:pt x="36" y="0"/>
                  </a:lnTo>
                  <a:lnTo>
                    <a:pt x="0" y="2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38" name="30515196.75394.7514.12519.8755">
              <a:extLst>
                <a:ext uri="{FF2B5EF4-FFF2-40B4-BE49-F238E27FC236}">
                  <a16:creationId xmlns:a16="http://schemas.microsoft.com/office/drawing/2014/main" id="{19BCE9B2-E18D-45DB-88DD-F5BFDB88C437}"/>
                </a:ext>
              </a:extLst>
            </p:cNvPr>
            <p:cNvSpPr>
              <a:spLocks noChangeAspect="1"/>
            </p:cNvSpPr>
            <p:nvPr/>
          </p:nvSpPr>
          <p:spPr bwMode="gray">
            <a:xfrm>
              <a:off x="6000747" y="1483388"/>
              <a:ext cx="319535" cy="230433"/>
            </a:xfrm>
            <a:custGeom>
              <a:avLst/>
              <a:gdLst/>
              <a:ahLst/>
              <a:cxnLst>
                <a:cxn ang="0">
                  <a:pos x="0" y="31"/>
                </a:cxn>
                <a:cxn ang="0">
                  <a:pos x="3" y="62"/>
                </a:cxn>
                <a:cxn ang="0">
                  <a:pos x="39" y="62"/>
                </a:cxn>
                <a:cxn ang="0">
                  <a:pos x="28" y="77"/>
                </a:cxn>
                <a:cxn ang="0">
                  <a:pos x="54" y="87"/>
                </a:cxn>
                <a:cxn ang="0">
                  <a:pos x="20" y="85"/>
                </a:cxn>
                <a:cxn ang="0">
                  <a:pos x="83" y="111"/>
                </a:cxn>
                <a:cxn ang="0">
                  <a:pos x="55" y="121"/>
                </a:cxn>
                <a:cxn ang="0">
                  <a:pos x="75" y="140"/>
                </a:cxn>
                <a:cxn ang="0">
                  <a:pos x="129" y="129"/>
                </a:cxn>
                <a:cxn ang="0">
                  <a:pos x="128" y="103"/>
                </a:cxn>
                <a:cxn ang="0">
                  <a:pos x="157" y="93"/>
                </a:cxn>
                <a:cxn ang="0">
                  <a:pos x="161" y="122"/>
                </a:cxn>
                <a:cxn ang="0">
                  <a:pos x="195" y="103"/>
                </a:cxn>
                <a:cxn ang="0">
                  <a:pos x="189" y="122"/>
                </a:cxn>
                <a:cxn ang="0">
                  <a:pos x="220" y="124"/>
                </a:cxn>
                <a:cxn ang="0">
                  <a:pos x="98" y="153"/>
                </a:cxn>
                <a:cxn ang="0">
                  <a:pos x="103" y="175"/>
                </a:cxn>
                <a:cxn ang="0">
                  <a:pos x="204" y="158"/>
                </a:cxn>
                <a:cxn ang="0">
                  <a:pos x="135" y="179"/>
                </a:cxn>
                <a:cxn ang="0">
                  <a:pos x="175" y="191"/>
                </a:cxn>
                <a:cxn ang="0">
                  <a:pos x="106" y="201"/>
                </a:cxn>
                <a:cxn ang="0">
                  <a:pos x="209" y="252"/>
                </a:cxn>
                <a:cxn ang="0">
                  <a:pos x="275" y="122"/>
                </a:cxn>
                <a:cxn ang="0">
                  <a:pos x="354" y="92"/>
                </a:cxn>
                <a:cxn ang="0">
                  <a:pos x="267" y="70"/>
                </a:cxn>
                <a:cxn ang="0">
                  <a:pos x="255" y="37"/>
                </a:cxn>
                <a:cxn ang="0">
                  <a:pos x="230" y="56"/>
                </a:cxn>
                <a:cxn ang="0">
                  <a:pos x="241" y="26"/>
                </a:cxn>
                <a:cxn ang="0">
                  <a:pos x="182" y="0"/>
                </a:cxn>
                <a:cxn ang="0">
                  <a:pos x="162" y="26"/>
                </a:cxn>
                <a:cxn ang="0">
                  <a:pos x="190" y="87"/>
                </a:cxn>
                <a:cxn ang="0">
                  <a:pos x="124" y="25"/>
                </a:cxn>
                <a:cxn ang="0">
                  <a:pos x="103" y="37"/>
                </a:cxn>
                <a:cxn ang="0">
                  <a:pos x="117" y="69"/>
                </a:cxn>
                <a:cxn ang="0">
                  <a:pos x="53" y="40"/>
                </a:cxn>
                <a:cxn ang="0">
                  <a:pos x="98" y="22"/>
                </a:cxn>
                <a:cxn ang="0">
                  <a:pos x="0" y="31"/>
                </a:cxn>
              </a:cxnLst>
              <a:rect l="0" t="0" r="r" b="b"/>
              <a:pathLst>
                <a:path w="354" h="252">
                  <a:moveTo>
                    <a:pt x="0" y="31"/>
                  </a:moveTo>
                  <a:lnTo>
                    <a:pt x="3" y="62"/>
                  </a:lnTo>
                  <a:lnTo>
                    <a:pt x="39" y="62"/>
                  </a:lnTo>
                  <a:lnTo>
                    <a:pt x="28" y="77"/>
                  </a:lnTo>
                  <a:lnTo>
                    <a:pt x="54" y="87"/>
                  </a:lnTo>
                  <a:lnTo>
                    <a:pt x="20" y="85"/>
                  </a:lnTo>
                  <a:lnTo>
                    <a:pt x="83" y="111"/>
                  </a:lnTo>
                  <a:lnTo>
                    <a:pt x="55" y="121"/>
                  </a:lnTo>
                  <a:lnTo>
                    <a:pt x="75" y="140"/>
                  </a:lnTo>
                  <a:lnTo>
                    <a:pt x="129" y="129"/>
                  </a:lnTo>
                  <a:lnTo>
                    <a:pt x="128" y="103"/>
                  </a:lnTo>
                  <a:lnTo>
                    <a:pt x="157" y="93"/>
                  </a:lnTo>
                  <a:lnTo>
                    <a:pt x="161" y="122"/>
                  </a:lnTo>
                  <a:lnTo>
                    <a:pt x="195" y="103"/>
                  </a:lnTo>
                  <a:lnTo>
                    <a:pt x="189" y="122"/>
                  </a:lnTo>
                  <a:lnTo>
                    <a:pt x="220" y="124"/>
                  </a:lnTo>
                  <a:lnTo>
                    <a:pt x="98" y="153"/>
                  </a:lnTo>
                  <a:lnTo>
                    <a:pt x="103" y="175"/>
                  </a:lnTo>
                  <a:lnTo>
                    <a:pt x="204" y="158"/>
                  </a:lnTo>
                  <a:lnTo>
                    <a:pt x="135" y="179"/>
                  </a:lnTo>
                  <a:lnTo>
                    <a:pt x="175" y="191"/>
                  </a:lnTo>
                  <a:lnTo>
                    <a:pt x="106" y="201"/>
                  </a:lnTo>
                  <a:lnTo>
                    <a:pt x="209" y="252"/>
                  </a:lnTo>
                  <a:lnTo>
                    <a:pt x="275" y="122"/>
                  </a:lnTo>
                  <a:lnTo>
                    <a:pt x="354" y="92"/>
                  </a:lnTo>
                  <a:lnTo>
                    <a:pt x="267" y="70"/>
                  </a:lnTo>
                  <a:lnTo>
                    <a:pt x="255" y="37"/>
                  </a:lnTo>
                  <a:lnTo>
                    <a:pt x="230" y="56"/>
                  </a:lnTo>
                  <a:lnTo>
                    <a:pt x="241" y="26"/>
                  </a:lnTo>
                  <a:lnTo>
                    <a:pt x="182" y="0"/>
                  </a:lnTo>
                  <a:lnTo>
                    <a:pt x="162" y="26"/>
                  </a:lnTo>
                  <a:lnTo>
                    <a:pt x="190" y="87"/>
                  </a:lnTo>
                  <a:lnTo>
                    <a:pt x="124" y="25"/>
                  </a:lnTo>
                  <a:lnTo>
                    <a:pt x="103" y="37"/>
                  </a:lnTo>
                  <a:lnTo>
                    <a:pt x="117" y="69"/>
                  </a:lnTo>
                  <a:lnTo>
                    <a:pt x="53" y="40"/>
                  </a:lnTo>
                  <a:lnTo>
                    <a:pt x="98" y="22"/>
                  </a:lnTo>
                  <a:lnTo>
                    <a:pt x="0" y="31"/>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39" name="30516194.75407.56185">
              <a:extLst>
                <a:ext uri="{FF2B5EF4-FFF2-40B4-BE49-F238E27FC236}">
                  <a16:creationId xmlns:a16="http://schemas.microsoft.com/office/drawing/2014/main" id="{F0C9E60E-1FE8-4593-A4A7-AFFBE5D97800}"/>
                </a:ext>
              </a:extLst>
            </p:cNvPr>
            <p:cNvSpPr>
              <a:spLocks noChangeAspect="1"/>
            </p:cNvSpPr>
            <p:nvPr/>
          </p:nvSpPr>
          <p:spPr bwMode="gray">
            <a:xfrm>
              <a:off x="6206162" y="1454795"/>
              <a:ext cx="287202" cy="94190"/>
            </a:xfrm>
            <a:custGeom>
              <a:avLst/>
              <a:gdLst/>
              <a:ahLst/>
              <a:cxnLst>
                <a:cxn ang="0">
                  <a:pos x="0" y="29"/>
                </a:cxn>
                <a:cxn ang="0">
                  <a:pos x="47" y="38"/>
                </a:cxn>
                <a:cxn ang="0">
                  <a:pos x="17" y="50"/>
                </a:cxn>
                <a:cxn ang="0">
                  <a:pos x="29" y="60"/>
                </a:cxn>
                <a:cxn ang="0">
                  <a:pos x="147" y="58"/>
                </a:cxn>
                <a:cxn ang="0">
                  <a:pos x="73" y="73"/>
                </a:cxn>
                <a:cxn ang="0">
                  <a:pos x="191" y="106"/>
                </a:cxn>
                <a:cxn ang="0">
                  <a:pos x="269" y="87"/>
                </a:cxn>
                <a:cxn ang="0">
                  <a:pos x="320" y="50"/>
                </a:cxn>
                <a:cxn ang="0">
                  <a:pos x="307" y="32"/>
                </a:cxn>
                <a:cxn ang="0">
                  <a:pos x="231" y="33"/>
                </a:cxn>
                <a:cxn ang="0">
                  <a:pos x="243" y="14"/>
                </a:cxn>
                <a:cxn ang="0">
                  <a:pos x="181" y="33"/>
                </a:cxn>
                <a:cxn ang="0">
                  <a:pos x="173" y="0"/>
                </a:cxn>
                <a:cxn ang="0">
                  <a:pos x="158" y="43"/>
                </a:cxn>
                <a:cxn ang="0">
                  <a:pos x="73" y="0"/>
                </a:cxn>
                <a:cxn ang="0">
                  <a:pos x="76" y="27"/>
                </a:cxn>
                <a:cxn ang="0">
                  <a:pos x="50" y="14"/>
                </a:cxn>
                <a:cxn ang="0">
                  <a:pos x="61" y="39"/>
                </a:cxn>
                <a:cxn ang="0">
                  <a:pos x="0" y="29"/>
                </a:cxn>
              </a:cxnLst>
              <a:rect l="0" t="0" r="r" b="b"/>
              <a:pathLst>
                <a:path w="320" h="106">
                  <a:moveTo>
                    <a:pt x="0" y="29"/>
                  </a:moveTo>
                  <a:lnTo>
                    <a:pt x="47" y="38"/>
                  </a:lnTo>
                  <a:lnTo>
                    <a:pt x="17" y="50"/>
                  </a:lnTo>
                  <a:lnTo>
                    <a:pt x="29" y="60"/>
                  </a:lnTo>
                  <a:lnTo>
                    <a:pt x="147" y="58"/>
                  </a:lnTo>
                  <a:lnTo>
                    <a:pt x="73" y="73"/>
                  </a:lnTo>
                  <a:lnTo>
                    <a:pt x="191" y="106"/>
                  </a:lnTo>
                  <a:lnTo>
                    <a:pt x="269" y="87"/>
                  </a:lnTo>
                  <a:lnTo>
                    <a:pt x="320" y="50"/>
                  </a:lnTo>
                  <a:lnTo>
                    <a:pt x="307" y="32"/>
                  </a:lnTo>
                  <a:lnTo>
                    <a:pt x="231" y="33"/>
                  </a:lnTo>
                  <a:lnTo>
                    <a:pt x="243" y="14"/>
                  </a:lnTo>
                  <a:lnTo>
                    <a:pt x="181" y="33"/>
                  </a:lnTo>
                  <a:lnTo>
                    <a:pt x="173" y="0"/>
                  </a:lnTo>
                  <a:lnTo>
                    <a:pt x="158" y="43"/>
                  </a:lnTo>
                  <a:lnTo>
                    <a:pt x="73" y="0"/>
                  </a:lnTo>
                  <a:lnTo>
                    <a:pt x="76" y="27"/>
                  </a:lnTo>
                  <a:lnTo>
                    <a:pt x="50" y="14"/>
                  </a:lnTo>
                  <a:lnTo>
                    <a:pt x="61" y="39"/>
                  </a:lnTo>
                  <a:lnTo>
                    <a:pt x="0" y="2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40" name="30517204.5413.62547.8755">
              <a:extLst>
                <a:ext uri="{FF2B5EF4-FFF2-40B4-BE49-F238E27FC236}">
                  <a16:creationId xmlns:a16="http://schemas.microsoft.com/office/drawing/2014/main" id="{C7F74EFB-10A0-4CFB-AC78-8EDA5099F094}"/>
                </a:ext>
              </a:extLst>
            </p:cNvPr>
            <p:cNvSpPr>
              <a:spLocks noChangeAspect="1"/>
            </p:cNvSpPr>
            <p:nvPr/>
          </p:nvSpPr>
          <p:spPr bwMode="gray">
            <a:xfrm>
              <a:off x="6305066" y="1611221"/>
              <a:ext cx="125532" cy="63916"/>
            </a:xfrm>
            <a:custGeom>
              <a:avLst/>
              <a:gdLst/>
              <a:ahLst/>
              <a:cxnLst>
                <a:cxn ang="0">
                  <a:pos x="0" y="55"/>
                </a:cxn>
                <a:cxn ang="0">
                  <a:pos x="11" y="20"/>
                </a:cxn>
                <a:cxn ang="0">
                  <a:pos x="67" y="0"/>
                </a:cxn>
                <a:cxn ang="0">
                  <a:pos x="77" y="20"/>
                </a:cxn>
                <a:cxn ang="0">
                  <a:pos x="137" y="36"/>
                </a:cxn>
                <a:cxn ang="0">
                  <a:pos x="54" y="69"/>
                </a:cxn>
                <a:cxn ang="0">
                  <a:pos x="67" y="51"/>
                </a:cxn>
                <a:cxn ang="0">
                  <a:pos x="0" y="55"/>
                </a:cxn>
              </a:cxnLst>
              <a:rect l="0" t="0" r="r" b="b"/>
              <a:pathLst>
                <a:path w="137" h="69">
                  <a:moveTo>
                    <a:pt x="0" y="55"/>
                  </a:moveTo>
                  <a:lnTo>
                    <a:pt x="11" y="20"/>
                  </a:lnTo>
                  <a:lnTo>
                    <a:pt x="67" y="0"/>
                  </a:lnTo>
                  <a:lnTo>
                    <a:pt x="77" y="20"/>
                  </a:lnTo>
                  <a:lnTo>
                    <a:pt x="137" y="36"/>
                  </a:lnTo>
                  <a:lnTo>
                    <a:pt x="54" y="69"/>
                  </a:lnTo>
                  <a:lnTo>
                    <a:pt x="67" y="51"/>
                  </a:lnTo>
                  <a:lnTo>
                    <a:pt x="0" y="5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41" name="30518237.875395.539.7524.1255">
              <a:extLst>
                <a:ext uri="{FF2B5EF4-FFF2-40B4-BE49-F238E27FC236}">
                  <a16:creationId xmlns:a16="http://schemas.microsoft.com/office/drawing/2014/main" id="{7B300745-1EEA-4E3F-B3D9-ED3417E04427}"/>
                </a:ext>
              </a:extLst>
            </p:cNvPr>
            <p:cNvSpPr>
              <a:spLocks noChangeAspect="1"/>
            </p:cNvSpPr>
            <p:nvPr/>
          </p:nvSpPr>
          <p:spPr bwMode="gray">
            <a:xfrm>
              <a:off x="6012158" y="2149458"/>
              <a:ext cx="386106" cy="645884"/>
            </a:xfrm>
            <a:custGeom>
              <a:avLst/>
              <a:gdLst/>
              <a:ahLst/>
              <a:cxnLst>
                <a:cxn ang="0">
                  <a:pos x="0" y="529"/>
                </a:cxn>
                <a:cxn ang="0">
                  <a:pos x="18" y="611"/>
                </a:cxn>
                <a:cxn ang="0">
                  <a:pos x="55" y="649"/>
                </a:cxn>
                <a:cxn ang="0">
                  <a:pos x="51" y="704"/>
                </a:cxn>
                <a:cxn ang="0">
                  <a:pos x="155" y="667"/>
                </a:cxn>
                <a:cxn ang="0">
                  <a:pos x="183" y="556"/>
                </a:cxn>
                <a:cxn ang="0">
                  <a:pos x="162" y="551"/>
                </a:cxn>
                <a:cxn ang="0">
                  <a:pos x="241" y="517"/>
                </a:cxn>
                <a:cxn ang="0">
                  <a:pos x="166" y="509"/>
                </a:cxn>
                <a:cxn ang="0">
                  <a:pos x="223" y="517"/>
                </a:cxn>
                <a:cxn ang="0">
                  <a:pos x="253" y="488"/>
                </a:cxn>
                <a:cxn ang="0">
                  <a:pos x="208" y="452"/>
                </a:cxn>
                <a:cxn ang="0">
                  <a:pos x="165" y="477"/>
                </a:cxn>
                <a:cxn ang="0">
                  <a:pos x="199" y="455"/>
                </a:cxn>
                <a:cxn ang="0">
                  <a:pos x="201" y="353"/>
                </a:cxn>
                <a:cxn ang="0">
                  <a:pos x="345" y="257"/>
                </a:cxn>
                <a:cxn ang="0">
                  <a:pos x="334" y="236"/>
                </a:cxn>
                <a:cxn ang="0">
                  <a:pos x="359" y="188"/>
                </a:cxn>
                <a:cxn ang="0">
                  <a:pos x="429" y="173"/>
                </a:cxn>
                <a:cxn ang="0">
                  <a:pos x="411" y="59"/>
                </a:cxn>
                <a:cxn ang="0">
                  <a:pos x="313" y="0"/>
                </a:cxn>
                <a:cxn ang="0">
                  <a:pos x="298" y="0"/>
                </a:cxn>
                <a:cxn ang="0">
                  <a:pos x="297" y="37"/>
                </a:cxn>
                <a:cxn ang="0">
                  <a:pos x="235" y="30"/>
                </a:cxn>
                <a:cxn ang="0">
                  <a:pos x="223" y="59"/>
                </a:cxn>
                <a:cxn ang="0">
                  <a:pos x="181" y="67"/>
                </a:cxn>
                <a:cxn ang="0">
                  <a:pos x="169" y="113"/>
                </a:cxn>
                <a:cxn ang="0">
                  <a:pos x="111" y="168"/>
                </a:cxn>
                <a:cxn ang="0">
                  <a:pos x="84" y="243"/>
                </a:cxn>
                <a:cxn ang="0">
                  <a:pos x="96" y="274"/>
                </a:cxn>
                <a:cxn ang="0">
                  <a:pos x="34" y="297"/>
                </a:cxn>
                <a:cxn ang="0">
                  <a:pos x="32" y="396"/>
                </a:cxn>
                <a:cxn ang="0">
                  <a:pos x="50" y="417"/>
                </a:cxn>
                <a:cxn ang="0">
                  <a:pos x="32" y="436"/>
                </a:cxn>
                <a:cxn ang="0">
                  <a:pos x="39" y="480"/>
                </a:cxn>
                <a:cxn ang="0">
                  <a:pos x="0" y="529"/>
                </a:cxn>
              </a:cxnLst>
              <a:rect l="0" t="0" r="r" b="b"/>
              <a:pathLst>
                <a:path w="429" h="704">
                  <a:moveTo>
                    <a:pt x="0" y="529"/>
                  </a:moveTo>
                  <a:lnTo>
                    <a:pt x="18" y="611"/>
                  </a:lnTo>
                  <a:lnTo>
                    <a:pt x="55" y="649"/>
                  </a:lnTo>
                  <a:lnTo>
                    <a:pt x="51" y="704"/>
                  </a:lnTo>
                  <a:lnTo>
                    <a:pt x="155" y="667"/>
                  </a:lnTo>
                  <a:lnTo>
                    <a:pt x="183" y="556"/>
                  </a:lnTo>
                  <a:lnTo>
                    <a:pt x="162" y="551"/>
                  </a:lnTo>
                  <a:lnTo>
                    <a:pt x="241" y="517"/>
                  </a:lnTo>
                  <a:lnTo>
                    <a:pt x="166" y="509"/>
                  </a:lnTo>
                  <a:lnTo>
                    <a:pt x="223" y="517"/>
                  </a:lnTo>
                  <a:lnTo>
                    <a:pt x="253" y="488"/>
                  </a:lnTo>
                  <a:lnTo>
                    <a:pt x="208" y="452"/>
                  </a:lnTo>
                  <a:lnTo>
                    <a:pt x="165" y="477"/>
                  </a:lnTo>
                  <a:lnTo>
                    <a:pt x="199" y="455"/>
                  </a:lnTo>
                  <a:lnTo>
                    <a:pt x="201" y="353"/>
                  </a:lnTo>
                  <a:lnTo>
                    <a:pt x="345" y="257"/>
                  </a:lnTo>
                  <a:lnTo>
                    <a:pt x="334" y="236"/>
                  </a:lnTo>
                  <a:lnTo>
                    <a:pt x="359" y="188"/>
                  </a:lnTo>
                  <a:lnTo>
                    <a:pt x="429" y="173"/>
                  </a:lnTo>
                  <a:lnTo>
                    <a:pt x="411" y="59"/>
                  </a:lnTo>
                  <a:lnTo>
                    <a:pt x="313" y="0"/>
                  </a:lnTo>
                  <a:lnTo>
                    <a:pt x="298" y="0"/>
                  </a:lnTo>
                  <a:lnTo>
                    <a:pt x="297" y="37"/>
                  </a:lnTo>
                  <a:lnTo>
                    <a:pt x="235" y="30"/>
                  </a:lnTo>
                  <a:lnTo>
                    <a:pt x="223" y="59"/>
                  </a:lnTo>
                  <a:lnTo>
                    <a:pt x="181" y="67"/>
                  </a:lnTo>
                  <a:lnTo>
                    <a:pt x="169" y="113"/>
                  </a:lnTo>
                  <a:lnTo>
                    <a:pt x="111" y="168"/>
                  </a:lnTo>
                  <a:lnTo>
                    <a:pt x="84" y="243"/>
                  </a:lnTo>
                  <a:lnTo>
                    <a:pt x="96" y="274"/>
                  </a:lnTo>
                  <a:lnTo>
                    <a:pt x="34" y="297"/>
                  </a:lnTo>
                  <a:lnTo>
                    <a:pt x="32" y="396"/>
                  </a:lnTo>
                  <a:lnTo>
                    <a:pt x="50" y="417"/>
                  </a:lnTo>
                  <a:lnTo>
                    <a:pt x="32" y="436"/>
                  </a:lnTo>
                  <a:lnTo>
                    <a:pt x="39" y="480"/>
                  </a:lnTo>
                  <a:lnTo>
                    <a:pt x="0" y="52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42" name="30519296.875385.6254.1258.255">
              <a:extLst>
                <a:ext uri="{FF2B5EF4-FFF2-40B4-BE49-F238E27FC236}">
                  <a16:creationId xmlns:a16="http://schemas.microsoft.com/office/drawing/2014/main" id="{2EE6E214-86E6-4D22-AF7D-65BCFC56FAC5}"/>
                </a:ext>
              </a:extLst>
            </p:cNvPr>
            <p:cNvSpPr>
              <a:spLocks noChangeAspect="1"/>
            </p:cNvSpPr>
            <p:nvPr/>
          </p:nvSpPr>
          <p:spPr bwMode="gray">
            <a:xfrm>
              <a:off x="5854293" y="3106512"/>
              <a:ext cx="133142" cy="65597"/>
            </a:xfrm>
            <a:custGeom>
              <a:avLst/>
              <a:gdLst/>
              <a:ahLst/>
              <a:cxnLst>
                <a:cxn ang="0">
                  <a:pos x="0" y="50"/>
                </a:cxn>
                <a:cxn ang="0">
                  <a:pos x="33" y="73"/>
                </a:cxn>
                <a:cxn ang="0">
                  <a:pos x="80" y="53"/>
                </a:cxn>
                <a:cxn ang="0">
                  <a:pos x="100" y="72"/>
                </a:cxn>
                <a:cxn ang="0">
                  <a:pos x="147" y="33"/>
                </a:cxn>
                <a:cxn ang="0">
                  <a:pos x="119" y="29"/>
                </a:cxn>
                <a:cxn ang="0">
                  <a:pos x="118" y="11"/>
                </a:cxn>
                <a:cxn ang="0">
                  <a:pos x="114" y="7"/>
                </a:cxn>
                <a:cxn ang="0">
                  <a:pos x="49" y="0"/>
                </a:cxn>
                <a:cxn ang="0">
                  <a:pos x="0" y="50"/>
                </a:cxn>
              </a:cxnLst>
              <a:rect l="0" t="0" r="r" b="b"/>
              <a:pathLst>
                <a:path w="147" h="73">
                  <a:moveTo>
                    <a:pt x="0" y="50"/>
                  </a:moveTo>
                  <a:lnTo>
                    <a:pt x="33" y="73"/>
                  </a:lnTo>
                  <a:lnTo>
                    <a:pt x="80" y="53"/>
                  </a:lnTo>
                  <a:lnTo>
                    <a:pt x="100" y="72"/>
                  </a:lnTo>
                  <a:lnTo>
                    <a:pt x="147" y="33"/>
                  </a:lnTo>
                  <a:lnTo>
                    <a:pt x="119" y="29"/>
                  </a:lnTo>
                  <a:lnTo>
                    <a:pt x="118" y="11"/>
                  </a:lnTo>
                  <a:lnTo>
                    <a:pt x="114" y="7"/>
                  </a:lnTo>
                  <a:lnTo>
                    <a:pt x="49" y="0"/>
                  </a:lnTo>
                  <a:lnTo>
                    <a:pt x="0" y="5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43" name="30520320.5441.12510.37513.3755">
              <a:extLst>
                <a:ext uri="{FF2B5EF4-FFF2-40B4-BE49-F238E27FC236}">
                  <a16:creationId xmlns:a16="http://schemas.microsoft.com/office/drawing/2014/main" id="{6B9FA92B-F14E-41A9-84BA-6548ED40DF84}"/>
                </a:ext>
              </a:extLst>
            </p:cNvPr>
            <p:cNvSpPr>
              <a:spLocks noChangeAspect="1"/>
            </p:cNvSpPr>
            <p:nvPr/>
          </p:nvSpPr>
          <p:spPr bwMode="gray">
            <a:xfrm>
              <a:off x="6744431" y="3490005"/>
              <a:ext cx="214926" cy="166517"/>
            </a:xfrm>
            <a:custGeom>
              <a:avLst/>
              <a:gdLst/>
              <a:ahLst/>
              <a:cxnLst>
                <a:cxn ang="0">
                  <a:pos x="0" y="169"/>
                </a:cxn>
                <a:cxn ang="0">
                  <a:pos x="4" y="150"/>
                </a:cxn>
                <a:cxn ang="0">
                  <a:pos x="38" y="111"/>
                </a:cxn>
                <a:cxn ang="0">
                  <a:pos x="19" y="93"/>
                </a:cxn>
                <a:cxn ang="0">
                  <a:pos x="17" y="47"/>
                </a:cxn>
                <a:cxn ang="0">
                  <a:pos x="38" y="9"/>
                </a:cxn>
                <a:cxn ang="0">
                  <a:pos x="237" y="0"/>
                </a:cxn>
                <a:cxn ang="0">
                  <a:pos x="200" y="27"/>
                </a:cxn>
                <a:cxn ang="0">
                  <a:pos x="188" y="100"/>
                </a:cxn>
                <a:cxn ang="0">
                  <a:pos x="107" y="144"/>
                </a:cxn>
                <a:cxn ang="0">
                  <a:pos x="35" y="183"/>
                </a:cxn>
                <a:cxn ang="0">
                  <a:pos x="0" y="169"/>
                </a:cxn>
              </a:cxnLst>
              <a:rect l="0" t="0" r="r" b="b"/>
              <a:pathLst>
                <a:path w="237" h="183">
                  <a:moveTo>
                    <a:pt x="0" y="169"/>
                  </a:moveTo>
                  <a:lnTo>
                    <a:pt x="4" y="150"/>
                  </a:lnTo>
                  <a:lnTo>
                    <a:pt x="38" y="111"/>
                  </a:lnTo>
                  <a:lnTo>
                    <a:pt x="19" y="93"/>
                  </a:lnTo>
                  <a:lnTo>
                    <a:pt x="17" y="47"/>
                  </a:lnTo>
                  <a:lnTo>
                    <a:pt x="38" y="9"/>
                  </a:lnTo>
                  <a:lnTo>
                    <a:pt x="237" y="0"/>
                  </a:lnTo>
                  <a:lnTo>
                    <a:pt x="200" y="27"/>
                  </a:lnTo>
                  <a:lnTo>
                    <a:pt x="188" y="100"/>
                  </a:lnTo>
                  <a:lnTo>
                    <a:pt x="107" y="144"/>
                  </a:lnTo>
                  <a:lnTo>
                    <a:pt x="35" y="183"/>
                  </a:lnTo>
                  <a:lnTo>
                    <a:pt x="0" y="16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44" name="30522343.5470.56.75105">
              <a:extLst>
                <a:ext uri="{FF2B5EF4-FFF2-40B4-BE49-F238E27FC236}">
                  <a16:creationId xmlns:a16="http://schemas.microsoft.com/office/drawing/2014/main" id="{04AA35CC-0D20-4D49-A0DA-45D4495DA92D}"/>
                </a:ext>
              </a:extLst>
            </p:cNvPr>
            <p:cNvSpPr>
              <a:spLocks noChangeAspect="1"/>
            </p:cNvSpPr>
            <p:nvPr/>
          </p:nvSpPr>
          <p:spPr bwMode="gray">
            <a:xfrm>
              <a:off x="7216126" y="3861726"/>
              <a:ext cx="161670" cy="111011"/>
            </a:xfrm>
            <a:custGeom>
              <a:avLst/>
              <a:gdLst/>
              <a:ahLst/>
              <a:cxnLst>
                <a:cxn ang="0">
                  <a:pos x="0" y="55"/>
                </a:cxn>
                <a:cxn ang="0">
                  <a:pos x="9" y="52"/>
                </a:cxn>
                <a:cxn ang="0">
                  <a:pos x="23" y="71"/>
                </a:cxn>
                <a:cxn ang="0">
                  <a:pos x="97" y="70"/>
                </a:cxn>
                <a:cxn ang="0">
                  <a:pos x="165" y="0"/>
                </a:cxn>
                <a:cxn ang="0">
                  <a:pos x="174" y="43"/>
                </a:cxn>
                <a:cxn ang="0">
                  <a:pos x="154" y="44"/>
                </a:cxn>
                <a:cxn ang="0">
                  <a:pos x="165" y="70"/>
                </a:cxn>
                <a:cxn ang="0">
                  <a:pos x="137" y="120"/>
                </a:cxn>
                <a:cxn ang="0">
                  <a:pos x="31" y="107"/>
                </a:cxn>
                <a:cxn ang="0">
                  <a:pos x="0" y="55"/>
                </a:cxn>
              </a:cxnLst>
              <a:rect l="0" t="0" r="r" b="b"/>
              <a:pathLst>
                <a:path w="174" h="120">
                  <a:moveTo>
                    <a:pt x="0" y="55"/>
                  </a:moveTo>
                  <a:lnTo>
                    <a:pt x="9" y="52"/>
                  </a:lnTo>
                  <a:lnTo>
                    <a:pt x="23" y="71"/>
                  </a:lnTo>
                  <a:lnTo>
                    <a:pt x="97" y="70"/>
                  </a:lnTo>
                  <a:lnTo>
                    <a:pt x="165" y="0"/>
                  </a:lnTo>
                  <a:lnTo>
                    <a:pt x="174" y="43"/>
                  </a:lnTo>
                  <a:lnTo>
                    <a:pt x="154" y="44"/>
                  </a:lnTo>
                  <a:lnTo>
                    <a:pt x="165" y="70"/>
                  </a:lnTo>
                  <a:lnTo>
                    <a:pt x="137" y="120"/>
                  </a:lnTo>
                  <a:lnTo>
                    <a:pt x="31" y="107"/>
                  </a:lnTo>
                  <a:lnTo>
                    <a:pt x="0" y="5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45" name="30523320.875388.2514.257.55">
              <a:extLst>
                <a:ext uri="{FF2B5EF4-FFF2-40B4-BE49-F238E27FC236}">
                  <a16:creationId xmlns:a16="http://schemas.microsoft.com/office/drawing/2014/main" id="{5E9174D3-5595-4F1A-A5AE-0CD432C26B4B}"/>
                </a:ext>
              </a:extLst>
            </p:cNvPr>
            <p:cNvSpPr>
              <a:spLocks noChangeAspect="1"/>
            </p:cNvSpPr>
            <p:nvPr/>
          </p:nvSpPr>
          <p:spPr bwMode="gray">
            <a:xfrm>
              <a:off x="5896137" y="3496735"/>
              <a:ext cx="119826" cy="228752"/>
            </a:xfrm>
            <a:custGeom>
              <a:avLst/>
              <a:gdLst/>
              <a:ahLst/>
              <a:cxnLst>
                <a:cxn ang="0">
                  <a:pos x="0" y="117"/>
                </a:cxn>
                <a:cxn ang="0">
                  <a:pos x="28" y="94"/>
                </a:cxn>
                <a:cxn ang="0">
                  <a:pos x="42" y="3"/>
                </a:cxn>
                <a:cxn ang="0">
                  <a:pos x="123" y="0"/>
                </a:cxn>
                <a:cxn ang="0">
                  <a:pos x="103" y="31"/>
                </a:cxn>
                <a:cxn ang="0">
                  <a:pos x="126" y="69"/>
                </a:cxn>
                <a:cxn ang="0">
                  <a:pos x="79" y="117"/>
                </a:cxn>
                <a:cxn ang="0">
                  <a:pos x="132" y="147"/>
                </a:cxn>
                <a:cxn ang="0">
                  <a:pos x="66" y="252"/>
                </a:cxn>
                <a:cxn ang="0">
                  <a:pos x="56" y="185"/>
                </a:cxn>
                <a:cxn ang="0">
                  <a:pos x="0" y="117"/>
                </a:cxn>
              </a:cxnLst>
              <a:rect l="0" t="0" r="r" b="b"/>
              <a:pathLst>
                <a:path w="132" h="252">
                  <a:moveTo>
                    <a:pt x="0" y="117"/>
                  </a:moveTo>
                  <a:lnTo>
                    <a:pt x="28" y="94"/>
                  </a:lnTo>
                  <a:lnTo>
                    <a:pt x="42" y="3"/>
                  </a:lnTo>
                  <a:lnTo>
                    <a:pt x="123" y="0"/>
                  </a:lnTo>
                  <a:lnTo>
                    <a:pt x="103" y="31"/>
                  </a:lnTo>
                  <a:lnTo>
                    <a:pt x="126" y="69"/>
                  </a:lnTo>
                  <a:lnTo>
                    <a:pt x="79" y="117"/>
                  </a:lnTo>
                  <a:lnTo>
                    <a:pt x="132" y="147"/>
                  </a:lnTo>
                  <a:lnTo>
                    <a:pt x="66" y="252"/>
                  </a:lnTo>
                  <a:lnTo>
                    <a:pt x="56" y="185"/>
                  </a:lnTo>
                  <a:lnTo>
                    <a:pt x="0" y="117"/>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46" name="30524310.25423.545.255">
              <a:extLst>
                <a:ext uri="{FF2B5EF4-FFF2-40B4-BE49-F238E27FC236}">
                  <a16:creationId xmlns:a16="http://schemas.microsoft.com/office/drawing/2014/main" id="{5A1E19D1-8FEA-4079-A502-90C66956C040}"/>
                </a:ext>
              </a:extLst>
            </p:cNvPr>
            <p:cNvSpPr>
              <a:spLocks noChangeAspect="1"/>
            </p:cNvSpPr>
            <p:nvPr/>
          </p:nvSpPr>
          <p:spPr bwMode="gray">
            <a:xfrm>
              <a:off x="6462935" y="3323489"/>
              <a:ext cx="85589" cy="65597"/>
            </a:xfrm>
            <a:custGeom>
              <a:avLst/>
              <a:gdLst/>
              <a:ahLst/>
              <a:cxnLst>
                <a:cxn ang="0">
                  <a:pos x="0" y="47"/>
                </a:cxn>
                <a:cxn ang="0">
                  <a:pos x="11" y="3"/>
                </a:cxn>
                <a:cxn ang="0">
                  <a:pos x="63" y="0"/>
                </a:cxn>
                <a:cxn ang="0">
                  <a:pos x="93" y="34"/>
                </a:cxn>
                <a:cxn ang="0">
                  <a:pos x="50" y="36"/>
                </a:cxn>
                <a:cxn ang="0">
                  <a:pos x="4" y="70"/>
                </a:cxn>
                <a:cxn ang="0">
                  <a:pos x="24" y="49"/>
                </a:cxn>
                <a:cxn ang="0">
                  <a:pos x="0" y="47"/>
                </a:cxn>
              </a:cxnLst>
              <a:rect l="0" t="0" r="r" b="b"/>
              <a:pathLst>
                <a:path w="93" h="70">
                  <a:moveTo>
                    <a:pt x="0" y="47"/>
                  </a:moveTo>
                  <a:lnTo>
                    <a:pt x="11" y="3"/>
                  </a:lnTo>
                  <a:lnTo>
                    <a:pt x="63" y="0"/>
                  </a:lnTo>
                  <a:lnTo>
                    <a:pt x="93" y="34"/>
                  </a:lnTo>
                  <a:lnTo>
                    <a:pt x="50" y="36"/>
                  </a:lnTo>
                  <a:lnTo>
                    <a:pt x="4" y="70"/>
                  </a:lnTo>
                  <a:lnTo>
                    <a:pt x="24" y="49"/>
                  </a:lnTo>
                  <a:lnTo>
                    <a:pt x="0" y="47"/>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47" name="30525309.7542413.534.755">
              <a:extLst>
                <a:ext uri="{FF2B5EF4-FFF2-40B4-BE49-F238E27FC236}">
                  <a16:creationId xmlns:a16="http://schemas.microsoft.com/office/drawing/2014/main" id="{4ED97BA9-E05D-4ACF-B36B-940E66F5EF88}"/>
                </a:ext>
              </a:extLst>
            </p:cNvPr>
            <p:cNvSpPr>
              <a:spLocks noChangeAspect="1"/>
            </p:cNvSpPr>
            <p:nvPr/>
          </p:nvSpPr>
          <p:spPr bwMode="gray">
            <a:xfrm>
              <a:off x="6472442" y="3315078"/>
              <a:ext cx="557287" cy="220341"/>
            </a:xfrm>
            <a:custGeom>
              <a:avLst/>
              <a:gdLst/>
              <a:ahLst/>
              <a:cxnLst>
                <a:cxn ang="0">
                  <a:pos x="0" y="79"/>
                </a:cxn>
                <a:cxn ang="0">
                  <a:pos x="26" y="141"/>
                </a:cxn>
                <a:cxn ang="0">
                  <a:pos x="2" y="148"/>
                </a:cxn>
                <a:cxn ang="0">
                  <a:pos x="26" y="158"/>
                </a:cxn>
                <a:cxn ang="0">
                  <a:pos x="36" y="196"/>
                </a:cxn>
                <a:cxn ang="0">
                  <a:pos x="70" y="192"/>
                </a:cxn>
                <a:cxn ang="0">
                  <a:pos x="36" y="209"/>
                </a:cxn>
                <a:cxn ang="0">
                  <a:pos x="76" y="202"/>
                </a:cxn>
                <a:cxn ang="0">
                  <a:pos x="118" y="227"/>
                </a:cxn>
                <a:cxn ang="0">
                  <a:pos x="157" y="200"/>
                </a:cxn>
                <a:cxn ang="0">
                  <a:pos x="217" y="235"/>
                </a:cxn>
                <a:cxn ang="0">
                  <a:pos x="323" y="200"/>
                </a:cxn>
                <a:cxn ang="0">
                  <a:pos x="320" y="238"/>
                </a:cxn>
                <a:cxn ang="0">
                  <a:pos x="341" y="200"/>
                </a:cxn>
                <a:cxn ang="0">
                  <a:pos x="540" y="191"/>
                </a:cxn>
                <a:cxn ang="0">
                  <a:pos x="614" y="188"/>
                </a:cxn>
                <a:cxn ang="0">
                  <a:pos x="592" y="104"/>
                </a:cxn>
                <a:cxn ang="0">
                  <a:pos x="609" y="86"/>
                </a:cxn>
                <a:cxn ang="0">
                  <a:pos x="546" y="16"/>
                </a:cxn>
                <a:cxn ang="0">
                  <a:pos x="505" y="16"/>
                </a:cxn>
                <a:cxn ang="0">
                  <a:pos x="393" y="45"/>
                </a:cxn>
                <a:cxn ang="0">
                  <a:pos x="296" y="0"/>
                </a:cxn>
                <a:cxn ang="0">
                  <a:pos x="235" y="1"/>
                </a:cxn>
                <a:cxn ang="0">
                  <a:pos x="158" y="42"/>
                </a:cxn>
                <a:cxn ang="0">
                  <a:pos x="96" y="31"/>
                </a:cxn>
                <a:cxn ang="0">
                  <a:pos x="116" y="53"/>
                </a:cxn>
                <a:cxn ang="0">
                  <a:pos x="0" y="79"/>
                </a:cxn>
              </a:cxnLst>
              <a:rect l="0" t="0" r="r" b="b"/>
              <a:pathLst>
                <a:path w="614" h="238">
                  <a:moveTo>
                    <a:pt x="0" y="79"/>
                  </a:moveTo>
                  <a:lnTo>
                    <a:pt x="26" y="141"/>
                  </a:lnTo>
                  <a:lnTo>
                    <a:pt x="2" y="148"/>
                  </a:lnTo>
                  <a:lnTo>
                    <a:pt x="26" y="158"/>
                  </a:lnTo>
                  <a:lnTo>
                    <a:pt x="36" y="196"/>
                  </a:lnTo>
                  <a:lnTo>
                    <a:pt x="70" y="192"/>
                  </a:lnTo>
                  <a:lnTo>
                    <a:pt x="36" y="209"/>
                  </a:lnTo>
                  <a:lnTo>
                    <a:pt x="76" y="202"/>
                  </a:lnTo>
                  <a:lnTo>
                    <a:pt x="118" y="227"/>
                  </a:lnTo>
                  <a:lnTo>
                    <a:pt x="157" y="200"/>
                  </a:lnTo>
                  <a:lnTo>
                    <a:pt x="217" y="235"/>
                  </a:lnTo>
                  <a:lnTo>
                    <a:pt x="323" y="200"/>
                  </a:lnTo>
                  <a:lnTo>
                    <a:pt x="320" y="238"/>
                  </a:lnTo>
                  <a:lnTo>
                    <a:pt x="341" y="200"/>
                  </a:lnTo>
                  <a:lnTo>
                    <a:pt x="540" y="191"/>
                  </a:lnTo>
                  <a:lnTo>
                    <a:pt x="614" y="188"/>
                  </a:lnTo>
                  <a:lnTo>
                    <a:pt x="592" y="104"/>
                  </a:lnTo>
                  <a:lnTo>
                    <a:pt x="609" y="86"/>
                  </a:lnTo>
                  <a:lnTo>
                    <a:pt x="546" y="16"/>
                  </a:lnTo>
                  <a:lnTo>
                    <a:pt x="505" y="16"/>
                  </a:lnTo>
                  <a:lnTo>
                    <a:pt x="393" y="45"/>
                  </a:lnTo>
                  <a:lnTo>
                    <a:pt x="296" y="0"/>
                  </a:lnTo>
                  <a:lnTo>
                    <a:pt x="235" y="1"/>
                  </a:lnTo>
                  <a:lnTo>
                    <a:pt x="158" y="42"/>
                  </a:lnTo>
                  <a:lnTo>
                    <a:pt x="96" y="31"/>
                  </a:lnTo>
                  <a:lnTo>
                    <a:pt x="116" y="53"/>
                  </a:lnTo>
                  <a:lnTo>
                    <a:pt x="0" y="7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48" name="30526278.375355.37597.6255">
              <a:extLst>
                <a:ext uri="{FF2B5EF4-FFF2-40B4-BE49-F238E27FC236}">
                  <a16:creationId xmlns:a16="http://schemas.microsoft.com/office/drawing/2014/main" id="{90336F96-A55A-4CBD-A4AE-97F23E453539}"/>
                </a:ext>
              </a:extLst>
            </p:cNvPr>
            <p:cNvSpPr>
              <a:spLocks noChangeAspect="1"/>
            </p:cNvSpPr>
            <p:nvPr/>
          </p:nvSpPr>
          <p:spPr bwMode="gray">
            <a:xfrm>
              <a:off x="5371183" y="2807118"/>
              <a:ext cx="123631" cy="144650"/>
            </a:xfrm>
            <a:custGeom>
              <a:avLst/>
              <a:gdLst/>
              <a:ahLst/>
              <a:cxnLst>
                <a:cxn ang="0">
                  <a:pos x="0" y="132"/>
                </a:cxn>
                <a:cxn ang="0">
                  <a:pos x="18" y="146"/>
                </a:cxn>
                <a:cxn ang="0">
                  <a:pos x="4" y="158"/>
                </a:cxn>
                <a:cxn ang="0">
                  <a:pos x="127" y="133"/>
                </a:cxn>
                <a:cxn ang="0">
                  <a:pos x="136" y="51"/>
                </a:cxn>
                <a:cxn ang="0">
                  <a:pos x="120" y="32"/>
                </a:cxn>
                <a:cxn ang="0">
                  <a:pos x="84" y="41"/>
                </a:cxn>
                <a:cxn ang="0">
                  <a:pos x="72" y="29"/>
                </a:cxn>
                <a:cxn ang="0">
                  <a:pos x="87" y="9"/>
                </a:cxn>
                <a:cxn ang="0">
                  <a:pos x="72" y="0"/>
                </a:cxn>
                <a:cxn ang="0">
                  <a:pos x="57" y="40"/>
                </a:cxn>
                <a:cxn ang="0">
                  <a:pos x="4" y="51"/>
                </a:cxn>
                <a:cxn ang="0">
                  <a:pos x="21" y="60"/>
                </a:cxn>
                <a:cxn ang="0">
                  <a:pos x="11" y="82"/>
                </a:cxn>
                <a:cxn ang="0">
                  <a:pos x="44" y="88"/>
                </a:cxn>
                <a:cxn ang="0">
                  <a:pos x="14" y="118"/>
                </a:cxn>
                <a:cxn ang="0">
                  <a:pos x="50" y="111"/>
                </a:cxn>
                <a:cxn ang="0">
                  <a:pos x="0" y="132"/>
                </a:cxn>
              </a:cxnLst>
              <a:rect l="0" t="0" r="r" b="b"/>
              <a:pathLst>
                <a:path w="136" h="158">
                  <a:moveTo>
                    <a:pt x="0" y="132"/>
                  </a:moveTo>
                  <a:lnTo>
                    <a:pt x="18" y="146"/>
                  </a:lnTo>
                  <a:lnTo>
                    <a:pt x="4" y="158"/>
                  </a:lnTo>
                  <a:lnTo>
                    <a:pt x="127" y="133"/>
                  </a:lnTo>
                  <a:lnTo>
                    <a:pt x="136" y="51"/>
                  </a:lnTo>
                  <a:lnTo>
                    <a:pt x="120" y="32"/>
                  </a:lnTo>
                  <a:lnTo>
                    <a:pt x="84" y="41"/>
                  </a:lnTo>
                  <a:lnTo>
                    <a:pt x="72" y="29"/>
                  </a:lnTo>
                  <a:lnTo>
                    <a:pt x="87" y="9"/>
                  </a:lnTo>
                  <a:lnTo>
                    <a:pt x="72" y="0"/>
                  </a:lnTo>
                  <a:lnTo>
                    <a:pt x="57" y="40"/>
                  </a:lnTo>
                  <a:lnTo>
                    <a:pt x="4" y="51"/>
                  </a:lnTo>
                  <a:lnTo>
                    <a:pt x="21" y="60"/>
                  </a:lnTo>
                  <a:lnTo>
                    <a:pt x="11" y="82"/>
                  </a:lnTo>
                  <a:lnTo>
                    <a:pt x="44" y="88"/>
                  </a:lnTo>
                  <a:lnTo>
                    <a:pt x="14" y="118"/>
                  </a:lnTo>
                  <a:lnTo>
                    <a:pt x="50" y="111"/>
                  </a:lnTo>
                  <a:lnTo>
                    <a:pt x="0" y="132"/>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49" name="30527277.75359.253.54.8755">
              <a:extLst>
                <a:ext uri="{FF2B5EF4-FFF2-40B4-BE49-F238E27FC236}">
                  <a16:creationId xmlns:a16="http://schemas.microsoft.com/office/drawing/2014/main" id="{75B9E1EF-965E-447F-93A6-3EF7AC83734A}"/>
                </a:ext>
              </a:extLst>
            </p:cNvPr>
            <p:cNvSpPr>
              <a:spLocks noChangeAspect="1"/>
            </p:cNvSpPr>
            <p:nvPr/>
          </p:nvSpPr>
          <p:spPr bwMode="gray">
            <a:xfrm>
              <a:off x="5433949" y="2798707"/>
              <a:ext cx="76082" cy="55506"/>
            </a:xfrm>
            <a:custGeom>
              <a:avLst/>
              <a:gdLst/>
              <a:ahLst/>
              <a:cxnLst>
                <a:cxn ang="0">
                  <a:pos x="0" y="40"/>
                </a:cxn>
                <a:cxn ang="0">
                  <a:pos x="12" y="52"/>
                </a:cxn>
                <a:cxn ang="0">
                  <a:pos x="48" y="43"/>
                </a:cxn>
                <a:cxn ang="0">
                  <a:pos x="64" y="62"/>
                </a:cxn>
                <a:cxn ang="0">
                  <a:pos x="85" y="40"/>
                </a:cxn>
                <a:cxn ang="0">
                  <a:pos x="66" y="9"/>
                </a:cxn>
                <a:cxn ang="0">
                  <a:pos x="24" y="0"/>
                </a:cxn>
                <a:cxn ang="0">
                  <a:pos x="15" y="20"/>
                </a:cxn>
                <a:cxn ang="0">
                  <a:pos x="0" y="40"/>
                </a:cxn>
              </a:cxnLst>
              <a:rect l="0" t="0" r="r" b="b"/>
              <a:pathLst>
                <a:path w="85" h="62">
                  <a:moveTo>
                    <a:pt x="0" y="40"/>
                  </a:moveTo>
                  <a:lnTo>
                    <a:pt x="12" y="52"/>
                  </a:lnTo>
                  <a:lnTo>
                    <a:pt x="48" y="43"/>
                  </a:lnTo>
                  <a:lnTo>
                    <a:pt x="64" y="62"/>
                  </a:lnTo>
                  <a:lnTo>
                    <a:pt x="85" y="40"/>
                  </a:lnTo>
                  <a:lnTo>
                    <a:pt x="66" y="9"/>
                  </a:lnTo>
                  <a:lnTo>
                    <a:pt x="24" y="0"/>
                  </a:lnTo>
                  <a:lnTo>
                    <a:pt x="15" y="20"/>
                  </a:lnTo>
                  <a:lnTo>
                    <a:pt x="0" y="4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50" name="30528270361.3751.51.255">
              <a:extLst>
                <a:ext uri="{FF2B5EF4-FFF2-40B4-BE49-F238E27FC236}">
                  <a16:creationId xmlns:a16="http://schemas.microsoft.com/office/drawing/2014/main" id="{F113D46F-9C7D-4774-BC03-E2771CB770B1}"/>
                </a:ext>
              </a:extLst>
            </p:cNvPr>
            <p:cNvSpPr>
              <a:spLocks noChangeAspect="1"/>
            </p:cNvSpPr>
            <p:nvPr/>
          </p:nvSpPr>
          <p:spPr bwMode="gray">
            <a:xfrm>
              <a:off x="5466282" y="2672556"/>
              <a:ext cx="20922" cy="23547"/>
            </a:xfrm>
            <a:custGeom>
              <a:avLst/>
              <a:gdLst/>
              <a:ahLst/>
              <a:cxnLst>
                <a:cxn ang="0">
                  <a:pos x="0" y="27"/>
                </a:cxn>
                <a:cxn ang="0">
                  <a:pos x="0" y="5"/>
                </a:cxn>
                <a:cxn ang="0">
                  <a:pos x="22" y="0"/>
                </a:cxn>
                <a:cxn ang="0">
                  <a:pos x="0" y="27"/>
                </a:cxn>
              </a:cxnLst>
              <a:rect l="0" t="0" r="r" b="b"/>
              <a:pathLst>
                <a:path w="22" h="27">
                  <a:moveTo>
                    <a:pt x="0" y="27"/>
                  </a:moveTo>
                  <a:lnTo>
                    <a:pt x="0" y="5"/>
                  </a:lnTo>
                  <a:lnTo>
                    <a:pt x="22" y="0"/>
                  </a:lnTo>
                  <a:lnTo>
                    <a:pt x="0" y="27"/>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51" name="30529271.536211.1255">
              <a:extLst>
                <a:ext uri="{FF2B5EF4-FFF2-40B4-BE49-F238E27FC236}">
                  <a16:creationId xmlns:a16="http://schemas.microsoft.com/office/drawing/2014/main" id="{BF35A355-A581-4D81-BB3F-B1EF6D3951BA}"/>
                </a:ext>
              </a:extLst>
            </p:cNvPr>
            <p:cNvSpPr>
              <a:spLocks noChangeAspect="1"/>
            </p:cNvSpPr>
            <p:nvPr/>
          </p:nvSpPr>
          <p:spPr bwMode="gray">
            <a:xfrm>
              <a:off x="5475793" y="2696107"/>
              <a:ext cx="19021" cy="15137"/>
            </a:xfrm>
            <a:custGeom>
              <a:avLst/>
              <a:gdLst/>
              <a:ahLst/>
              <a:cxnLst>
                <a:cxn ang="0">
                  <a:pos x="0" y="14"/>
                </a:cxn>
                <a:cxn ang="0">
                  <a:pos x="11" y="0"/>
                </a:cxn>
                <a:cxn ang="0">
                  <a:pos x="21" y="18"/>
                </a:cxn>
                <a:cxn ang="0">
                  <a:pos x="0" y="14"/>
                </a:cxn>
              </a:cxnLst>
              <a:rect l="0" t="0" r="r" b="b"/>
              <a:pathLst>
                <a:path w="21" h="18">
                  <a:moveTo>
                    <a:pt x="0" y="14"/>
                  </a:moveTo>
                  <a:lnTo>
                    <a:pt x="11" y="0"/>
                  </a:lnTo>
                  <a:lnTo>
                    <a:pt x="21" y="18"/>
                  </a:lnTo>
                  <a:lnTo>
                    <a:pt x="0" y="1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52" name="30530269.125363.12522.2514.55">
              <a:extLst>
                <a:ext uri="{FF2B5EF4-FFF2-40B4-BE49-F238E27FC236}">
                  <a16:creationId xmlns:a16="http://schemas.microsoft.com/office/drawing/2014/main" id="{0549DC58-61E7-410A-B4BE-C429AB8A6B83}"/>
                </a:ext>
              </a:extLst>
            </p:cNvPr>
            <p:cNvSpPr>
              <a:spLocks noChangeAspect="1"/>
            </p:cNvSpPr>
            <p:nvPr/>
          </p:nvSpPr>
          <p:spPr bwMode="gray">
            <a:xfrm>
              <a:off x="5494810" y="2659103"/>
              <a:ext cx="233947" cy="358265"/>
            </a:xfrm>
            <a:custGeom>
              <a:avLst/>
              <a:gdLst/>
              <a:ahLst/>
              <a:cxnLst>
                <a:cxn ang="0">
                  <a:pos x="0" y="92"/>
                </a:cxn>
                <a:cxn ang="0">
                  <a:pos x="10" y="39"/>
                </a:cxn>
                <a:cxn ang="0">
                  <a:pos x="38" y="0"/>
                </a:cxn>
                <a:cxn ang="0">
                  <a:pos x="98" y="0"/>
                </a:cxn>
                <a:cxn ang="0">
                  <a:pos x="63" y="47"/>
                </a:cxn>
                <a:cxn ang="0">
                  <a:pos x="142" y="57"/>
                </a:cxn>
                <a:cxn ang="0">
                  <a:pos x="92" y="121"/>
                </a:cxn>
                <a:cxn ang="0">
                  <a:pos x="151" y="143"/>
                </a:cxn>
                <a:cxn ang="0">
                  <a:pos x="207" y="224"/>
                </a:cxn>
                <a:cxn ang="0">
                  <a:pos x="191" y="230"/>
                </a:cxn>
                <a:cxn ang="0">
                  <a:pos x="216" y="249"/>
                </a:cxn>
                <a:cxn ang="0">
                  <a:pos x="202" y="270"/>
                </a:cxn>
                <a:cxn ang="0">
                  <a:pos x="258" y="274"/>
                </a:cxn>
                <a:cxn ang="0">
                  <a:pos x="224" y="328"/>
                </a:cxn>
                <a:cxn ang="0">
                  <a:pos x="247" y="343"/>
                </a:cxn>
                <a:cxn ang="0">
                  <a:pos x="15" y="394"/>
                </a:cxn>
                <a:cxn ang="0">
                  <a:pos x="118" y="321"/>
                </a:cxn>
                <a:cxn ang="0">
                  <a:pos x="88" y="332"/>
                </a:cxn>
                <a:cxn ang="0">
                  <a:pos x="29" y="310"/>
                </a:cxn>
                <a:cxn ang="0">
                  <a:pos x="73" y="282"/>
                </a:cxn>
                <a:cxn ang="0">
                  <a:pos x="45" y="270"/>
                </a:cxn>
                <a:cxn ang="0">
                  <a:pos x="104" y="241"/>
                </a:cxn>
                <a:cxn ang="0">
                  <a:pos x="111" y="205"/>
                </a:cxn>
                <a:cxn ang="0">
                  <a:pos x="81" y="194"/>
                </a:cxn>
                <a:cxn ang="0">
                  <a:pos x="98" y="173"/>
                </a:cxn>
                <a:cxn ang="0">
                  <a:pos x="37" y="183"/>
                </a:cxn>
                <a:cxn ang="0">
                  <a:pos x="38" y="127"/>
                </a:cxn>
                <a:cxn ang="0">
                  <a:pos x="10" y="153"/>
                </a:cxn>
                <a:cxn ang="0">
                  <a:pos x="26" y="95"/>
                </a:cxn>
                <a:cxn ang="0">
                  <a:pos x="0" y="92"/>
                </a:cxn>
              </a:cxnLst>
              <a:rect l="0" t="0" r="r" b="b"/>
              <a:pathLst>
                <a:path w="258" h="394">
                  <a:moveTo>
                    <a:pt x="0" y="92"/>
                  </a:moveTo>
                  <a:lnTo>
                    <a:pt x="10" y="39"/>
                  </a:lnTo>
                  <a:lnTo>
                    <a:pt x="38" y="0"/>
                  </a:lnTo>
                  <a:lnTo>
                    <a:pt x="98" y="0"/>
                  </a:lnTo>
                  <a:lnTo>
                    <a:pt x="63" y="47"/>
                  </a:lnTo>
                  <a:lnTo>
                    <a:pt x="142" y="57"/>
                  </a:lnTo>
                  <a:lnTo>
                    <a:pt x="92" y="121"/>
                  </a:lnTo>
                  <a:lnTo>
                    <a:pt x="151" y="143"/>
                  </a:lnTo>
                  <a:lnTo>
                    <a:pt x="207" y="224"/>
                  </a:lnTo>
                  <a:lnTo>
                    <a:pt x="191" y="230"/>
                  </a:lnTo>
                  <a:lnTo>
                    <a:pt x="216" y="249"/>
                  </a:lnTo>
                  <a:lnTo>
                    <a:pt x="202" y="270"/>
                  </a:lnTo>
                  <a:lnTo>
                    <a:pt x="258" y="274"/>
                  </a:lnTo>
                  <a:lnTo>
                    <a:pt x="224" y="328"/>
                  </a:lnTo>
                  <a:lnTo>
                    <a:pt x="247" y="343"/>
                  </a:lnTo>
                  <a:lnTo>
                    <a:pt x="15" y="394"/>
                  </a:lnTo>
                  <a:lnTo>
                    <a:pt x="118" y="321"/>
                  </a:lnTo>
                  <a:lnTo>
                    <a:pt x="88" y="332"/>
                  </a:lnTo>
                  <a:lnTo>
                    <a:pt x="29" y="310"/>
                  </a:lnTo>
                  <a:lnTo>
                    <a:pt x="73" y="282"/>
                  </a:lnTo>
                  <a:lnTo>
                    <a:pt x="45" y="270"/>
                  </a:lnTo>
                  <a:lnTo>
                    <a:pt x="104" y="241"/>
                  </a:lnTo>
                  <a:lnTo>
                    <a:pt x="111" y="205"/>
                  </a:lnTo>
                  <a:lnTo>
                    <a:pt x="81" y="194"/>
                  </a:lnTo>
                  <a:lnTo>
                    <a:pt x="98" y="173"/>
                  </a:lnTo>
                  <a:lnTo>
                    <a:pt x="37" y="183"/>
                  </a:lnTo>
                  <a:lnTo>
                    <a:pt x="38" y="127"/>
                  </a:lnTo>
                  <a:lnTo>
                    <a:pt x="10" y="153"/>
                  </a:lnTo>
                  <a:lnTo>
                    <a:pt x="26" y="95"/>
                  </a:lnTo>
                  <a:lnTo>
                    <a:pt x="0" y="92"/>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53" name="30541254.75728.51.755.755">
              <a:extLst>
                <a:ext uri="{FF2B5EF4-FFF2-40B4-BE49-F238E27FC236}">
                  <a16:creationId xmlns:a16="http://schemas.microsoft.com/office/drawing/2014/main" id="{E1CE95D9-032D-4769-8C68-9F29F5042019}"/>
                </a:ext>
              </a:extLst>
            </p:cNvPr>
            <p:cNvSpPr>
              <a:spLocks noChangeAspect="1"/>
            </p:cNvSpPr>
            <p:nvPr/>
          </p:nvSpPr>
          <p:spPr bwMode="gray">
            <a:xfrm>
              <a:off x="11352990" y="2423621"/>
              <a:ext cx="91298" cy="30277"/>
            </a:xfrm>
            <a:custGeom>
              <a:avLst/>
              <a:gdLst/>
              <a:ahLst/>
              <a:cxnLst>
                <a:cxn ang="0">
                  <a:pos x="0" y="10"/>
                </a:cxn>
                <a:cxn ang="0">
                  <a:pos x="61" y="0"/>
                </a:cxn>
                <a:cxn ang="0">
                  <a:pos x="101" y="15"/>
                </a:cxn>
                <a:cxn ang="0">
                  <a:pos x="81" y="32"/>
                </a:cxn>
                <a:cxn ang="0">
                  <a:pos x="0" y="10"/>
                </a:cxn>
              </a:cxnLst>
              <a:rect l="0" t="0" r="r" b="b"/>
              <a:pathLst>
                <a:path w="101" h="32">
                  <a:moveTo>
                    <a:pt x="0" y="10"/>
                  </a:moveTo>
                  <a:lnTo>
                    <a:pt x="61" y="0"/>
                  </a:lnTo>
                  <a:lnTo>
                    <a:pt x="101" y="15"/>
                  </a:lnTo>
                  <a:lnTo>
                    <a:pt x="81" y="32"/>
                  </a:lnTo>
                  <a:lnTo>
                    <a:pt x="0" y="1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54" name="30558282.5513.2572.375115.1255">
              <a:extLst>
                <a:ext uri="{FF2B5EF4-FFF2-40B4-BE49-F238E27FC236}">
                  <a16:creationId xmlns:a16="http://schemas.microsoft.com/office/drawing/2014/main" id="{C1DD6B72-7ED3-4EB9-AAEA-695425602049}"/>
                </a:ext>
              </a:extLst>
            </p:cNvPr>
            <p:cNvSpPr>
              <a:spLocks noChangeAspect="1"/>
            </p:cNvSpPr>
            <p:nvPr/>
          </p:nvSpPr>
          <p:spPr bwMode="gray">
            <a:xfrm>
              <a:off x="7902751" y="2876079"/>
              <a:ext cx="1844948" cy="1170665"/>
            </a:xfrm>
            <a:custGeom>
              <a:avLst/>
              <a:gdLst/>
              <a:ahLst/>
              <a:cxnLst>
                <a:cxn ang="0">
                  <a:pos x="13" y="562"/>
                </a:cxn>
                <a:cxn ang="0">
                  <a:pos x="216" y="484"/>
                </a:cxn>
                <a:cxn ang="0">
                  <a:pos x="209" y="371"/>
                </a:cxn>
                <a:cxn ang="0">
                  <a:pos x="312" y="273"/>
                </a:cxn>
                <a:cxn ang="0">
                  <a:pos x="407" y="225"/>
                </a:cxn>
                <a:cxn ang="0">
                  <a:pos x="506" y="243"/>
                </a:cxn>
                <a:cxn ang="0">
                  <a:pos x="572" y="355"/>
                </a:cxn>
                <a:cxn ang="0">
                  <a:pos x="781" y="456"/>
                </a:cxn>
                <a:cxn ang="0">
                  <a:pos x="1039" y="503"/>
                </a:cxn>
                <a:cxn ang="0">
                  <a:pos x="1278" y="419"/>
                </a:cxn>
                <a:cxn ang="0">
                  <a:pos x="1329" y="374"/>
                </a:cxn>
                <a:cxn ang="0">
                  <a:pos x="1530" y="295"/>
                </a:cxn>
                <a:cxn ang="0">
                  <a:pos x="1402" y="254"/>
                </a:cxn>
                <a:cxn ang="0">
                  <a:pos x="1423" y="157"/>
                </a:cxn>
                <a:cxn ang="0">
                  <a:pos x="1522" y="154"/>
                </a:cxn>
                <a:cxn ang="0">
                  <a:pos x="1548" y="38"/>
                </a:cxn>
                <a:cxn ang="0">
                  <a:pos x="1736" y="26"/>
                </a:cxn>
                <a:cxn ang="0">
                  <a:pos x="1899" y="201"/>
                </a:cxn>
                <a:cxn ang="0">
                  <a:pos x="2044" y="220"/>
                </a:cxn>
                <a:cxn ang="0">
                  <a:pos x="1913" y="379"/>
                </a:cxn>
                <a:cxn ang="0">
                  <a:pos x="1899" y="463"/>
                </a:cxn>
                <a:cxn ang="0">
                  <a:pos x="1823" y="491"/>
                </a:cxn>
                <a:cxn ang="0">
                  <a:pos x="1777" y="506"/>
                </a:cxn>
                <a:cxn ang="0">
                  <a:pos x="1593" y="617"/>
                </a:cxn>
                <a:cxn ang="0">
                  <a:pos x="1608" y="528"/>
                </a:cxn>
                <a:cxn ang="0">
                  <a:pos x="1469" y="624"/>
                </a:cxn>
                <a:cxn ang="0">
                  <a:pos x="1574" y="653"/>
                </a:cxn>
                <a:cxn ang="0">
                  <a:pos x="1553" y="710"/>
                </a:cxn>
                <a:cxn ang="0">
                  <a:pos x="1611" y="880"/>
                </a:cxn>
                <a:cxn ang="0">
                  <a:pos x="1611" y="909"/>
                </a:cxn>
                <a:cxn ang="0">
                  <a:pos x="1614" y="946"/>
                </a:cxn>
                <a:cxn ang="0">
                  <a:pos x="1425" y="1188"/>
                </a:cxn>
                <a:cxn ang="0">
                  <a:pos x="1347" y="1207"/>
                </a:cxn>
                <a:cxn ang="0">
                  <a:pos x="1310" y="1228"/>
                </a:cxn>
                <a:cxn ang="0">
                  <a:pos x="1216" y="1286"/>
                </a:cxn>
                <a:cxn ang="0">
                  <a:pos x="1142" y="1242"/>
                </a:cxn>
                <a:cxn ang="0">
                  <a:pos x="953" y="1209"/>
                </a:cxn>
                <a:cxn ang="0">
                  <a:pos x="935" y="1247"/>
                </a:cxn>
                <a:cxn ang="0">
                  <a:pos x="856" y="1220"/>
                </a:cxn>
                <a:cxn ang="0">
                  <a:pos x="799" y="1161"/>
                </a:cxn>
                <a:cxn ang="0">
                  <a:pos x="833" y="1030"/>
                </a:cxn>
                <a:cxn ang="0">
                  <a:pos x="757" y="996"/>
                </a:cxn>
                <a:cxn ang="0">
                  <a:pos x="604" y="1020"/>
                </a:cxn>
                <a:cxn ang="0">
                  <a:pos x="507" y="1038"/>
                </a:cxn>
                <a:cxn ang="0">
                  <a:pos x="481" y="1019"/>
                </a:cxn>
                <a:cxn ang="0">
                  <a:pos x="352" y="967"/>
                </a:cxn>
                <a:cxn ang="0">
                  <a:pos x="178" y="908"/>
                </a:cxn>
                <a:cxn ang="0">
                  <a:pos x="197" y="843"/>
                </a:cxn>
                <a:cxn ang="0">
                  <a:pos x="221" y="740"/>
                </a:cxn>
                <a:cxn ang="0">
                  <a:pos x="134" y="741"/>
                </a:cxn>
                <a:cxn ang="0">
                  <a:pos x="35" y="671"/>
                </a:cxn>
                <a:cxn ang="0">
                  <a:pos x="0" y="612"/>
                </a:cxn>
              </a:cxnLst>
              <a:rect l="0" t="0" r="r" b="b"/>
              <a:pathLst>
                <a:path w="2044" h="1286">
                  <a:moveTo>
                    <a:pt x="0" y="612"/>
                  </a:moveTo>
                  <a:lnTo>
                    <a:pt x="13" y="562"/>
                  </a:lnTo>
                  <a:lnTo>
                    <a:pt x="87" y="551"/>
                  </a:lnTo>
                  <a:lnTo>
                    <a:pt x="216" y="484"/>
                  </a:lnTo>
                  <a:lnTo>
                    <a:pt x="235" y="432"/>
                  </a:lnTo>
                  <a:lnTo>
                    <a:pt x="209" y="371"/>
                  </a:lnTo>
                  <a:lnTo>
                    <a:pt x="290" y="355"/>
                  </a:lnTo>
                  <a:lnTo>
                    <a:pt x="312" y="273"/>
                  </a:lnTo>
                  <a:lnTo>
                    <a:pt x="397" y="278"/>
                  </a:lnTo>
                  <a:lnTo>
                    <a:pt x="407" y="225"/>
                  </a:lnTo>
                  <a:lnTo>
                    <a:pt x="472" y="198"/>
                  </a:lnTo>
                  <a:lnTo>
                    <a:pt x="506" y="243"/>
                  </a:lnTo>
                  <a:lnTo>
                    <a:pt x="553" y="260"/>
                  </a:lnTo>
                  <a:lnTo>
                    <a:pt x="572" y="355"/>
                  </a:lnTo>
                  <a:lnTo>
                    <a:pt x="719" y="392"/>
                  </a:lnTo>
                  <a:lnTo>
                    <a:pt x="781" y="456"/>
                  </a:lnTo>
                  <a:lnTo>
                    <a:pt x="902" y="452"/>
                  </a:lnTo>
                  <a:lnTo>
                    <a:pt x="1039" y="503"/>
                  </a:lnTo>
                  <a:lnTo>
                    <a:pt x="1222" y="456"/>
                  </a:lnTo>
                  <a:lnTo>
                    <a:pt x="1278" y="419"/>
                  </a:lnTo>
                  <a:lnTo>
                    <a:pt x="1278" y="368"/>
                  </a:lnTo>
                  <a:lnTo>
                    <a:pt x="1329" y="374"/>
                  </a:lnTo>
                  <a:lnTo>
                    <a:pt x="1440" y="300"/>
                  </a:lnTo>
                  <a:lnTo>
                    <a:pt x="1530" y="295"/>
                  </a:lnTo>
                  <a:lnTo>
                    <a:pt x="1487" y="239"/>
                  </a:lnTo>
                  <a:lnTo>
                    <a:pt x="1402" y="254"/>
                  </a:lnTo>
                  <a:lnTo>
                    <a:pt x="1401" y="191"/>
                  </a:lnTo>
                  <a:lnTo>
                    <a:pt x="1423" y="157"/>
                  </a:lnTo>
                  <a:lnTo>
                    <a:pt x="1473" y="176"/>
                  </a:lnTo>
                  <a:lnTo>
                    <a:pt x="1522" y="154"/>
                  </a:lnTo>
                  <a:lnTo>
                    <a:pt x="1571" y="69"/>
                  </a:lnTo>
                  <a:lnTo>
                    <a:pt x="1548" y="38"/>
                  </a:lnTo>
                  <a:lnTo>
                    <a:pt x="1669" y="0"/>
                  </a:lnTo>
                  <a:lnTo>
                    <a:pt x="1736" y="26"/>
                  </a:lnTo>
                  <a:lnTo>
                    <a:pt x="1798" y="169"/>
                  </a:lnTo>
                  <a:lnTo>
                    <a:pt x="1899" y="201"/>
                  </a:lnTo>
                  <a:lnTo>
                    <a:pt x="1919" y="253"/>
                  </a:lnTo>
                  <a:lnTo>
                    <a:pt x="2044" y="220"/>
                  </a:lnTo>
                  <a:lnTo>
                    <a:pt x="1986" y="359"/>
                  </a:lnTo>
                  <a:lnTo>
                    <a:pt x="1913" y="379"/>
                  </a:lnTo>
                  <a:lnTo>
                    <a:pt x="1923" y="432"/>
                  </a:lnTo>
                  <a:lnTo>
                    <a:pt x="1899" y="463"/>
                  </a:lnTo>
                  <a:lnTo>
                    <a:pt x="1886" y="452"/>
                  </a:lnTo>
                  <a:lnTo>
                    <a:pt x="1823" y="491"/>
                  </a:lnTo>
                  <a:lnTo>
                    <a:pt x="1823" y="513"/>
                  </a:lnTo>
                  <a:lnTo>
                    <a:pt x="1777" y="506"/>
                  </a:lnTo>
                  <a:lnTo>
                    <a:pt x="1692" y="568"/>
                  </a:lnTo>
                  <a:lnTo>
                    <a:pt x="1593" y="617"/>
                  </a:lnTo>
                  <a:lnTo>
                    <a:pt x="1623" y="551"/>
                  </a:lnTo>
                  <a:lnTo>
                    <a:pt x="1608" y="528"/>
                  </a:lnTo>
                  <a:lnTo>
                    <a:pt x="1473" y="604"/>
                  </a:lnTo>
                  <a:lnTo>
                    <a:pt x="1469" y="624"/>
                  </a:lnTo>
                  <a:lnTo>
                    <a:pt x="1515" y="674"/>
                  </a:lnTo>
                  <a:lnTo>
                    <a:pt x="1574" y="653"/>
                  </a:lnTo>
                  <a:lnTo>
                    <a:pt x="1636" y="671"/>
                  </a:lnTo>
                  <a:lnTo>
                    <a:pt x="1553" y="710"/>
                  </a:lnTo>
                  <a:lnTo>
                    <a:pt x="1523" y="763"/>
                  </a:lnTo>
                  <a:lnTo>
                    <a:pt x="1611" y="880"/>
                  </a:lnTo>
                  <a:lnTo>
                    <a:pt x="1550" y="869"/>
                  </a:lnTo>
                  <a:lnTo>
                    <a:pt x="1611" y="909"/>
                  </a:lnTo>
                  <a:lnTo>
                    <a:pt x="1552" y="935"/>
                  </a:lnTo>
                  <a:lnTo>
                    <a:pt x="1614" y="946"/>
                  </a:lnTo>
                  <a:lnTo>
                    <a:pt x="1501" y="1133"/>
                  </a:lnTo>
                  <a:lnTo>
                    <a:pt x="1425" y="1188"/>
                  </a:lnTo>
                  <a:lnTo>
                    <a:pt x="1353" y="1206"/>
                  </a:lnTo>
                  <a:lnTo>
                    <a:pt x="1347" y="1207"/>
                  </a:lnTo>
                  <a:lnTo>
                    <a:pt x="1329" y="1196"/>
                  </a:lnTo>
                  <a:lnTo>
                    <a:pt x="1310" y="1228"/>
                  </a:lnTo>
                  <a:lnTo>
                    <a:pt x="1223" y="1247"/>
                  </a:lnTo>
                  <a:lnTo>
                    <a:pt x="1216" y="1286"/>
                  </a:lnTo>
                  <a:lnTo>
                    <a:pt x="1201" y="1239"/>
                  </a:lnTo>
                  <a:lnTo>
                    <a:pt x="1142" y="1242"/>
                  </a:lnTo>
                  <a:lnTo>
                    <a:pt x="1052" y="1184"/>
                  </a:lnTo>
                  <a:lnTo>
                    <a:pt x="953" y="1209"/>
                  </a:lnTo>
                  <a:lnTo>
                    <a:pt x="932" y="1210"/>
                  </a:lnTo>
                  <a:lnTo>
                    <a:pt x="935" y="1247"/>
                  </a:lnTo>
                  <a:lnTo>
                    <a:pt x="920" y="1238"/>
                  </a:lnTo>
                  <a:lnTo>
                    <a:pt x="856" y="1220"/>
                  </a:lnTo>
                  <a:lnTo>
                    <a:pt x="837" y="1152"/>
                  </a:lnTo>
                  <a:lnTo>
                    <a:pt x="799" y="1161"/>
                  </a:lnTo>
                  <a:lnTo>
                    <a:pt x="834" y="1062"/>
                  </a:lnTo>
                  <a:lnTo>
                    <a:pt x="833" y="1030"/>
                  </a:lnTo>
                  <a:lnTo>
                    <a:pt x="792" y="1009"/>
                  </a:lnTo>
                  <a:lnTo>
                    <a:pt x="757" y="996"/>
                  </a:lnTo>
                  <a:lnTo>
                    <a:pt x="746" y="960"/>
                  </a:lnTo>
                  <a:lnTo>
                    <a:pt x="604" y="1020"/>
                  </a:lnTo>
                  <a:lnTo>
                    <a:pt x="540" y="1004"/>
                  </a:lnTo>
                  <a:lnTo>
                    <a:pt x="507" y="1038"/>
                  </a:lnTo>
                  <a:lnTo>
                    <a:pt x="503" y="1014"/>
                  </a:lnTo>
                  <a:lnTo>
                    <a:pt x="481" y="1019"/>
                  </a:lnTo>
                  <a:lnTo>
                    <a:pt x="408" y="1019"/>
                  </a:lnTo>
                  <a:lnTo>
                    <a:pt x="352" y="967"/>
                  </a:lnTo>
                  <a:lnTo>
                    <a:pt x="246" y="932"/>
                  </a:lnTo>
                  <a:lnTo>
                    <a:pt x="178" y="908"/>
                  </a:lnTo>
                  <a:lnTo>
                    <a:pt x="161" y="850"/>
                  </a:lnTo>
                  <a:lnTo>
                    <a:pt x="197" y="843"/>
                  </a:lnTo>
                  <a:lnTo>
                    <a:pt x="175" y="796"/>
                  </a:lnTo>
                  <a:lnTo>
                    <a:pt x="221" y="740"/>
                  </a:lnTo>
                  <a:lnTo>
                    <a:pt x="186" y="721"/>
                  </a:lnTo>
                  <a:lnTo>
                    <a:pt x="134" y="741"/>
                  </a:lnTo>
                  <a:lnTo>
                    <a:pt x="32" y="679"/>
                  </a:lnTo>
                  <a:lnTo>
                    <a:pt x="35" y="671"/>
                  </a:lnTo>
                  <a:lnTo>
                    <a:pt x="36" y="626"/>
                  </a:lnTo>
                  <a:lnTo>
                    <a:pt x="0" y="612"/>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55" name="30559355.5579.253.545">
              <a:extLst>
                <a:ext uri="{FF2B5EF4-FFF2-40B4-BE49-F238E27FC236}">
                  <a16:creationId xmlns:a16="http://schemas.microsoft.com/office/drawing/2014/main" id="{06DBB296-4EFF-42A0-B974-6EB456A5AC52}"/>
                </a:ext>
              </a:extLst>
            </p:cNvPr>
            <p:cNvSpPr>
              <a:spLocks noChangeAspect="1"/>
            </p:cNvSpPr>
            <p:nvPr/>
          </p:nvSpPr>
          <p:spPr bwMode="gray">
            <a:xfrm>
              <a:off x="8960269" y="4055155"/>
              <a:ext cx="62766" cy="57186"/>
            </a:xfrm>
            <a:custGeom>
              <a:avLst/>
              <a:gdLst/>
              <a:ahLst/>
              <a:cxnLst>
                <a:cxn ang="0">
                  <a:pos x="0" y="48"/>
                </a:cxn>
                <a:cxn ang="0">
                  <a:pos x="23" y="0"/>
                </a:cxn>
                <a:cxn ang="0">
                  <a:pos x="73" y="11"/>
                </a:cxn>
                <a:cxn ang="0">
                  <a:pos x="33" y="62"/>
                </a:cxn>
                <a:cxn ang="0">
                  <a:pos x="0" y="48"/>
                </a:cxn>
              </a:cxnLst>
              <a:rect l="0" t="0" r="r" b="b"/>
              <a:pathLst>
                <a:path w="73" h="62">
                  <a:moveTo>
                    <a:pt x="0" y="48"/>
                  </a:moveTo>
                  <a:lnTo>
                    <a:pt x="23" y="0"/>
                  </a:lnTo>
                  <a:lnTo>
                    <a:pt x="73" y="11"/>
                  </a:lnTo>
                  <a:lnTo>
                    <a:pt x="33" y="62"/>
                  </a:lnTo>
                  <a:lnTo>
                    <a:pt x="0" y="48"/>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56" name="30560323.25502.554.87555.255">
              <a:extLst>
                <a:ext uri="{FF2B5EF4-FFF2-40B4-BE49-F238E27FC236}">
                  <a16:creationId xmlns:a16="http://schemas.microsoft.com/office/drawing/2014/main" id="{305C2A1A-817E-4511-8A29-2E2BCC625578}"/>
                </a:ext>
              </a:extLst>
            </p:cNvPr>
            <p:cNvSpPr>
              <a:spLocks noChangeAspect="1"/>
            </p:cNvSpPr>
            <p:nvPr/>
          </p:nvSpPr>
          <p:spPr bwMode="gray">
            <a:xfrm>
              <a:off x="7727769" y="3535420"/>
              <a:ext cx="886334" cy="888092"/>
            </a:xfrm>
            <a:custGeom>
              <a:avLst/>
              <a:gdLst/>
              <a:ahLst/>
              <a:cxnLst>
                <a:cxn ang="0">
                  <a:pos x="0" y="444"/>
                </a:cxn>
                <a:cxn ang="0">
                  <a:pos x="27" y="422"/>
                </a:cxn>
                <a:cxn ang="0">
                  <a:pos x="103" y="422"/>
                </a:cxn>
                <a:cxn ang="0">
                  <a:pos x="51" y="320"/>
                </a:cxn>
                <a:cxn ang="0">
                  <a:pos x="81" y="293"/>
                </a:cxn>
                <a:cxn ang="0">
                  <a:pos x="125" y="295"/>
                </a:cxn>
                <a:cxn ang="0">
                  <a:pos x="224" y="184"/>
                </a:cxn>
                <a:cxn ang="0">
                  <a:pos x="217" y="154"/>
                </a:cxn>
                <a:cxn ang="0">
                  <a:pos x="243" y="136"/>
                </a:cxn>
                <a:cxn ang="0">
                  <a:pos x="199" y="101"/>
                </a:cxn>
                <a:cxn ang="0">
                  <a:pos x="198" y="46"/>
                </a:cxn>
                <a:cxn ang="0">
                  <a:pos x="294" y="46"/>
                </a:cxn>
                <a:cxn ang="0">
                  <a:pos x="322" y="20"/>
                </a:cxn>
                <a:cxn ang="0">
                  <a:pos x="374" y="0"/>
                </a:cxn>
                <a:cxn ang="0">
                  <a:pos x="409" y="19"/>
                </a:cxn>
                <a:cxn ang="0">
                  <a:pos x="363" y="75"/>
                </a:cxn>
                <a:cxn ang="0">
                  <a:pos x="385" y="122"/>
                </a:cxn>
                <a:cxn ang="0">
                  <a:pos x="349" y="129"/>
                </a:cxn>
                <a:cxn ang="0">
                  <a:pos x="366" y="187"/>
                </a:cxn>
                <a:cxn ang="0">
                  <a:pos x="434" y="211"/>
                </a:cxn>
                <a:cxn ang="0">
                  <a:pos x="401" y="265"/>
                </a:cxn>
                <a:cxn ang="0">
                  <a:pos x="491" y="316"/>
                </a:cxn>
                <a:cxn ang="0">
                  <a:pos x="665" y="349"/>
                </a:cxn>
                <a:cxn ang="0">
                  <a:pos x="669" y="298"/>
                </a:cxn>
                <a:cxn ang="0">
                  <a:pos x="691" y="293"/>
                </a:cxn>
                <a:cxn ang="0">
                  <a:pos x="695" y="317"/>
                </a:cxn>
                <a:cxn ang="0">
                  <a:pos x="709" y="339"/>
                </a:cxn>
                <a:cxn ang="0">
                  <a:pos x="797" y="330"/>
                </a:cxn>
                <a:cxn ang="0">
                  <a:pos x="792" y="299"/>
                </a:cxn>
                <a:cxn ang="0">
                  <a:pos x="934" y="239"/>
                </a:cxn>
                <a:cxn ang="0">
                  <a:pos x="945" y="275"/>
                </a:cxn>
                <a:cxn ang="0">
                  <a:pos x="980" y="288"/>
                </a:cxn>
                <a:cxn ang="0">
                  <a:pos x="966" y="324"/>
                </a:cxn>
                <a:cxn ang="0">
                  <a:pos x="907" y="346"/>
                </a:cxn>
                <a:cxn ang="0">
                  <a:pos x="820" y="507"/>
                </a:cxn>
                <a:cxn ang="0">
                  <a:pos x="803" y="442"/>
                </a:cxn>
                <a:cxn ang="0">
                  <a:pos x="787" y="467"/>
                </a:cxn>
                <a:cxn ang="0">
                  <a:pos x="767" y="436"/>
                </a:cxn>
                <a:cxn ang="0">
                  <a:pos x="805" y="396"/>
                </a:cxn>
                <a:cxn ang="0">
                  <a:pos x="730" y="390"/>
                </a:cxn>
                <a:cxn ang="0">
                  <a:pos x="682" y="345"/>
                </a:cxn>
                <a:cxn ang="0">
                  <a:pos x="666" y="370"/>
                </a:cxn>
                <a:cxn ang="0">
                  <a:pos x="684" y="390"/>
                </a:cxn>
                <a:cxn ang="0">
                  <a:pos x="661" y="404"/>
                </a:cxn>
                <a:cxn ang="0">
                  <a:pos x="683" y="425"/>
                </a:cxn>
                <a:cxn ang="0">
                  <a:pos x="695" y="517"/>
                </a:cxn>
                <a:cxn ang="0">
                  <a:pos x="666" y="502"/>
                </a:cxn>
                <a:cxn ang="0">
                  <a:pos x="610" y="574"/>
                </a:cxn>
                <a:cxn ang="0">
                  <a:pos x="408" y="722"/>
                </a:cxn>
                <a:cxn ang="0">
                  <a:pos x="393" y="903"/>
                </a:cxn>
                <a:cxn ang="0">
                  <a:pos x="309" y="976"/>
                </a:cxn>
                <a:cxn ang="0">
                  <a:pos x="234" y="836"/>
                </a:cxn>
                <a:cxn ang="0">
                  <a:pos x="203" y="724"/>
                </a:cxn>
                <a:cxn ang="0">
                  <a:pos x="176" y="698"/>
                </a:cxn>
                <a:cxn ang="0">
                  <a:pos x="155" y="496"/>
                </a:cxn>
                <a:cxn ang="0">
                  <a:pos x="139" y="489"/>
                </a:cxn>
                <a:cxn ang="0">
                  <a:pos x="126" y="533"/>
                </a:cxn>
                <a:cxn ang="0">
                  <a:pos x="78" y="546"/>
                </a:cxn>
                <a:cxn ang="0">
                  <a:pos x="30" y="492"/>
                </a:cxn>
                <a:cxn ang="0">
                  <a:pos x="77" y="464"/>
                </a:cxn>
                <a:cxn ang="0">
                  <a:pos x="30" y="474"/>
                </a:cxn>
                <a:cxn ang="0">
                  <a:pos x="0" y="444"/>
                </a:cxn>
              </a:cxnLst>
              <a:rect l="0" t="0" r="r" b="b"/>
              <a:pathLst>
                <a:path w="980" h="976">
                  <a:moveTo>
                    <a:pt x="0" y="444"/>
                  </a:moveTo>
                  <a:lnTo>
                    <a:pt x="27" y="422"/>
                  </a:lnTo>
                  <a:lnTo>
                    <a:pt x="103" y="422"/>
                  </a:lnTo>
                  <a:lnTo>
                    <a:pt x="51" y="320"/>
                  </a:lnTo>
                  <a:lnTo>
                    <a:pt x="81" y="293"/>
                  </a:lnTo>
                  <a:lnTo>
                    <a:pt x="125" y="295"/>
                  </a:lnTo>
                  <a:lnTo>
                    <a:pt x="224" y="184"/>
                  </a:lnTo>
                  <a:lnTo>
                    <a:pt x="217" y="154"/>
                  </a:lnTo>
                  <a:lnTo>
                    <a:pt x="243" y="136"/>
                  </a:lnTo>
                  <a:lnTo>
                    <a:pt x="199" y="101"/>
                  </a:lnTo>
                  <a:lnTo>
                    <a:pt x="198" y="46"/>
                  </a:lnTo>
                  <a:lnTo>
                    <a:pt x="294" y="46"/>
                  </a:lnTo>
                  <a:lnTo>
                    <a:pt x="322" y="20"/>
                  </a:lnTo>
                  <a:lnTo>
                    <a:pt x="374" y="0"/>
                  </a:lnTo>
                  <a:lnTo>
                    <a:pt x="409" y="19"/>
                  </a:lnTo>
                  <a:lnTo>
                    <a:pt x="363" y="75"/>
                  </a:lnTo>
                  <a:lnTo>
                    <a:pt x="385" y="122"/>
                  </a:lnTo>
                  <a:lnTo>
                    <a:pt x="349" y="129"/>
                  </a:lnTo>
                  <a:lnTo>
                    <a:pt x="366" y="187"/>
                  </a:lnTo>
                  <a:lnTo>
                    <a:pt x="434" y="211"/>
                  </a:lnTo>
                  <a:lnTo>
                    <a:pt x="401" y="265"/>
                  </a:lnTo>
                  <a:lnTo>
                    <a:pt x="491" y="316"/>
                  </a:lnTo>
                  <a:lnTo>
                    <a:pt x="665" y="349"/>
                  </a:lnTo>
                  <a:lnTo>
                    <a:pt x="669" y="298"/>
                  </a:lnTo>
                  <a:lnTo>
                    <a:pt x="691" y="293"/>
                  </a:lnTo>
                  <a:lnTo>
                    <a:pt x="695" y="317"/>
                  </a:lnTo>
                  <a:lnTo>
                    <a:pt x="709" y="339"/>
                  </a:lnTo>
                  <a:lnTo>
                    <a:pt x="797" y="330"/>
                  </a:lnTo>
                  <a:lnTo>
                    <a:pt x="792" y="299"/>
                  </a:lnTo>
                  <a:lnTo>
                    <a:pt x="934" y="239"/>
                  </a:lnTo>
                  <a:lnTo>
                    <a:pt x="945" y="275"/>
                  </a:lnTo>
                  <a:lnTo>
                    <a:pt x="980" y="288"/>
                  </a:lnTo>
                  <a:lnTo>
                    <a:pt x="966" y="324"/>
                  </a:lnTo>
                  <a:lnTo>
                    <a:pt x="907" y="346"/>
                  </a:lnTo>
                  <a:lnTo>
                    <a:pt x="820" y="507"/>
                  </a:lnTo>
                  <a:lnTo>
                    <a:pt x="803" y="442"/>
                  </a:lnTo>
                  <a:lnTo>
                    <a:pt x="787" y="467"/>
                  </a:lnTo>
                  <a:lnTo>
                    <a:pt x="767" y="436"/>
                  </a:lnTo>
                  <a:lnTo>
                    <a:pt x="805" y="396"/>
                  </a:lnTo>
                  <a:lnTo>
                    <a:pt x="730" y="390"/>
                  </a:lnTo>
                  <a:lnTo>
                    <a:pt x="682" y="345"/>
                  </a:lnTo>
                  <a:lnTo>
                    <a:pt x="666" y="370"/>
                  </a:lnTo>
                  <a:lnTo>
                    <a:pt x="684" y="390"/>
                  </a:lnTo>
                  <a:lnTo>
                    <a:pt x="661" y="404"/>
                  </a:lnTo>
                  <a:lnTo>
                    <a:pt x="683" y="425"/>
                  </a:lnTo>
                  <a:lnTo>
                    <a:pt x="695" y="517"/>
                  </a:lnTo>
                  <a:lnTo>
                    <a:pt x="666" y="502"/>
                  </a:lnTo>
                  <a:lnTo>
                    <a:pt x="610" y="574"/>
                  </a:lnTo>
                  <a:lnTo>
                    <a:pt x="408" y="722"/>
                  </a:lnTo>
                  <a:lnTo>
                    <a:pt x="393" y="903"/>
                  </a:lnTo>
                  <a:lnTo>
                    <a:pt x="309" y="976"/>
                  </a:lnTo>
                  <a:lnTo>
                    <a:pt x="234" y="836"/>
                  </a:lnTo>
                  <a:lnTo>
                    <a:pt x="203" y="724"/>
                  </a:lnTo>
                  <a:lnTo>
                    <a:pt x="176" y="698"/>
                  </a:lnTo>
                  <a:lnTo>
                    <a:pt x="155" y="496"/>
                  </a:lnTo>
                  <a:lnTo>
                    <a:pt x="139" y="489"/>
                  </a:lnTo>
                  <a:lnTo>
                    <a:pt x="126" y="533"/>
                  </a:lnTo>
                  <a:lnTo>
                    <a:pt x="78" y="546"/>
                  </a:lnTo>
                  <a:lnTo>
                    <a:pt x="30" y="492"/>
                  </a:lnTo>
                  <a:lnTo>
                    <a:pt x="77" y="464"/>
                  </a:lnTo>
                  <a:lnTo>
                    <a:pt x="30" y="474"/>
                  </a:lnTo>
                  <a:lnTo>
                    <a:pt x="0" y="44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57" name="30561382.875553.87521.37520.3755">
              <a:extLst>
                <a:ext uri="{FF2B5EF4-FFF2-40B4-BE49-F238E27FC236}">
                  <a16:creationId xmlns:a16="http://schemas.microsoft.com/office/drawing/2014/main" id="{8DE35EEE-17E7-47B0-BE78-751FE09773E0}"/>
                </a:ext>
              </a:extLst>
            </p:cNvPr>
            <p:cNvSpPr>
              <a:spLocks noChangeAspect="1"/>
            </p:cNvSpPr>
            <p:nvPr/>
          </p:nvSpPr>
          <p:spPr bwMode="gray">
            <a:xfrm>
              <a:off x="8551336" y="4497519"/>
              <a:ext cx="329046" cy="348174"/>
            </a:xfrm>
            <a:custGeom>
              <a:avLst/>
              <a:gdLst/>
              <a:ahLst/>
              <a:cxnLst>
                <a:cxn ang="0">
                  <a:pos x="0" y="0"/>
                </a:cxn>
                <a:cxn ang="0">
                  <a:pos x="80" y="15"/>
                </a:cxn>
                <a:cxn ang="0">
                  <a:pos x="182" y="114"/>
                </a:cxn>
                <a:cxn ang="0">
                  <a:pos x="264" y="150"/>
                </a:cxn>
                <a:cxn ang="0">
                  <a:pos x="255" y="177"/>
                </a:cxn>
                <a:cxn ang="0">
                  <a:pos x="283" y="175"/>
                </a:cxn>
                <a:cxn ang="0">
                  <a:pos x="279" y="212"/>
                </a:cxn>
                <a:cxn ang="0">
                  <a:pos x="363" y="282"/>
                </a:cxn>
                <a:cxn ang="0">
                  <a:pos x="354" y="377"/>
                </a:cxn>
                <a:cxn ang="0">
                  <a:pos x="318" y="378"/>
                </a:cxn>
                <a:cxn ang="0">
                  <a:pos x="244" y="323"/>
                </a:cxn>
                <a:cxn ang="0">
                  <a:pos x="124" y="132"/>
                </a:cxn>
                <a:cxn ang="0">
                  <a:pos x="0" y="0"/>
                </a:cxn>
              </a:cxnLst>
              <a:rect l="0" t="0" r="r" b="b"/>
              <a:pathLst>
                <a:path w="363" h="378">
                  <a:moveTo>
                    <a:pt x="0" y="0"/>
                  </a:moveTo>
                  <a:lnTo>
                    <a:pt x="80" y="15"/>
                  </a:lnTo>
                  <a:lnTo>
                    <a:pt x="182" y="114"/>
                  </a:lnTo>
                  <a:lnTo>
                    <a:pt x="264" y="150"/>
                  </a:lnTo>
                  <a:lnTo>
                    <a:pt x="255" y="177"/>
                  </a:lnTo>
                  <a:lnTo>
                    <a:pt x="283" y="175"/>
                  </a:lnTo>
                  <a:lnTo>
                    <a:pt x="279" y="212"/>
                  </a:lnTo>
                  <a:lnTo>
                    <a:pt x="363" y="282"/>
                  </a:lnTo>
                  <a:lnTo>
                    <a:pt x="354" y="377"/>
                  </a:lnTo>
                  <a:lnTo>
                    <a:pt x="318" y="378"/>
                  </a:lnTo>
                  <a:lnTo>
                    <a:pt x="244" y="323"/>
                  </a:lnTo>
                  <a:lnTo>
                    <a:pt x="124" y="132"/>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58" name="30562404.6255735.2517.1255">
              <a:extLst>
                <a:ext uri="{FF2B5EF4-FFF2-40B4-BE49-F238E27FC236}">
                  <a16:creationId xmlns:a16="http://schemas.microsoft.com/office/drawing/2014/main" id="{843B60D3-ABFB-4C8A-B87E-28C79C999C61}"/>
                </a:ext>
              </a:extLst>
            </p:cNvPr>
            <p:cNvSpPr>
              <a:spLocks noChangeAspect="1"/>
            </p:cNvSpPr>
            <p:nvPr/>
          </p:nvSpPr>
          <p:spPr bwMode="gray">
            <a:xfrm>
              <a:off x="8857560" y="4852419"/>
              <a:ext cx="275791" cy="85783"/>
            </a:xfrm>
            <a:custGeom>
              <a:avLst/>
              <a:gdLst/>
              <a:ahLst/>
              <a:cxnLst>
                <a:cxn ang="0">
                  <a:pos x="0" y="26"/>
                </a:cxn>
                <a:cxn ang="0">
                  <a:pos x="21" y="0"/>
                </a:cxn>
                <a:cxn ang="0">
                  <a:pos x="234" y="29"/>
                </a:cxn>
                <a:cxn ang="0">
                  <a:pos x="254" y="53"/>
                </a:cxn>
                <a:cxn ang="0">
                  <a:pos x="298" y="62"/>
                </a:cxn>
                <a:cxn ang="0">
                  <a:pos x="304" y="95"/>
                </a:cxn>
                <a:cxn ang="0">
                  <a:pos x="54" y="49"/>
                </a:cxn>
                <a:cxn ang="0">
                  <a:pos x="0" y="26"/>
                </a:cxn>
              </a:cxnLst>
              <a:rect l="0" t="0" r="r" b="b"/>
              <a:pathLst>
                <a:path w="304" h="95">
                  <a:moveTo>
                    <a:pt x="0" y="26"/>
                  </a:moveTo>
                  <a:lnTo>
                    <a:pt x="21" y="0"/>
                  </a:lnTo>
                  <a:lnTo>
                    <a:pt x="234" y="29"/>
                  </a:lnTo>
                  <a:lnTo>
                    <a:pt x="254" y="53"/>
                  </a:lnTo>
                  <a:lnTo>
                    <a:pt x="298" y="62"/>
                  </a:lnTo>
                  <a:lnTo>
                    <a:pt x="304" y="95"/>
                  </a:lnTo>
                  <a:lnTo>
                    <a:pt x="54" y="49"/>
                  </a:lnTo>
                  <a:lnTo>
                    <a:pt x="0" y="26"/>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59" name="30563385.25579.8751618.55">
              <a:extLst>
                <a:ext uri="{FF2B5EF4-FFF2-40B4-BE49-F238E27FC236}">
                  <a16:creationId xmlns:a16="http://schemas.microsoft.com/office/drawing/2014/main" id="{7A45CB2D-E6C3-4053-9B82-E804F7CEF67E}"/>
                </a:ext>
              </a:extLst>
            </p:cNvPr>
            <p:cNvSpPr>
              <a:spLocks noChangeAspect="1"/>
            </p:cNvSpPr>
            <p:nvPr/>
          </p:nvSpPr>
          <p:spPr bwMode="gray">
            <a:xfrm>
              <a:off x="8969780" y="4536207"/>
              <a:ext cx="296713" cy="262391"/>
            </a:xfrm>
            <a:custGeom>
              <a:avLst/>
              <a:gdLst/>
              <a:ahLst/>
              <a:cxnLst>
                <a:cxn ang="0">
                  <a:pos x="0" y="126"/>
                </a:cxn>
                <a:cxn ang="0">
                  <a:pos x="22" y="89"/>
                </a:cxn>
                <a:cxn ang="0">
                  <a:pos x="50" y="112"/>
                </a:cxn>
                <a:cxn ang="0">
                  <a:pos x="150" y="104"/>
                </a:cxn>
                <a:cxn ang="0">
                  <a:pos x="183" y="92"/>
                </a:cxn>
                <a:cxn ang="0">
                  <a:pos x="227" y="0"/>
                </a:cxn>
                <a:cxn ang="0">
                  <a:pos x="285" y="4"/>
                </a:cxn>
                <a:cxn ang="0">
                  <a:pos x="272" y="27"/>
                </a:cxn>
                <a:cxn ang="0">
                  <a:pos x="329" y="112"/>
                </a:cxn>
                <a:cxn ang="0">
                  <a:pos x="297" y="106"/>
                </a:cxn>
                <a:cxn ang="0">
                  <a:pos x="241" y="202"/>
                </a:cxn>
                <a:cxn ang="0">
                  <a:pos x="232" y="262"/>
                </a:cxn>
                <a:cxn ang="0">
                  <a:pos x="197" y="280"/>
                </a:cxn>
                <a:cxn ang="0">
                  <a:pos x="133" y="245"/>
                </a:cxn>
                <a:cxn ang="0">
                  <a:pos x="96" y="261"/>
                </a:cxn>
                <a:cxn ang="0">
                  <a:pos x="91" y="232"/>
                </a:cxn>
                <a:cxn ang="0">
                  <a:pos x="40" y="238"/>
                </a:cxn>
                <a:cxn ang="0">
                  <a:pos x="0" y="126"/>
                </a:cxn>
              </a:cxnLst>
              <a:rect l="0" t="0" r="r" b="b"/>
              <a:pathLst>
                <a:path w="329" h="280">
                  <a:moveTo>
                    <a:pt x="0" y="126"/>
                  </a:moveTo>
                  <a:lnTo>
                    <a:pt x="22" y="89"/>
                  </a:lnTo>
                  <a:lnTo>
                    <a:pt x="50" y="112"/>
                  </a:lnTo>
                  <a:lnTo>
                    <a:pt x="150" y="104"/>
                  </a:lnTo>
                  <a:lnTo>
                    <a:pt x="183" y="92"/>
                  </a:lnTo>
                  <a:lnTo>
                    <a:pt x="227" y="0"/>
                  </a:lnTo>
                  <a:lnTo>
                    <a:pt x="285" y="4"/>
                  </a:lnTo>
                  <a:lnTo>
                    <a:pt x="272" y="27"/>
                  </a:lnTo>
                  <a:lnTo>
                    <a:pt x="329" y="112"/>
                  </a:lnTo>
                  <a:lnTo>
                    <a:pt x="297" y="106"/>
                  </a:lnTo>
                  <a:lnTo>
                    <a:pt x="241" y="202"/>
                  </a:lnTo>
                  <a:lnTo>
                    <a:pt x="232" y="262"/>
                  </a:lnTo>
                  <a:lnTo>
                    <a:pt x="197" y="280"/>
                  </a:lnTo>
                  <a:lnTo>
                    <a:pt x="133" y="245"/>
                  </a:lnTo>
                  <a:lnTo>
                    <a:pt x="96" y="261"/>
                  </a:lnTo>
                  <a:lnTo>
                    <a:pt x="91" y="232"/>
                  </a:lnTo>
                  <a:lnTo>
                    <a:pt x="40" y="238"/>
                  </a:lnTo>
                  <a:lnTo>
                    <a:pt x="0" y="126"/>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60" name="30564409.25594.51.1254.55">
              <a:extLst>
                <a:ext uri="{FF2B5EF4-FFF2-40B4-BE49-F238E27FC236}">
                  <a16:creationId xmlns:a16="http://schemas.microsoft.com/office/drawing/2014/main" id="{0C3FA8EC-4FC7-4F9D-9613-53BE3E0ED2D8}"/>
                </a:ext>
              </a:extLst>
            </p:cNvPr>
            <p:cNvSpPr>
              <a:spLocks noChangeAspect="1"/>
            </p:cNvSpPr>
            <p:nvPr/>
          </p:nvSpPr>
          <p:spPr bwMode="gray">
            <a:xfrm>
              <a:off x="9203723" y="4926426"/>
              <a:ext cx="72277" cy="16821"/>
            </a:xfrm>
            <a:custGeom>
              <a:avLst/>
              <a:gdLst/>
              <a:ahLst/>
              <a:cxnLst>
                <a:cxn ang="0">
                  <a:pos x="0" y="4"/>
                </a:cxn>
                <a:cxn ang="0">
                  <a:pos x="10" y="21"/>
                </a:cxn>
                <a:cxn ang="0">
                  <a:pos x="82" y="7"/>
                </a:cxn>
                <a:cxn ang="0">
                  <a:pos x="27" y="0"/>
                </a:cxn>
                <a:cxn ang="0">
                  <a:pos x="0" y="4"/>
                </a:cxn>
              </a:cxnLst>
              <a:rect l="0" t="0" r="r" b="b"/>
              <a:pathLst>
                <a:path w="82" h="21">
                  <a:moveTo>
                    <a:pt x="0" y="4"/>
                  </a:moveTo>
                  <a:lnTo>
                    <a:pt x="10" y="21"/>
                  </a:lnTo>
                  <a:lnTo>
                    <a:pt x="82" y="7"/>
                  </a:lnTo>
                  <a:lnTo>
                    <a:pt x="27" y="0"/>
                  </a:lnTo>
                  <a:lnTo>
                    <a:pt x="0" y="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61" name="30565390598.37513.87511.6255">
              <a:extLst>
                <a:ext uri="{FF2B5EF4-FFF2-40B4-BE49-F238E27FC236}">
                  <a16:creationId xmlns:a16="http://schemas.microsoft.com/office/drawing/2014/main" id="{07AAAB7A-C01E-47F8-B8A4-A97565FAAD9B}"/>
                </a:ext>
              </a:extLst>
            </p:cNvPr>
            <p:cNvSpPr>
              <a:spLocks noChangeAspect="1"/>
            </p:cNvSpPr>
            <p:nvPr/>
          </p:nvSpPr>
          <p:spPr bwMode="gray">
            <a:xfrm>
              <a:off x="9266493" y="4613576"/>
              <a:ext cx="186397" cy="227071"/>
            </a:xfrm>
            <a:custGeom>
              <a:avLst/>
              <a:gdLst/>
              <a:ahLst/>
              <a:cxnLst>
                <a:cxn ang="0">
                  <a:pos x="0" y="145"/>
                </a:cxn>
                <a:cxn ang="0">
                  <a:pos x="26" y="191"/>
                </a:cxn>
                <a:cxn ang="0">
                  <a:pos x="17" y="235"/>
                </a:cxn>
                <a:cxn ang="0">
                  <a:pos x="50" y="244"/>
                </a:cxn>
                <a:cxn ang="0">
                  <a:pos x="48" y="154"/>
                </a:cxn>
                <a:cxn ang="0">
                  <a:pos x="70" y="145"/>
                </a:cxn>
                <a:cxn ang="0">
                  <a:pos x="72" y="180"/>
                </a:cxn>
                <a:cxn ang="0">
                  <a:pos x="92" y="220"/>
                </a:cxn>
                <a:cxn ang="0">
                  <a:pos x="129" y="202"/>
                </a:cxn>
                <a:cxn ang="0">
                  <a:pos x="83" y="118"/>
                </a:cxn>
                <a:cxn ang="0">
                  <a:pos x="152" y="81"/>
                </a:cxn>
                <a:cxn ang="0">
                  <a:pos x="60" y="104"/>
                </a:cxn>
                <a:cxn ang="0">
                  <a:pos x="46" y="50"/>
                </a:cxn>
                <a:cxn ang="0">
                  <a:pos x="181" y="45"/>
                </a:cxn>
                <a:cxn ang="0">
                  <a:pos x="206" y="0"/>
                </a:cxn>
                <a:cxn ang="0">
                  <a:pos x="166" y="28"/>
                </a:cxn>
                <a:cxn ang="0">
                  <a:pos x="70" y="13"/>
                </a:cxn>
                <a:cxn ang="0">
                  <a:pos x="37" y="34"/>
                </a:cxn>
                <a:cxn ang="0">
                  <a:pos x="0" y="145"/>
                </a:cxn>
              </a:cxnLst>
              <a:rect l="0" t="0" r="r" b="b"/>
              <a:pathLst>
                <a:path w="206" h="244">
                  <a:moveTo>
                    <a:pt x="0" y="145"/>
                  </a:moveTo>
                  <a:lnTo>
                    <a:pt x="26" y="191"/>
                  </a:lnTo>
                  <a:lnTo>
                    <a:pt x="17" y="235"/>
                  </a:lnTo>
                  <a:lnTo>
                    <a:pt x="50" y="244"/>
                  </a:lnTo>
                  <a:lnTo>
                    <a:pt x="48" y="154"/>
                  </a:lnTo>
                  <a:lnTo>
                    <a:pt x="70" y="145"/>
                  </a:lnTo>
                  <a:lnTo>
                    <a:pt x="72" y="180"/>
                  </a:lnTo>
                  <a:lnTo>
                    <a:pt x="92" y="220"/>
                  </a:lnTo>
                  <a:lnTo>
                    <a:pt x="129" y="202"/>
                  </a:lnTo>
                  <a:lnTo>
                    <a:pt x="83" y="118"/>
                  </a:lnTo>
                  <a:lnTo>
                    <a:pt x="152" y="81"/>
                  </a:lnTo>
                  <a:lnTo>
                    <a:pt x="60" y="104"/>
                  </a:lnTo>
                  <a:lnTo>
                    <a:pt x="46" y="50"/>
                  </a:lnTo>
                  <a:lnTo>
                    <a:pt x="181" y="45"/>
                  </a:lnTo>
                  <a:lnTo>
                    <a:pt x="206" y="0"/>
                  </a:lnTo>
                  <a:lnTo>
                    <a:pt x="166" y="28"/>
                  </a:lnTo>
                  <a:lnTo>
                    <a:pt x="70" y="13"/>
                  </a:lnTo>
                  <a:lnTo>
                    <a:pt x="37" y="34"/>
                  </a:lnTo>
                  <a:lnTo>
                    <a:pt x="0" y="14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62" name="30566409.375607.53.56.6255">
              <a:extLst>
                <a:ext uri="{FF2B5EF4-FFF2-40B4-BE49-F238E27FC236}">
                  <a16:creationId xmlns:a16="http://schemas.microsoft.com/office/drawing/2014/main" id="{7A89E5DA-AD00-4A85-B66A-AC239CA7111E}"/>
                </a:ext>
              </a:extLst>
            </p:cNvPr>
            <p:cNvSpPr>
              <a:spLocks noChangeAspect="1"/>
            </p:cNvSpPr>
            <p:nvPr/>
          </p:nvSpPr>
          <p:spPr bwMode="gray">
            <a:xfrm>
              <a:off x="9412947" y="4929791"/>
              <a:ext cx="106511" cy="55506"/>
            </a:xfrm>
            <a:custGeom>
              <a:avLst/>
              <a:gdLst/>
              <a:ahLst/>
              <a:cxnLst>
                <a:cxn ang="0">
                  <a:pos x="0" y="37"/>
                </a:cxn>
                <a:cxn ang="0">
                  <a:pos x="5" y="63"/>
                </a:cxn>
                <a:cxn ang="0">
                  <a:pos x="115" y="0"/>
                </a:cxn>
                <a:cxn ang="0">
                  <a:pos x="33" y="19"/>
                </a:cxn>
                <a:cxn ang="0">
                  <a:pos x="0" y="37"/>
                </a:cxn>
              </a:cxnLst>
              <a:rect l="0" t="0" r="r" b="b"/>
              <a:pathLst>
                <a:path w="115" h="63">
                  <a:moveTo>
                    <a:pt x="0" y="37"/>
                  </a:moveTo>
                  <a:lnTo>
                    <a:pt x="5" y="63"/>
                  </a:lnTo>
                  <a:lnTo>
                    <a:pt x="115" y="0"/>
                  </a:lnTo>
                  <a:lnTo>
                    <a:pt x="33" y="19"/>
                  </a:lnTo>
                  <a:lnTo>
                    <a:pt x="0" y="37"/>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63" name="30567389.375614.3755.6252.255">
              <a:extLst>
                <a:ext uri="{FF2B5EF4-FFF2-40B4-BE49-F238E27FC236}">
                  <a16:creationId xmlns:a16="http://schemas.microsoft.com/office/drawing/2014/main" id="{E14DCCF9-8AFE-4EDA-8A1F-6C45AE79E4F0}"/>
                </a:ext>
              </a:extLst>
            </p:cNvPr>
            <p:cNvSpPr>
              <a:spLocks noChangeAspect="1"/>
            </p:cNvSpPr>
            <p:nvPr/>
          </p:nvSpPr>
          <p:spPr bwMode="gray">
            <a:xfrm>
              <a:off x="9523262" y="4605169"/>
              <a:ext cx="34238" cy="89144"/>
            </a:xfrm>
            <a:custGeom>
              <a:avLst/>
              <a:gdLst/>
              <a:ahLst/>
              <a:cxnLst>
                <a:cxn ang="0">
                  <a:pos x="0" y="35"/>
                </a:cxn>
                <a:cxn ang="0">
                  <a:pos x="8" y="80"/>
                </a:cxn>
                <a:cxn ang="0">
                  <a:pos x="32" y="99"/>
                </a:cxn>
                <a:cxn ang="0">
                  <a:pos x="17" y="58"/>
                </a:cxn>
                <a:cxn ang="0">
                  <a:pos x="40" y="52"/>
                </a:cxn>
                <a:cxn ang="0">
                  <a:pos x="37" y="21"/>
                </a:cxn>
                <a:cxn ang="0">
                  <a:pos x="8" y="41"/>
                </a:cxn>
                <a:cxn ang="0">
                  <a:pos x="21" y="0"/>
                </a:cxn>
                <a:cxn ang="0">
                  <a:pos x="0" y="35"/>
                </a:cxn>
              </a:cxnLst>
              <a:rect l="0" t="0" r="r" b="b"/>
              <a:pathLst>
                <a:path w="40" h="99">
                  <a:moveTo>
                    <a:pt x="0" y="35"/>
                  </a:moveTo>
                  <a:lnTo>
                    <a:pt x="8" y="80"/>
                  </a:lnTo>
                  <a:lnTo>
                    <a:pt x="32" y="99"/>
                  </a:lnTo>
                  <a:lnTo>
                    <a:pt x="17" y="58"/>
                  </a:lnTo>
                  <a:lnTo>
                    <a:pt x="40" y="52"/>
                  </a:lnTo>
                  <a:lnTo>
                    <a:pt x="37" y="21"/>
                  </a:lnTo>
                  <a:lnTo>
                    <a:pt x="8" y="41"/>
                  </a:lnTo>
                  <a:lnTo>
                    <a:pt x="21" y="0"/>
                  </a:lnTo>
                  <a:lnTo>
                    <a:pt x="0" y="3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64" name="30568398.5615.3751.755.3755">
              <a:extLst>
                <a:ext uri="{FF2B5EF4-FFF2-40B4-BE49-F238E27FC236}">
                  <a16:creationId xmlns:a16="http://schemas.microsoft.com/office/drawing/2014/main" id="{02FDBDF5-18A4-4F93-A183-8725BFEE7AA1}"/>
                </a:ext>
              </a:extLst>
            </p:cNvPr>
            <p:cNvSpPr>
              <a:spLocks noChangeAspect="1"/>
            </p:cNvSpPr>
            <p:nvPr/>
          </p:nvSpPr>
          <p:spPr bwMode="gray">
            <a:xfrm>
              <a:off x="9538479" y="4753183"/>
              <a:ext cx="85592" cy="26912"/>
            </a:xfrm>
            <a:custGeom>
              <a:avLst/>
              <a:gdLst/>
              <a:ahLst/>
              <a:cxnLst>
                <a:cxn ang="0">
                  <a:pos x="0" y="12"/>
                </a:cxn>
                <a:cxn ang="0">
                  <a:pos x="53" y="0"/>
                </a:cxn>
                <a:cxn ang="0">
                  <a:pos x="96" y="31"/>
                </a:cxn>
                <a:cxn ang="0">
                  <a:pos x="0" y="12"/>
                </a:cxn>
              </a:cxnLst>
              <a:rect l="0" t="0" r="r" b="b"/>
              <a:pathLst>
                <a:path w="96" h="31">
                  <a:moveTo>
                    <a:pt x="0" y="12"/>
                  </a:moveTo>
                  <a:lnTo>
                    <a:pt x="53" y="0"/>
                  </a:lnTo>
                  <a:lnTo>
                    <a:pt x="96" y="31"/>
                  </a:lnTo>
                  <a:lnTo>
                    <a:pt x="0" y="12"/>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65" name="30569394.125620.87516.2519.755">
              <a:extLst>
                <a:ext uri="{FF2B5EF4-FFF2-40B4-BE49-F238E27FC236}">
                  <a16:creationId xmlns:a16="http://schemas.microsoft.com/office/drawing/2014/main" id="{DC97ED76-C562-4FA8-A8F6-DCAF5074A502}"/>
                </a:ext>
              </a:extLst>
            </p:cNvPr>
            <p:cNvSpPr>
              <a:spLocks noChangeAspect="1"/>
            </p:cNvSpPr>
            <p:nvPr/>
          </p:nvSpPr>
          <p:spPr bwMode="gray">
            <a:xfrm>
              <a:off x="9627872" y="4682538"/>
              <a:ext cx="315734" cy="260710"/>
            </a:xfrm>
            <a:custGeom>
              <a:avLst/>
              <a:gdLst/>
              <a:ahLst/>
              <a:cxnLst>
                <a:cxn ang="0">
                  <a:pos x="0" y="36"/>
                </a:cxn>
                <a:cxn ang="0">
                  <a:pos x="51" y="63"/>
                </a:cxn>
                <a:cxn ang="0">
                  <a:pos x="102" y="56"/>
                </a:cxn>
                <a:cxn ang="0">
                  <a:pos x="37" y="77"/>
                </a:cxn>
                <a:cxn ang="0">
                  <a:pos x="69" y="124"/>
                </a:cxn>
                <a:cxn ang="0">
                  <a:pos x="99" y="84"/>
                </a:cxn>
                <a:cxn ang="0">
                  <a:pos x="120" y="124"/>
                </a:cxn>
                <a:cxn ang="0">
                  <a:pos x="245" y="168"/>
                </a:cxn>
                <a:cxn ang="0">
                  <a:pos x="275" y="238"/>
                </a:cxn>
                <a:cxn ang="0">
                  <a:pos x="252" y="235"/>
                </a:cxn>
                <a:cxn ang="0">
                  <a:pos x="232" y="268"/>
                </a:cxn>
                <a:cxn ang="0">
                  <a:pos x="308" y="253"/>
                </a:cxn>
                <a:cxn ang="0">
                  <a:pos x="349" y="289"/>
                </a:cxn>
                <a:cxn ang="0">
                  <a:pos x="344" y="73"/>
                </a:cxn>
                <a:cxn ang="0">
                  <a:pos x="236" y="36"/>
                </a:cxn>
                <a:cxn ang="0">
                  <a:pos x="149" y="99"/>
                </a:cxn>
                <a:cxn ang="0">
                  <a:pos x="114" y="66"/>
                </a:cxn>
                <a:cxn ang="0">
                  <a:pos x="103" y="14"/>
                </a:cxn>
                <a:cxn ang="0">
                  <a:pos x="51" y="0"/>
                </a:cxn>
                <a:cxn ang="0">
                  <a:pos x="0" y="36"/>
                </a:cxn>
              </a:cxnLst>
              <a:rect l="0" t="0" r="r" b="b"/>
              <a:pathLst>
                <a:path w="349" h="289">
                  <a:moveTo>
                    <a:pt x="0" y="36"/>
                  </a:moveTo>
                  <a:lnTo>
                    <a:pt x="51" y="63"/>
                  </a:lnTo>
                  <a:lnTo>
                    <a:pt x="102" y="56"/>
                  </a:lnTo>
                  <a:lnTo>
                    <a:pt x="37" y="77"/>
                  </a:lnTo>
                  <a:lnTo>
                    <a:pt x="69" y="124"/>
                  </a:lnTo>
                  <a:lnTo>
                    <a:pt x="99" y="84"/>
                  </a:lnTo>
                  <a:lnTo>
                    <a:pt x="120" y="124"/>
                  </a:lnTo>
                  <a:lnTo>
                    <a:pt x="245" y="168"/>
                  </a:lnTo>
                  <a:lnTo>
                    <a:pt x="275" y="238"/>
                  </a:lnTo>
                  <a:lnTo>
                    <a:pt x="252" y="235"/>
                  </a:lnTo>
                  <a:lnTo>
                    <a:pt x="232" y="268"/>
                  </a:lnTo>
                  <a:lnTo>
                    <a:pt x="308" y="253"/>
                  </a:lnTo>
                  <a:lnTo>
                    <a:pt x="349" y="289"/>
                  </a:lnTo>
                  <a:lnTo>
                    <a:pt x="344" y="73"/>
                  </a:lnTo>
                  <a:lnTo>
                    <a:pt x="236" y="36"/>
                  </a:lnTo>
                  <a:lnTo>
                    <a:pt x="149" y="99"/>
                  </a:lnTo>
                  <a:lnTo>
                    <a:pt x="114" y="66"/>
                  </a:lnTo>
                  <a:lnTo>
                    <a:pt x="103" y="14"/>
                  </a:lnTo>
                  <a:lnTo>
                    <a:pt x="51" y="0"/>
                  </a:lnTo>
                  <a:lnTo>
                    <a:pt x="0" y="36"/>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66" name="30570406.75621.51.50.8755">
              <a:extLst>
                <a:ext uri="{FF2B5EF4-FFF2-40B4-BE49-F238E27FC236}">
                  <a16:creationId xmlns:a16="http://schemas.microsoft.com/office/drawing/2014/main" id="{D2AF75EB-5E60-4587-B889-97D36F346923}"/>
                </a:ext>
              </a:extLst>
            </p:cNvPr>
            <p:cNvSpPr>
              <a:spLocks noChangeAspect="1"/>
            </p:cNvSpPr>
            <p:nvPr/>
          </p:nvSpPr>
          <p:spPr bwMode="gray">
            <a:xfrm>
              <a:off x="9637383" y="4887742"/>
              <a:ext cx="11411" cy="23547"/>
            </a:xfrm>
            <a:custGeom>
              <a:avLst/>
              <a:gdLst/>
              <a:ahLst/>
              <a:cxnLst>
                <a:cxn ang="0">
                  <a:pos x="0" y="25"/>
                </a:cxn>
                <a:cxn ang="0">
                  <a:pos x="10" y="0"/>
                </a:cxn>
                <a:cxn ang="0">
                  <a:pos x="16" y="14"/>
                </a:cxn>
                <a:cxn ang="0">
                  <a:pos x="0" y="25"/>
                </a:cxn>
              </a:cxnLst>
              <a:rect l="0" t="0" r="r" b="b"/>
              <a:pathLst>
                <a:path w="16" h="25">
                  <a:moveTo>
                    <a:pt x="0" y="25"/>
                  </a:moveTo>
                  <a:lnTo>
                    <a:pt x="10" y="0"/>
                  </a:lnTo>
                  <a:lnTo>
                    <a:pt x="16" y="14"/>
                  </a:lnTo>
                  <a:lnTo>
                    <a:pt x="0" y="2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67" name="30571317.62561296.6255">
              <a:extLst>
                <a:ext uri="{FF2B5EF4-FFF2-40B4-BE49-F238E27FC236}">
                  <a16:creationId xmlns:a16="http://schemas.microsoft.com/office/drawing/2014/main" id="{7FA2301E-C129-471D-BCBF-0474BC51A6B0}"/>
                </a:ext>
              </a:extLst>
            </p:cNvPr>
            <p:cNvSpPr>
              <a:spLocks noChangeAspect="1"/>
            </p:cNvSpPr>
            <p:nvPr/>
          </p:nvSpPr>
          <p:spPr bwMode="gray">
            <a:xfrm>
              <a:off x="9485220" y="3442910"/>
              <a:ext cx="104610" cy="146334"/>
            </a:xfrm>
            <a:custGeom>
              <a:avLst/>
              <a:gdLst/>
              <a:ahLst/>
              <a:cxnLst>
                <a:cxn ang="0">
                  <a:pos x="0" y="160"/>
                </a:cxn>
                <a:cxn ang="0">
                  <a:pos x="12" y="35"/>
                </a:cxn>
                <a:cxn ang="0">
                  <a:pos x="74" y="0"/>
                </a:cxn>
                <a:cxn ang="0">
                  <a:pos x="115" y="98"/>
                </a:cxn>
                <a:cxn ang="0">
                  <a:pos x="73" y="144"/>
                </a:cxn>
                <a:cxn ang="0">
                  <a:pos x="0" y="160"/>
                </a:cxn>
              </a:cxnLst>
              <a:rect l="0" t="0" r="r" b="b"/>
              <a:pathLst>
                <a:path w="115" h="160">
                  <a:moveTo>
                    <a:pt x="0" y="160"/>
                  </a:moveTo>
                  <a:lnTo>
                    <a:pt x="12" y="35"/>
                  </a:lnTo>
                  <a:lnTo>
                    <a:pt x="74" y="0"/>
                  </a:lnTo>
                  <a:lnTo>
                    <a:pt x="115" y="98"/>
                  </a:lnTo>
                  <a:lnTo>
                    <a:pt x="73" y="144"/>
                  </a:lnTo>
                  <a:lnTo>
                    <a:pt x="0" y="16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68" name="30572381.125563.259.3757.1255">
              <a:extLst>
                <a:ext uri="{FF2B5EF4-FFF2-40B4-BE49-F238E27FC236}">
                  <a16:creationId xmlns:a16="http://schemas.microsoft.com/office/drawing/2014/main" id="{B95E4BA8-C13F-477B-9253-66607FD6E421}"/>
                </a:ext>
              </a:extLst>
            </p:cNvPr>
            <p:cNvSpPr>
              <a:spLocks noChangeAspect="1"/>
            </p:cNvSpPr>
            <p:nvPr/>
          </p:nvSpPr>
          <p:spPr bwMode="gray">
            <a:xfrm>
              <a:off x="8703496" y="4472291"/>
              <a:ext cx="114121" cy="151380"/>
            </a:xfrm>
            <a:custGeom>
              <a:avLst/>
              <a:gdLst/>
              <a:ahLst/>
              <a:cxnLst>
                <a:cxn ang="0">
                  <a:pos x="0" y="0"/>
                </a:cxn>
                <a:cxn ang="0">
                  <a:pos x="25" y="0"/>
                </a:cxn>
                <a:cxn ang="0">
                  <a:pos x="33" y="31"/>
                </a:cxn>
                <a:cxn ang="0">
                  <a:pos x="65" y="11"/>
                </a:cxn>
                <a:cxn ang="0">
                  <a:pos x="106" y="50"/>
                </a:cxn>
                <a:cxn ang="0">
                  <a:pos x="125" y="167"/>
                </a:cxn>
                <a:cxn ang="0">
                  <a:pos x="124" y="167"/>
                </a:cxn>
                <a:cxn ang="0">
                  <a:pos x="39" y="117"/>
                </a:cxn>
                <a:cxn ang="0">
                  <a:pos x="0" y="0"/>
                </a:cxn>
              </a:cxnLst>
              <a:rect l="0" t="0" r="r" b="b"/>
              <a:pathLst>
                <a:path w="125" h="167">
                  <a:moveTo>
                    <a:pt x="0" y="0"/>
                  </a:moveTo>
                  <a:lnTo>
                    <a:pt x="25" y="0"/>
                  </a:lnTo>
                  <a:lnTo>
                    <a:pt x="33" y="31"/>
                  </a:lnTo>
                  <a:lnTo>
                    <a:pt x="65" y="11"/>
                  </a:lnTo>
                  <a:lnTo>
                    <a:pt x="106" y="50"/>
                  </a:lnTo>
                  <a:lnTo>
                    <a:pt x="125" y="167"/>
                  </a:lnTo>
                  <a:lnTo>
                    <a:pt x="124" y="167"/>
                  </a:lnTo>
                  <a:lnTo>
                    <a:pt x="39" y="117"/>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69" name="30573380.375581.12511.375185">
              <a:extLst>
                <a:ext uri="{FF2B5EF4-FFF2-40B4-BE49-F238E27FC236}">
                  <a16:creationId xmlns:a16="http://schemas.microsoft.com/office/drawing/2014/main" id="{F6CEC608-29BD-4523-A042-FEA3952AF32A}"/>
                </a:ext>
              </a:extLst>
            </p:cNvPr>
            <p:cNvSpPr>
              <a:spLocks noChangeAspect="1"/>
            </p:cNvSpPr>
            <p:nvPr/>
          </p:nvSpPr>
          <p:spPr bwMode="gray">
            <a:xfrm>
              <a:off x="8988798" y="4458835"/>
              <a:ext cx="291007" cy="185018"/>
            </a:xfrm>
            <a:custGeom>
              <a:avLst/>
              <a:gdLst/>
              <a:ahLst/>
              <a:cxnLst>
                <a:cxn ang="0">
                  <a:pos x="0" y="176"/>
                </a:cxn>
                <a:cxn ang="0">
                  <a:pos x="28" y="199"/>
                </a:cxn>
                <a:cxn ang="0">
                  <a:pos x="128" y="191"/>
                </a:cxn>
                <a:cxn ang="0">
                  <a:pos x="161" y="179"/>
                </a:cxn>
                <a:cxn ang="0">
                  <a:pos x="205" y="87"/>
                </a:cxn>
                <a:cxn ang="0">
                  <a:pos x="263" y="91"/>
                </a:cxn>
                <a:cxn ang="0">
                  <a:pos x="319" y="59"/>
                </a:cxn>
                <a:cxn ang="0">
                  <a:pos x="265" y="33"/>
                </a:cxn>
                <a:cxn ang="0">
                  <a:pos x="249" y="0"/>
                </a:cxn>
                <a:cxn ang="0">
                  <a:pos x="183" y="62"/>
                </a:cxn>
                <a:cxn ang="0">
                  <a:pos x="164" y="96"/>
                </a:cxn>
                <a:cxn ang="0">
                  <a:pos x="143" y="77"/>
                </a:cxn>
                <a:cxn ang="0">
                  <a:pos x="105" y="127"/>
                </a:cxn>
                <a:cxn ang="0">
                  <a:pos x="62" y="133"/>
                </a:cxn>
                <a:cxn ang="0">
                  <a:pos x="48" y="179"/>
                </a:cxn>
                <a:cxn ang="0">
                  <a:pos x="0" y="176"/>
                </a:cxn>
              </a:cxnLst>
              <a:rect l="0" t="0" r="r" b="b"/>
              <a:pathLst>
                <a:path w="319" h="199">
                  <a:moveTo>
                    <a:pt x="0" y="176"/>
                  </a:moveTo>
                  <a:lnTo>
                    <a:pt x="28" y="199"/>
                  </a:lnTo>
                  <a:lnTo>
                    <a:pt x="128" y="191"/>
                  </a:lnTo>
                  <a:lnTo>
                    <a:pt x="161" y="179"/>
                  </a:lnTo>
                  <a:lnTo>
                    <a:pt x="205" y="87"/>
                  </a:lnTo>
                  <a:lnTo>
                    <a:pt x="263" y="91"/>
                  </a:lnTo>
                  <a:lnTo>
                    <a:pt x="319" y="59"/>
                  </a:lnTo>
                  <a:lnTo>
                    <a:pt x="265" y="33"/>
                  </a:lnTo>
                  <a:lnTo>
                    <a:pt x="249" y="0"/>
                  </a:lnTo>
                  <a:lnTo>
                    <a:pt x="183" y="62"/>
                  </a:lnTo>
                  <a:lnTo>
                    <a:pt x="164" y="96"/>
                  </a:lnTo>
                  <a:lnTo>
                    <a:pt x="143" y="77"/>
                  </a:lnTo>
                  <a:lnTo>
                    <a:pt x="105" y="127"/>
                  </a:lnTo>
                  <a:lnTo>
                    <a:pt x="62" y="133"/>
                  </a:lnTo>
                  <a:lnTo>
                    <a:pt x="48" y="179"/>
                  </a:lnTo>
                  <a:lnTo>
                    <a:pt x="0" y="176"/>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70" name="30574320.875489.12527.2531.55">
              <a:extLst>
                <a:ext uri="{FF2B5EF4-FFF2-40B4-BE49-F238E27FC236}">
                  <a16:creationId xmlns:a16="http://schemas.microsoft.com/office/drawing/2014/main" id="{306C6020-6D0C-491A-A19B-431004206215}"/>
                </a:ext>
              </a:extLst>
            </p:cNvPr>
            <p:cNvSpPr>
              <a:spLocks noChangeAspect="1"/>
            </p:cNvSpPr>
            <p:nvPr/>
          </p:nvSpPr>
          <p:spPr bwMode="gray">
            <a:xfrm>
              <a:off x="7512843" y="3496735"/>
              <a:ext cx="505933" cy="439002"/>
            </a:xfrm>
            <a:custGeom>
              <a:avLst/>
              <a:gdLst/>
              <a:ahLst/>
              <a:cxnLst>
                <a:cxn ang="0">
                  <a:pos x="0" y="267"/>
                </a:cxn>
                <a:cxn ang="0">
                  <a:pos x="52" y="284"/>
                </a:cxn>
                <a:cxn ang="0">
                  <a:pos x="175" y="267"/>
                </a:cxn>
                <a:cxn ang="0">
                  <a:pos x="198" y="218"/>
                </a:cxn>
                <a:cxn ang="0">
                  <a:pos x="281" y="190"/>
                </a:cxn>
                <a:cxn ang="0">
                  <a:pos x="289" y="149"/>
                </a:cxn>
                <a:cxn ang="0">
                  <a:pos x="316" y="138"/>
                </a:cxn>
                <a:cxn ang="0">
                  <a:pos x="304" y="116"/>
                </a:cxn>
                <a:cxn ang="0">
                  <a:pos x="334" y="114"/>
                </a:cxn>
                <a:cxn ang="0">
                  <a:pos x="356" y="72"/>
                </a:cxn>
                <a:cxn ang="0">
                  <a:pos x="347" y="31"/>
                </a:cxn>
                <a:cxn ang="0">
                  <a:pos x="458" y="0"/>
                </a:cxn>
                <a:cxn ang="0">
                  <a:pos x="560" y="62"/>
                </a:cxn>
                <a:cxn ang="0">
                  <a:pos x="532" y="88"/>
                </a:cxn>
                <a:cxn ang="0">
                  <a:pos x="436" y="88"/>
                </a:cxn>
                <a:cxn ang="0">
                  <a:pos x="437" y="143"/>
                </a:cxn>
                <a:cxn ang="0">
                  <a:pos x="481" y="178"/>
                </a:cxn>
                <a:cxn ang="0">
                  <a:pos x="455" y="196"/>
                </a:cxn>
                <a:cxn ang="0">
                  <a:pos x="462" y="226"/>
                </a:cxn>
                <a:cxn ang="0">
                  <a:pos x="363" y="337"/>
                </a:cxn>
                <a:cxn ang="0">
                  <a:pos x="319" y="335"/>
                </a:cxn>
                <a:cxn ang="0">
                  <a:pos x="289" y="362"/>
                </a:cxn>
                <a:cxn ang="0">
                  <a:pos x="341" y="464"/>
                </a:cxn>
                <a:cxn ang="0">
                  <a:pos x="265" y="464"/>
                </a:cxn>
                <a:cxn ang="0">
                  <a:pos x="238" y="486"/>
                </a:cxn>
                <a:cxn ang="0">
                  <a:pos x="182" y="425"/>
                </a:cxn>
                <a:cxn ang="0">
                  <a:pos x="26" y="436"/>
                </a:cxn>
                <a:cxn ang="0">
                  <a:pos x="79" y="366"/>
                </a:cxn>
                <a:cxn ang="0">
                  <a:pos x="0" y="267"/>
                </a:cxn>
              </a:cxnLst>
              <a:rect l="0" t="0" r="r" b="b"/>
              <a:pathLst>
                <a:path w="560" h="486">
                  <a:moveTo>
                    <a:pt x="0" y="267"/>
                  </a:moveTo>
                  <a:lnTo>
                    <a:pt x="52" y="284"/>
                  </a:lnTo>
                  <a:lnTo>
                    <a:pt x="175" y="267"/>
                  </a:lnTo>
                  <a:lnTo>
                    <a:pt x="198" y="218"/>
                  </a:lnTo>
                  <a:lnTo>
                    <a:pt x="281" y="190"/>
                  </a:lnTo>
                  <a:lnTo>
                    <a:pt x="289" y="149"/>
                  </a:lnTo>
                  <a:lnTo>
                    <a:pt x="316" y="138"/>
                  </a:lnTo>
                  <a:lnTo>
                    <a:pt x="304" y="116"/>
                  </a:lnTo>
                  <a:lnTo>
                    <a:pt x="334" y="114"/>
                  </a:lnTo>
                  <a:lnTo>
                    <a:pt x="356" y="72"/>
                  </a:lnTo>
                  <a:lnTo>
                    <a:pt x="347" y="31"/>
                  </a:lnTo>
                  <a:lnTo>
                    <a:pt x="458" y="0"/>
                  </a:lnTo>
                  <a:lnTo>
                    <a:pt x="560" y="62"/>
                  </a:lnTo>
                  <a:lnTo>
                    <a:pt x="532" y="88"/>
                  </a:lnTo>
                  <a:lnTo>
                    <a:pt x="436" y="88"/>
                  </a:lnTo>
                  <a:lnTo>
                    <a:pt x="437" y="143"/>
                  </a:lnTo>
                  <a:lnTo>
                    <a:pt x="481" y="178"/>
                  </a:lnTo>
                  <a:lnTo>
                    <a:pt x="455" y="196"/>
                  </a:lnTo>
                  <a:lnTo>
                    <a:pt x="462" y="226"/>
                  </a:lnTo>
                  <a:lnTo>
                    <a:pt x="363" y="337"/>
                  </a:lnTo>
                  <a:lnTo>
                    <a:pt x="319" y="335"/>
                  </a:lnTo>
                  <a:lnTo>
                    <a:pt x="289" y="362"/>
                  </a:lnTo>
                  <a:lnTo>
                    <a:pt x="341" y="464"/>
                  </a:lnTo>
                  <a:lnTo>
                    <a:pt x="265" y="464"/>
                  </a:lnTo>
                  <a:lnTo>
                    <a:pt x="238" y="486"/>
                  </a:lnTo>
                  <a:lnTo>
                    <a:pt x="182" y="425"/>
                  </a:lnTo>
                  <a:lnTo>
                    <a:pt x="26" y="436"/>
                  </a:lnTo>
                  <a:lnTo>
                    <a:pt x="79" y="366"/>
                  </a:lnTo>
                  <a:lnTo>
                    <a:pt x="0" y="267"/>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71" name="30575372.125595.255.3754.255">
              <a:extLst>
                <a:ext uri="{FF2B5EF4-FFF2-40B4-BE49-F238E27FC236}">
                  <a16:creationId xmlns:a16="http://schemas.microsoft.com/office/drawing/2014/main" id="{DEBBA118-694C-49F4-96CD-48E78BDD5166}"/>
                </a:ext>
              </a:extLst>
            </p:cNvPr>
            <p:cNvSpPr>
              <a:spLocks noChangeAspect="1"/>
            </p:cNvSpPr>
            <p:nvPr/>
          </p:nvSpPr>
          <p:spPr bwMode="gray">
            <a:xfrm>
              <a:off x="9215138" y="4325957"/>
              <a:ext cx="66571" cy="85779"/>
            </a:xfrm>
            <a:custGeom>
              <a:avLst/>
              <a:gdLst/>
              <a:ahLst/>
              <a:cxnLst>
                <a:cxn ang="0">
                  <a:pos x="0" y="97"/>
                </a:cxn>
                <a:cxn ang="0">
                  <a:pos x="54" y="51"/>
                </a:cxn>
                <a:cxn ang="0">
                  <a:pos x="77" y="0"/>
                </a:cxn>
                <a:cxn ang="0">
                  <a:pos x="0" y="97"/>
                </a:cxn>
              </a:cxnLst>
              <a:rect l="0" t="0" r="r" b="b"/>
              <a:pathLst>
                <a:path w="77" h="97">
                  <a:moveTo>
                    <a:pt x="0" y="97"/>
                  </a:moveTo>
                  <a:lnTo>
                    <a:pt x="54" y="51"/>
                  </a:lnTo>
                  <a:lnTo>
                    <a:pt x="77" y="0"/>
                  </a:lnTo>
                  <a:lnTo>
                    <a:pt x="0" y="97"/>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72" name="30576358.25600.2511.57.755">
              <a:extLst>
                <a:ext uri="{FF2B5EF4-FFF2-40B4-BE49-F238E27FC236}">
                  <a16:creationId xmlns:a16="http://schemas.microsoft.com/office/drawing/2014/main" id="{38F71068-92BC-4486-A77E-BE48AE7F5A85}"/>
                </a:ext>
              </a:extLst>
            </p:cNvPr>
            <p:cNvSpPr>
              <a:spLocks noChangeAspect="1"/>
            </p:cNvSpPr>
            <p:nvPr/>
          </p:nvSpPr>
          <p:spPr bwMode="gray">
            <a:xfrm>
              <a:off x="9295021" y="4100570"/>
              <a:ext cx="127436" cy="186699"/>
            </a:xfrm>
            <a:custGeom>
              <a:avLst/>
              <a:gdLst/>
              <a:ahLst/>
              <a:cxnLst>
                <a:cxn ang="0">
                  <a:pos x="0" y="79"/>
                </a:cxn>
                <a:cxn ang="0">
                  <a:pos x="26" y="0"/>
                </a:cxn>
                <a:cxn ang="0">
                  <a:pos x="74" y="2"/>
                </a:cxn>
                <a:cxn ang="0">
                  <a:pos x="87" y="55"/>
                </a:cxn>
                <a:cxn ang="0">
                  <a:pos x="49" y="110"/>
                </a:cxn>
                <a:cxn ang="0">
                  <a:pos x="58" y="141"/>
                </a:cxn>
                <a:cxn ang="0">
                  <a:pos x="130" y="161"/>
                </a:cxn>
                <a:cxn ang="0">
                  <a:pos x="136" y="203"/>
                </a:cxn>
                <a:cxn ang="0">
                  <a:pos x="92" y="161"/>
                </a:cxn>
                <a:cxn ang="0">
                  <a:pos x="92" y="181"/>
                </a:cxn>
                <a:cxn ang="0">
                  <a:pos x="26" y="161"/>
                </a:cxn>
                <a:cxn ang="0">
                  <a:pos x="0" y="79"/>
                </a:cxn>
              </a:cxnLst>
              <a:rect l="0" t="0" r="r" b="b"/>
              <a:pathLst>
                <a:path w="136" h="203">
                  <a:moveTo>
                    <a:pt x="0" y="79"/>
                  </a:moveTo>
                  <a:lnTo>
                    <a:pt x="26" y="0"/>
                  </a:lnTo>
                  <a:lnTo>
                    <a:pt x="74" y="2"/>
                  </a:lnTo>
                  <a:lnTo>
                    <a:pt x="87" y="55"/>
                  </a:lnTo>
                  <a:lnTo>
                    <a:pt x="49" y="110"/>
                  </a:lnTo>
                  <a:lnTo>
                    <a:pt x="58" y="141"/>
                  </a:lnTo>
                  <a:lnTo>
                    <a:pt x="130" y="161"/>
                  </a:lnTo>
                  <a:lnTo>
                    <a:pt x="136" y="203"/>
                  </a:lnTo>
                  <a:lnTo>
                    <a:pt x="92" y="161"/>
                  </a:lnTo>
                  <a:lnTo>
                    <a:pt x="92" y="181"/>
                  </a:lnTo>
                  <a:lnTo>
                    <a:pt x="26" y="161"/>
                  </a:lnTo>
                  <a:lnTo>
                    <a:pt x="0" y="7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73" name="305773686012.3752.1255">
              <a:extLst>
                <a:ext uri="{FF2B5EF4-FFF2-40B4-BE49-F238E27FC236}">
                  <a16:creationId xmlns:a16="http://schemas.microsoft.com/office/drawing/2014/main" id="{10D763DB-F008-4105-B2A7-FD2E1070D789}"/>
                </a:ext>
              </a:extLst>
            </p:cNvPr>
            <p:cNvSpPr>
              <a:spLocks noChangeAspect="1"/>
            </p:cNvSpPr>
            <p:nvPr/>
          </p:nvSpPr>
          <p:spPr bwMode="gray">
            <a:xfrm>
              <a:off x="9308337" y="4256995"/>
              <a:ext cx="34238" cy="38688"/>
            </a:xfrm>
            <a:custGeom>
              <a:avLst/>
              <a:gdLst/>
              <a:ahLst/>
              <a:cxnLst>
                <a:cxn ang="0">
                  <a:pos x="0" y="0"/>
                </a:cxn>
                <a:cxn ang="0">
                  <a:pos x="20" y="0"/>
                </a:cxn>
                <a:cxn ang="0">
                  <a:pos x="39" y="8"/>
                </a:cxn>
                <a:cxn ang="0">
                  <a:pos x="29" y="41"/>
                </a:cxn>
                <a:cxn ang="0">
                  <a:pos x="0" y="0"/>
                </a:cxn>
              </a:cxnLst>
              <a:rect l="0" t="0" r="r" b="b"/>
              <a:pathLst>
                <a:path w="39" h="41">
                  <a:moveTo>
                    <a:pt x="0" y="0"/>
                  </a:moveTo>
                  <a:lnTo>
                    <a:pt x="20" y="0"/>
                  </a:lnTo>
                  <a:lnTo>
                    <a:pt x="39" y="8"/>
                  </a:lnTo>
                  <a:lnTo>
                    <a:pt x="29" y="41"/>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74" name="305783716042.87525">
              <a:extLst>
                <a:ext uri="{FF2B5EF4-FFF2-40B4-BE49-F238E27FC236}">
                  <a16:creationId xmlns:a16="http://schemas.microsoft.com/office/drawing/2014/main" id="{2EF36FCA-56BA-4B80-98ED-6C0F211AA5C3}"/>
                </a:ext>
              </a:extLst>
            </p:cNvPr>
            <p:cNvSpPr>
              <a:spLocks noChangeAspect="1"/>
            </p:cNvSpPr>
            <p:nvPr/>
          </p:nvSpPr>
          <p:spPr bwMode="gray">
            <a:xfrm>
              <a:off x="9355887" y="4307455"/>
              <a:ext cx="30433" cy="45414"/>
            </a:xfrm>
            <a:custGeom>
              <a:avLst/>
              <a:gdLst/>
              <a:ahLst/>
              <a:cxnLst>
                <a:cxn ang="0">
                  <a:pos x="0" y="0"/>
                </a:cxn>
                <a:cxn ang="0">
                  <a:pos x="3" y="52"/>
                </a:cxn>
                <a:cxn ang="0">
                  <a:pos x="36" y="30"/>
                </a:cxn>
                <a:cxn ang="0">
                  <a:pos x="0" y="0"/>
                </a:cxn>
              </a:cxnLst>
              <a:rect l="0" t="0" r="r" b="b"/>
              <a:pathLst>
                <a:path w="36" h="52">
                  <a:moveTo>
                    <a:pt x="0" y="0"/>
                  </a:moveTo>
                  <a:lnTo>
                    <a:pt x="3" y="52"/>
                  </a:lnTo>
                  <a:lnTo>
                    <a:pt x="36" y="30"/>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75" name="30579375.125604.1257.758.255">
              <a:extLst>
                <a:ext uri="{FF2B5EF4-FFF2-40B4-BE49-F238E27FC236}">
                  <a16:creationId xmlns:a16="http://schemas.microsoft.com/office/drawing/2014/main" id="{6E02177B-F3C5-456D-BD8E-BBC8B74DCBAE}"/>
                </a:ext>
              </a:extLst>
            </p:cNvPr>
            <p:cNvSpPr>
              <a:spLocks noChangeAspect="1"/>
            </p:cNvSpPr>
            <p:nvPr/>
          </p:nvSpPr>
          <p:spPr bwMode="gray">
            <a:xfrm>
              <a:off x="9357787" y="4373052"/>
              <a:ext cx="133142" cy="124467"/>
            </a:xfrm>
            <a:custGeom>
              <a:avLst/>
              <a:gdLst/>
              <a:ahLst/>
              <a:cxnLst>
                <a:cxn ang="0">
                  <a:pos x="0" y="95"/>
                </a:cxn>
                <a:cxn ang="0">
                  <a:pos x="31" y="45"/>
                </a:cxn>
                <a:cxn ang="0">
                  <a:pos x="68" y="54"/>
                </a:cxn>
                <a:cxn ang="0">
                  <a:pos x="121" y="0"/>
                </a:cxn>
                <a:cxn ang="0">
                  <a:pos x="145" y="32"/>
                </a:cxn>
                <a:cxn ang="0">
                  <a:pos x="141" y="114"/>
                </a:cxn>
                <a:cxn ang="0">
                  <a:pos x="129" y="80"/>
                </a:cxn>
                <a:cxn ang="0">
                  <a:pos x="115" y="139"/>
                </a:cxn>
                <a:cxn ang="0">
                  <a:pos x="78" y="123"/>
                </a:cxn>
                <a:cxn ang="0">
                  <a:pos x="56" y="62"/>
                </a:cxn>
                <a:cxn ang="0">
                  <a:pos x="0" y="95"/>
                </a:cxn>
              </a:cxnLst>
              <a:rect l="0" t="0" r="r" b="b"/>
              <a:pathLst>
                <a:path w="145" h="139">
                  <a:moveTo>
                    <a:pt x="0" y="95"/>
                  </a:moveTo>
                  <a:lnTo>
                    <a:pt x="31" y="45"/>
                  </a:lnTo>
                  <a:lnTo>
                    <a:pt x="68" y="54"/>
                  </a:lnTo>
                  <a:lnTo>
                    <a:pt x="121" y="0"/>
                  </a:lnTo>
                  <a:lnTo>
                    <a:pt x="145" y="32"/>
                  </a:lnTo>
                  <a:lnTo>
                    <a:pt x="141" y="114"/>
                  </a:lnTo>
                  <a:lnTo>
                    <a:pt x="129" y="80"/>
                  </a:lnTo>
                  <a:lnTo>
                    <a:pt x="115" y="139"/>
                  </a:lnTo>
                  <a:lnTo>
                    <a:pt x="78" y="123"/>
                  </a:lnTo>
                  <a:lnTo>
                    <a:pt x="56" y="62"/>
                  </a:lnTo>
                  <a:lnTo>
                    <a:pt x="0" y="9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76" name="30580373.125605.1253.251.8755">
              <a:extLst>
                <a:ext uri="{FF2B5EF4-FFF2-40B4-BE49-F238E27FC236}">
                  <a16:creationId xmlns:a16="http://schemas.microsoft.com/office/drawing/2014/main" id="{5F150A95-4FAF-44CE-9BF6-A86CEB79DC66}"/>
                </a:ext>
              </a:extLst>
            </p:cNvPr>
            <p:cNvSpPr>
              <a:spLocks noChangeAspect="1"/>
            </p:cNvSpPr>
            <p:nvPr/>
          </p:nvSpPr>
          <p:spPr bwMode="gray">
            <a:xfrm>
              <a:off x="9374904" y="4341094"/>
              <a:ext cx="28532" cy="53825"/>
            </a:xfrm>
            <a:custGeom>
              <a:avLst/>
              <a:gdLst/>
              <a:ahLst/>
              <a:cxnLst>
                <a:cxn ang="0">
                  <a:pos x="0" y="35"/>
                </a:cxn>
                <a:cxn ang="0">
                  <a:pos x="8" y="24"/>
                </a:cxn>
                <a:cxn ang="0">
                  <a:pos x="33" y="0"/>
                </a:cxn>
                <a:cxn ang="0">
                  <a:pos x="22" y="56"/>
                </a:cxn>
                <a:cxn ang="0">
                  <a:pos x="0" y="35"/>
                </a:cxn>
              </a:cxnLst>
              <a:rect l="0" t="0" r="r" b="b"/>
              <a:pathLst>
                <a:path w="33" h="56">
                  <a:moveTo>
                    <a:pt x="0" y="35"/>
                  </a:moveTo>
                  <a:lnTo>
                    <a:pt x="8" y="24"/>
                  </a:lnTo>
                  <a:lnTo>
                    <a:pt x="33" y="0"/>
                  </a:lnTo>
                  <a:lnTo>
                    <a:pt x="22" y="56"/>
                  </a:lnTo>
                  <a:lnTo>
                    <a:pt x="0" y="3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77" name="30581354558.2528.7514.8755">
              <a:extLst>
                <a:ext uri="{FF2B5EF4-FFF2-40B4-BE49-F238E27FC236}">
                  <a16:creationId xmlns:a16="http://schemas.microsoft.com/office/drawing/2014/main" id="{A99F95F9-E004-44F8-995B-EAA6359BC7CB}"/>
                </a:ext>
              </a:extLst>
            </p:cNvPr>
            <p:cNvSpPr>
              <a:spLocks noChangeAspect="1"/>
            </p:cNvSpPr>
            <p:nvPr/>
          </p:nvSpPr>
          <p:spPr bwMode="gray">
            <a:xfrm>
              <a:off x="8623613" y="4031608"/>
              <a:ext cx="237752" cy="465911"/>
            </a:xfrm>
            <a:custGeom>
              <a:avLst/>
              <a:gdLst/>
              <a:ahLst/>
              <a:cxnLst>
                <a:cxn ang="0">
                  <a:pos x="0" y="82"/>
                </a:cxn>
                <a:cxn ang="0">
                  <a:pos x="18" y="42"/>
                </a:cxn>
                <a:cxn ang="0">
                  <a:pos x="89" y="0"/>
                </a:cxn>
                <a:cxn ang="0">
                  <a:pos x="121" y="40"/>
                </a:cxn>
                <a:cxn ang="0">
                  <a:pos x="111" y="109"/>
                </a:cxn>
                <a:cxn ang="0">
                  <a:pos x="196" y="79"/>
                </a:cxn>
                <a:cxn ang="0">
                  <a:pos x="232" y="109"/>
                </a:cxn>
                <a:cxn ang="0">
                  <a:pos x="264" y="176"/>
                </a:cxn>
                <a:cxn ang="0">
                  <a:pos x="253" y="219"/>
                </a:cxn>
                <a:cxn ang="0">
                  <a:pos x="188" y="216"/>
                </a:cxn>
                <a:cxn ang="0">
                  <a:pos x="165" y="236"/>
                </a:cxn>
                <a:cxn ang="0">
                  <a:pos x="177" y="307"/>
                </a:cxn>
                <a:cxn ang="0">
                  <a:pos x="90" y="245"/>
                </a:cxn>
                <a:cxn ang="0">
                  <a:pos x="55" y="355"/>
                </a:cxn>
                <a:cxn ang="0">
                  <a:pos x="96" y="456"/>
                </a:cxn>
                <a:cxn ang="0">
                  <a:pos x="155" y="491"/>
                </a:cxn>
                <a:cxn ang="0">
                  <a:pos x="123" y="511"/>
                </a:cxn>
                <a:cxn ang="0">
                  <a:pos x="115" y="480"/>
                </a:cxn>
                <a:cxn ang="0">
                  <a:pos x="90" y="480"/>
                </a:cxn>
                <a:cxn ang="0">
                  <a:pos x="24" y="424"/>
                </a:cxn>
                <a:cxn ang="0">
                  <a:pos x="35" y="359"/>
                </a:cxn>
                <a:cxn ang="0">
                  <a:pos x="70" y="300"/>
                </a:cxn>
                <a:cxn ang="0">
                  <a:pos x="23" y="201"/>
                </a:cxn>
                <a:cxn ang="0">
                  <a:pos x="38" y="157"/>
                </a:cxn>
                <a:cxn ang="0">
                  <a:pos x="0" y="82"/>
                </a:cxn>
              </a:cxnLst>
              <a:rect l="0" t="0" r="r" b="b"/>
              <a:pathLst>
                <a:path w="264" h="511">
                  <a:moveTo>
                    <a:pt x="0" y="82"/>
                  </a:moveTo>
                  <a:lnTo>
                    <a:pt x="18" y="42"/>
                  </a:lnTo>
                  <a:lnTo>
                    <a:pt x="89" y="0"/>
                  </a:lnTo>
                  <a:lnTo>
                    <a:pt x="121" y="40"/>
                  </a:lnTo>
                  <a:lnTo>
                    <a:pt x="111" y="109"/>
                  </a:lnTo>
                  <a:lnTo>
                    <a:pt x="196" y="79"/>
                  </a:lnTo>
                  <a:lnTo>
                    <a:pt x="232" y="109"/>
                  </a:lnTo>
                  <a:lnTo>
                    <a:pt x="264" y="176"/>
                  </a:lnTo>
                  <a:lnTo>
                    <a:pt x="253" y="219"/>
                  </a:lnTo>
                  <a:lnTo>
                    <a:pt x="188" y="216"/>
                  </a:lnTo>
                  <a:lnTo>
                    <a:pt x="165" y="236"/>
                  </a:lnTo>
                  <a:lnTo>
                    <a:pt x="177" y="307"/>
                  </a:lnTo>
                  <a:lnTo>
                    <a:pt x="90" y="245"/>
                  </a:lnTo>
                  <a:lnTo>
                    <a:pt x="55" y="355"/>
                  </a:lnTo>
                  <a:lnTo>
                    <a:pt x="96" y="456"/>
                  </a:lnTo>
                  <a:lnTo>
                    <a:pt x="155" y="491"/>
                  </a:lnTo>
                  <a:lnTo>
                    <a:pt x="123" y="511"/>
                  </a:lnTo>
                  <a:lnTo>
                    <a:pt x="115" y="480"/>
                  </a:lnTo>
                  <a:lnTo>
                    <a:pt x="90" y="480"/>
                  </a:lnTo>
                  <a:lnTo>
                    <a:pt x="24" y="424"/>
                  </a:lnTo>
                  <a:lnTo>
                    <a:pt x="35" y="359"/>
                  </a:lnTo>
                  <a:lnTo>
                    <a:pt x="70" y="300"/>
                  </a:lnTo>
                  <a:lnTo>
                    <a:pt x="23" y="201"/>
                  </a:lnTo>
                  <a:lnTo>
                    <a:pt x="38" y="157"/>
                  </a:lnTo>
                  <a:lnTo>
                    <a:pt x="0" y="82"/>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78" name="30582349.25566.8752813.1255">
              <a:extLst>
                <a:ext uri="{FF2B5EF4-FFF2-40B4-BE49-F238E27FC236}">
                  <a16:creationId xmlns:a16="http://schemas.microsoft.com/office/drawing/2014/main" id="{F15235E6-8C41-4264-A251-014841056D3A}"/>
                </a:ext>
              </a:extLst>
            </p:cNvPr>
            <p:cNvSpPr>
              <a:spLocks noChangeAspect="1"/>
            </p:cNvSpPr>
            <p:nvPr/>
          </p:nvSpPr>
          <p:spPr bwMode="gray">
            <a:xfrm>
              <a:off x="8760556" y="3954236"/>
              <a:ext cx="211120" cy="454139"/>
            </a:xfrm>
            <a:custGeom>
              <a:avLst/>
              <a:gdLst/>
              <a:ahLst/>
              <a:cxnLst>
                <a:cxn ang="0">
                  <a:pos x="0" y="25"/>
                </a:cxn>
                <a:cxn ang="0">
                  <a:pos x="34" y="77"/>
                </a:cxn>
                <a:cxn ang="0">
                  <a:pos x="79" y="98"/>
                </a:cxn>
                <a:cxn ang="0">
                  <a:pos x="57" y="136"/>
                </a:cxn>
                <a:cxn ang="0">
                  <a:pos x="138" y="202"/>
                </a:cxn>
                <a:cxn ang="0">
                  <a:pos x="174" y="292"/>
                </a:cxn>
                <a:cxn ang="0">
                  <a:pos x="178" y="369"/>
                </a:cxn>
                <a:cxn ang="0">
                  <a:pos x="78" y="435"/>
                </a:cxn>
                <a:cxn ang="0">
                  <a:pos x="94" y="497"/>
                </a:cxn>
                <a:cxn ang="0">
                  <a:pos x="126" y="453"/>
                </a:cxn>
                <a:cxn ang="0">
                  <a:pos x="144" y="465"/>
                </a:cxn>
                <a:cxn ang="0">
                  <a:pos x="152" y="437"/>
                </a:cxn>
                <a:cxn ang="0">
                  <a:pos x="232" y="392"/>
                </a:cxn>
                <a:cxn ang="0">
                  <a:pos x="221" y="267"/>
                </a:cxn>
                <a:cxn ang="0">
                  <a:pos x="114" y="151"/>
                </a:cxn>
                <a:cxn ang="0">
                  <a:pos x="125" y="114"/>
                </a:cxn>
                <a:cxn ang="0">
                  <a:pos x="189" y="58"/>
                </a:cxn>
                <a:cxn ang="0">
                  <a:pos x="99" y="0"/>
                </a:cxn>
                <a:cxn ang="0">
                  <a:pos x="0" y="25"/>
                </a:cxn>
              </a:cxnLst>
              <a:rect l="0" t="0" r="r" b="b"/>
              <a:pathLst>
                <a:path w="232" h="497">
                  <a:moveTo>
                    <a:pt x="0" y="25"/>
                  </a:moveTo>
                  <a:lnTo>
                    <a:pt x="34" y="77"/>
                  </a:lnTo>
                  <a:lnTo>
                    <a:pt x="79" y="98"/>
                  </a:lnTo>
                  <a:lnTo>
                    <a:pt x="57" y="136"/>
                  </a:lnTo>
                  <a:lnTo>
                    <a:pt x="138" y="202"/>
                  </a:lnTo>
                  <a:lnTo>
                    <a:pt x="174" y="292"/>
                  </a:lnTo>
                  <a:lnTo>
                    <a:pt x="178" y="369"/>
                  </a:lnTo>
                  <a:lnTo>
                    <a:pt x="78" y="435"/>
                  </a:lnTo>
                  <a:lnTo>
                    <a:pt x="94" y="497"/>
                  </a:lnTo>
                  <a:lnTo>
                    <a:pt x="126" y="453"/>
                  </a:lnTo>
                  <a:lnTo>
                    <a:pt x="144" y="465"/>
                  </a:lnTo>
                  <a:lnTo>
                    <a:pt x="152" y="437"/>
                  </a:lnTo>
                  <a:lnTo>
                    <a:pt x="232" y="392"/>
                  </a:lnTo>
                  <a:lnTo>
                    <a:pt x="221" y="267"/>
                  </a:lnTo>
                  <a:lnTo>
                    <a:pt x="114" y="151"/>
                  </a:lnTo>
                  <a:lnTo>
                    <a:pt x="125" y="114"/>
                  </a:lnTo>
                  <a:lnTo>
                    <a:pt x="189" y="58"/>
                  </a:lnTo>
                  <a:lnTo>
                    <a:pt x="99" y="0"/>
                  </a:lnTo>
                  <a:lnTo>
                    <a:pt x="0" y="2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79" name="30583357.375456.2512.25185">
              <a:extLst>
                <a:ext uri="{FF2B5EF4-FFF2-40B4-BE49-F238E27FC236}">
                  <a16:creationId xmlns:a16="http://schemas.microsoft.com/office/drawing/2014/main" id="{9F84CEDA-F6E4-47C2-BAED-CBC691738872}"/>
                </a:ext>
              </a:extLst>
            </p:cNvPr>
            <p:cNvSpPr>
              <a:spLocks noChangeAspect="1"/>
            </p:cNvSpPr>
            <p:nvPr/>
          </p:nvSpPr>
          <p:spPr bwMode="gray">
            <a:xfrm>
              <a:off x="6987889" y="4088794"/>
              <a:ext cx="287202" cy="195110"/>
            </a:xfrm>
            <a:custGeom>
              <a:avLst/>
              <a:gdLst/>
              <a:ahLst/>
              <a:cxnLst>
                <a:cxn ang="0">
                  <a:pos x="0" y="216"/>
                </a:cxn>
                <a:cxn ang="0">
                  <a:pos x="85" y="168"/>
                </a:cxn>
                <a:cxn ang="0">
                  <a:pos x="70" y="145"/>
                </a:cxn>
                <a:cxn ang="0">
                  <a:pos x="95" y="117"/>
                </a:cxn>
                <a:cxn ang="0">
                  <a:pos x="180" y="24"/>
                </a:cxn>
                <a:cxn ang="0">
                  <a:pos x="287" y="0"/>
                </a:cxn>
                <a:cxn ang="0">
                  <a:pos x="322" y="84"/>
                </a:cxn>
                <a:cxn ang="0">
                  <a:pos x="294" y="117"/>
                </a:cxn>
                <a:cxn ang="0">
                  <a:pos x="172" y="175"/>
                </a:cxn>
                <a:cxn ang="0">
                  <a:pos x="0" y="216"/>
                </a:cxn>
              </a:cxnLst>
              <a:rect l="0" t="0" r="r" b="b"/>
              <a:pathLst>
                <a:path w="322" h="216">
                  <a:moveTo>
                    <a:pt x="0" y="216"/>
                  </a:moveTo>
                  <a:lnTo>
                    <a:pt x="85" y="168"/>
                  </a:lnTo>
                  <a:lnTo>
                    <a:pt x="70" y="145"/>
                  </a:lnTo>
                  <a:lnTo>
                    <a:pt x="95" y="117"/>
                  </a:lnTo>
                  <a:lnTo>
                    <a:pt x="180" y="24"/>
                  </a:lnTo>
                  <a:lnTo>
                    <a:pt x="287" y="0"/>
                  </a:lnTo>
                  <a:lnTo>
                    <a:pt x="322" y="84"/>
                  </a:lnTo>
                  <a:lnTo>
                    <a:pt x="294" y="117"/>
                  </a:lnTo>
                  <a:lnTo>
                    <a:pt x="172" y="175"/>
                  </a:lnTo>
                  <a:lnTo>
                    <a:pt x="0" y="216"/>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80" name="30584360.625454.7596.755">
              <a:extLst>
                <a:ext uri="{FF2B5EF4-FFF2-40B4-BE49-F238E27FC236}">
                  <a16:creationId xmlns:a16="http://schemas.microsoft.com/office/drawing/2014/main" id="{43F6BF1D-3419-4423-91B8-1BAA9607CB78}"/>
                </a:ext>
              </a:extLst>
            </p:cNvPr>
            <p:cNvSpPr>
              <a:spLocks noChangeAspect="1"/>
            </p:cNvSpPr>
            <p:nvPr/>
          </p:nvSpPr>
          <p:spPr bwMode="gray">
            <a:xfrm>
              <a:off x="6963162" y="4139254"/>
              <a:ext cx="106511" cy="144650"/>
            </a:xfrm>
            <a:custGeom>
              <a:avLst/>
              <a:gdLst/>
              <a:ahLst/>
              <a:cxnLst>
                <a:cxn ang="0">
                  <a:pos x="0" y="32"/>
                </a:cxn>
                <a:cxn ang="0">
                  <a:pos x="26" y="158"/>
                </a:cxn>
                <a:cxn ang="0">
                  <a:pos x="111" y="110"/>
                </a:cxn>
                <a:cxn ang="0">
                  <a:pos x="96" y="87"/>
                </a:cxn>
                <a:cxn ang="0">
                  <a:pos x="121" y="59"/>
                </a:cxn>
                <a:cxn ang="0">
                  <a:pos x="121" y="24"/>
                </a:cxn>
                <a:cxn ang="0">
                  <a:pos x="60" y="0"/>
                </a:cxn>
                <a:cxn ang="0">
                  <a:pos x="0" y="32"/>
                </a:cxn>
              </a:cxnLst>
              <a:rect l="0" t="0" r="r" b="b"/>
              <a:pathLst>
                <a:path w="121" h="158">
                  <a:moveTo>
                    <a:pt x="0" y="32"/>
                  </a:moveTo>
                  <a:lnTo>
                    <a:pt x="26" y="158"/>
                  </a:lnTo>
                  <a:lnTo>
                    <a:pt x="111" y="110"/>
                  </a:lnTo>
                  <a:lnTo>
                    <a:pt x="96" y="87"/>
                  </a:lnTo>
                  <a:lnTo>
                    <a:pt x="121" y="59"/>
                  </a:lnTo>
                  <a:lnTo>
                    <a:pt x="121" y="24"/>
                  </a:lnTo>
                  <a:lnTo>
                    <a:pt x="60" y="0"/>
                  </a:lnTo>
                  <a:lnTo>
                    <a:pt x="0" y="32"/>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81" name="30585435.5405.37524.7530.755">
              <a:extLst>
                <a:ext uri="{FF2B5EF4-FFF2-40B4-BE49-F238E27FC236}">
                  <a16:creationId xmlns:a16="http://schemas.microsoft.com/office/drawing/2014/main" id="{43EFE4B0-101E-4A78-8212-EA5F9FC4CA7E}"/>
                </a:ext>
              </a:extLst>
            </p:cNvPr>
            <p:cNvSpPr>
              <a:spLocks noChangeAspect="1"/>
            </p:cNvSpPr>
            <p:nvPr/>
          </p:nvSpPr>
          <p:spPr bwMode="gray">
            <a:xfrm>
              <a:off x="6171928" y="5351972"/>
              <a:ext cx="492621" cy="400314"/>
            </a:xfrm>
            <a:custGeom>
              <a:avLst/>
              <a:gdLst/>
              <a:ahLst/>
              <a:cxnLst>
                <a:cxn ang="0">
                  <a:pos x="0" y="231"/>
                </a:cxn>
                <a:cxn ang="0">
                  <a:pos x="19" y="216"/>
                </a:cxn>
                <a:cxn ang="0">
                  <a:pos x="43" y="245"/>
                </a:cxn>
                <a:cxn ang="0">
                  <a:pos x="85" y="245"/>
                </a:cxn>
                <a:cxn ang="0">
                  <a:pos x="114" y="224"/>
                </a:cxn>
                <a:cxn ang="0">
                  <a:pos x="114" y="88"/>
                </a:cxn>
                <a:cxn ang="0">
                  <a:pos x="143" y="123"/>
                </a:cxn>
                <a:cxn ang="0">
                  <a:pos x="142" y="160"/>
                </a:cxn>
                <a:cxn ang="0">
                  <a:pos x="188" y="158"/>
                </a:cxn>
                <a:cxn ang="0">
                  <a:pos x="228" y="117"/>
                </a:cxn>
                <a:cxn ang="0">
                  <a:pos x="301" y="117"/>
                </a:cxn>
                <a:cxn ang="0">
                  <a:pos x="427" y="0"/>
                </a:cxn>
                <a:cxn ang="0">
                  <a:pos x="503" y="17"/>
                </a:cxn>
                <a:cxn ang="0">
                  <a:pos x="515" y="125"/>
                </a:cxn>
                <a:cxn ang="0">
                  <a:pos x="480" y="156"/>
                </a:cxn>
                <a:cxn ang="0">
                  <a:pos x="502" y="179"/>
                </a:cxn>
                <a:cxn ang="0">
                  <a:pos x="519" y="160"/>
                </a:cxn>
                <a:cxn ang="0">
                  <a:pos x="546" y="160"/>
                </a:cxn>
                <a:cxn ang="0">
                  <a:pos x="532" y="224"/>
                </a:cxn>
                <a:cxn ang="0">
                  <a:pos x="452" y="323"/>
                </a:cxn>
                <a:cxn ang="0">
                  <a:pos x="353" y="409"/>
                </a:cxn>
                <a:cxn ang="0">
                  <a:pos x="279" y="438"/>
                </a:cxn>
                <a:cxn ang="0">
                  <a:pos x="65" y="439"/>
                </a:cxn>
                <a:cxn ang="0">
                  <a:pos x="47" y="390"/>
                </a:cxn>
                <a:cxn ang="0">
                  <a:pos x="55" y="351"/>
                </a:cxn>
                <a:cxn ang="0">
                  <a:pos x="0" y="231"/>
                </a:cxn>
              </a:cxnLst>
              <a:rect l="0" t="0" r="r" b="b"/>
              <a:pathLst>
                <a:path w="546" h="439">
                  <a:moveTo>
                    <a:pt x="0" y="231"/>
                  </a:moveTo>
                  <a:lnTo>
                    <a:pt x="19" y="216"/>
                  </a:lnTo>
                  <a:lnTo>
                    <a:pt x="43" y="245"/>
                  </a:lnTo>
                  <a:lnTo>
                    <a:pt x="85" y="245"/>
                  </a:lnTo>
                  <a:lnTo>
                    <a:pt x="114" y="224"/>
                  </a:lnTo>
                  <a:lnTo>
                    <a:pt x="114" y="88"/>
                  </a:lnTo>
                  <a:lnTo>
                    <a:pt x="143" y="123"/>
                  </a:lnTo>
                  <a:lnTo>
                    <a:pt x="142" y="160"/>
                  </a:lnTo>
                  <a:lnTo>
                    <a:pt x="188" y="158"/>
                  </a:lnTo>
                  <a:lnTo>
                    <a:pt x="228" y="117"/>
                  </a:lnTo>
                  <a:lnTo>
                    <a:pt x="301" y="117"/>
                  </a:lnTo>
                  <a:lnTo>
                    <a:pt x="427" y="0"/>
                  </a:lnTo>
                  <a:lnTo>
                    <a:pt x="503" y="17"/>
                  </a:lnTo>
                  <a:lnTo>
                    <a:pt x="515" y="125"/>
                  </a:lnTo>
                  <a:lnTo>
                    <a:pt x="480" y="156"/>
                  </a:lnTo>
                  <a:lnTo>
                    <a:pt x="502" y="179"/>
                  </a:lnTo>
                  <a:lnTo>
                    <a:pt x="519" y="160"/>
                  </a:lnTo>
                  <a:lnTo>
                    <a:pt x="546" y="160"/>
                  </a:lnTo>
                  <a:lnTo>
                    <a:pt x="532" y="224"/>
                  </a:lnTo>
                  <a:lnTo>
                    <a:pt x="452" y="323"/>
                  </a:lnTo>
                  <a:lnTo>
                    <a:pt x="353" y="409"/>
                  </a:lnTo>
                  <a:lnTo>
                    <a:pt x="279" y="438"/>
                  </a:lnTo>
                  <a:lnTo>
                    <a:pt x="65" y="439"/>
                  </a:lnTo>
                  <a:lnTo>
                    <a:pt x="47" y="390"/>
                  </a:lnTo>
                  <a:lnTo>
                    <a:pt x="55" y="351"/>
                  </a:lnTo>
                  <a:lnTo>
                    <a:pt x="0" y="231"/>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82" name="30586404.125396.12523.37523.8755">
              <a:extLst>
                <a:ext uri="{FF2B5EF4-FFF2-40B4-BE49-F238E27FC236}">
                  <a16:creationId xmlns:a16="http://schemas.microsoft.com/office/drawing/2014/main" id="{B63C234A-048C-4A8F-B86F-931727763AA9}"/>
                </a:ext>
              </a:extLst>
            </p:cNvPr>
            <p:cNvSpPr>
              <a:spLocks noChangeAspect="1"/>
            </p:cNvSpPr>
            <p:nvPr/>
          </p:nvSpPr>
          <p:spPr bwMode="gray">
            <a:xfrm>
              <a:off x="6021669" y="4842328"/>
              <a:ext cx="384206" cy="381812"/>
            </a:xfrm>
            <a:custGeom>
              <a:avLst/>
              <a:gdLst/>
              <a:ahLst/>
              <a:cxnLst>
                <a:cxn ang="0">
                  <a:pos x="0" y="388"/>
                </a:cxn>
                <a:cxn ang="0">
                  <a:pos x="55" y="374"/>
                </a:cxn>
                <a:cxn ang="0">
                  <a:pos x="328" y="414"/>
                </a:cxn>
                <a:cxn ang="0">
                  <a:pos x="389" y="396"/>
                </a:cxn>
                <a:cxn ang="0">
                  <a:pos x="348" y="364"/>
                </a:cxn>
                <a:cxn ang="0">
                  <a:pos x="348" y="239"/>
                </a:cxn>
                <a:cxn ang="0">
                  <a:pos x="422" y="239"/>
                </a:cxn>
                <a:cxn ang="0">
                  <a:pos x="417" y="170"/>
                </a:cxn>
                <a:cxn ang="0">
                  <a:pos x="348" y="177"/>
                </a:cxn>
                <a:cxn ang="0">
                  <a:pos x="341" y="58"/>
                </a:cxn>
                <a:cxn ang="0">
                  <a:pos x="310" y="36"/>
                </a:cxn>
                <a:cxn ang="0">
                  <a:pos x="267" y="38"/>
                </a:cxn>
                <a:cxn ang="0">
                  <a:pos x="256" y="73"/>
                </a:cxn>
                <a:cxn ang="0">
                  <a:pos x="209" y="77"/>
                </a:cxn>
                <a:cxn ang="0">
                  <a:pos x="154" y="0"/>
                </a:cxn>
                <a:cxn ang="0">
                  <a:pos x="27" y="16"/>
                </a:cxn>
                <a:cxn ang="0">
                  <a:pos x="73" y="173"/>
                </a:cxn>
                <a:cxn ang="0">
                  <a:pos x="0" y="388"/>
                </a:cxn>
              </a:cxnLst>
              <a:rect l="0" t="0" r="r" b="b"/>
              <a:pathLst>
                <a:path w="422" h="414">
                  <a:moveTo>
                    <a:pt x="0" y="388"/>
                  </a:moveTo>
                  <a:lnTo>
                    <a:pt x="55" y="374"/>
                  </a:lnTo>
                  <a:lnTo>
                    <a:pt x="328" y="414"/>
                  </a:lnTo>
                  <a:lnTo>
                    <a:pt x="389" y="396"/>
                  </a:lnTo>
                  <a:lnTo>
                    <a:pt x="348" y="364"/>
                  </a:lnTo>
                  <a:lnTo>
                    <a:pt x="348" y="239"/>
                  </a:lnTo>
                  <a:lnTo>
                    <a:pt x="422" y="239"/>
                  </a:lnTo>
                  <a:lnTo>
                    <a:pt x="417" y="170"/>
                  </a:lnTo>
                  <a:lnTo>
                    <a:pt x="348" y="177"/>
                  </a:lnTo>
                  <a:lnTo>
                    <a:pt x="341" y="58"/>
                  </a:lnTo>
                  <a:lnTo>
                    <a:pt x="310" y="36"/>
                  </a:lnTo>
                  <a:lnTo>
                    <a:pt x="267" y="38"/>
                  </a:lnTo>
                  <a:lnTo>
                    <a:pt x="256" y="73"/>
                  </a:lnTo>
                  <a:lnTo>
                    <a:pt x="209" y="77"/>
                  </a:lnTo>
                  <a:lnTo>
                    <a:pt x="154" y="0"/>
                  </a:lnTo>
                  <a:lnTo>
                    <a:pt x="27" y="16"/>
                  </a:lnTo>
                  <a:lnTo>
                    <a:pt x="73" y="173"/>
                  </a:lnTo>
                  <a:lnTo>
                    <a:pt x="0" y="388"/>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83" name="30587402.25396.8751.8751.8755">
              <a:extLst>
                <a:ext uri="{FF2B5EF4-FFF2-40B4-BE49-F238E27FC236}">
                  <a16:creationId xmlns:a16="http://schemas.microsoft.com/office/drawing/2014/main" id="{65E1CEF3-7CFF-43CE-9095-00E07E45FC9E}"/>
                </a:ext>
              </a:extLst>
            </p:cNvPr>
            <p:cNvSpPr>
              <a:spLocks noChangeAspect="1"/>
            </p:cNvSpPr>
            <p:nvPr/>
          </p:nvSpPr>
          <p:spPr bwMode="gray">
            <a:xfrm>
              <a:off x="6034981" y="4813735"/>
              <a:ext cx="32333" cy="28593"/>
            </a:xfrm>
            <a:custGeom>
              <a:avLst/>
              <a:gdLst/>
              <a:ahLst/>
              <a:cxnLst>
                <a:cxn ang="0">
                  <a:pos x="0" y="11"/>
                </a:cxn>
                <a:cxn ang="0">
                  <a:pos x="12" y="36"/>
                </a:cxn>
                <a:cxn ang="0">
                  <a:pos x="34" y="0"/>
                </a:cxn>
                <a:cxn ang="0">
                  <a:pos x="0" y="11"/>
                </a:cxn>
              </a:cxnLst>
              <a:rect l="0" t="0" r="r" b="b"/>
              <a:pathLst>
                <a:path w="34" h="36">
                  <a:moveTo>
                    <a:pt x="0" y="11"/>
                  </a:moveTo>
                  <a:lnTo>
                    <a:pt x="12" y="36"/>
                  </a:lnTo>
                  <a:lnTo>
                    <a:pt x="34" y="0"/>
                  </a:lnTo>
                  <a:lnTo>
                    <a:pt x="0" y="11"/>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84" name="30588427411.87517.37517.6255">
              <a:extLst>
                <a:ext uri="{FF2B5EF4-FFF2-40B4-BE49-F238E27FC236}">
                  <a16:creationId xmlns:a16="http://schemas.microsoft.com/office/drawing/2014/main" id="{4C88CE56-AF04-4676-BDD2-021F8208917B}"/>
                </a:ext>
              </a:extLst>
            </p:cNvPr>
            <p:cNvSpPr>
              <a:spLocks noChangeAspect="1"/>
            </p:cNvSpPr>
            <p:nvPr/>
          </p:nvSpPr>
          <p:spPr bwMode="gray">
            <a:xfrm>
              <a:off x="6276538" y="5214049"/>
              <a:ext cx="281497" cy="279212"/>
            </a:xfrm>
            <a:custGeom>
              <a:avLst/>
              <a:gdLst/>
              <a:ahLst/>
              <a:cxnLst>
                <a:cxn ang="0">
                  <a:pos x="0" y="238"/>
                </a:cxn>
                <a:cxn ang="0">
                  <a:pos x="0" y="145"/>
                </a:cxn>
                <a:cxn ang="0">
                  <a:pos x="34" y="143"/>
                </a:cxn>
                <a:cxn ang="0">
                  <a:pos x="34" y="24"/>
                </a:cxn>
                <a:cxn ang="0">
                  <a:pos x="99" y="10"/>
                </a:cxn>
                <a:cxn ang="0">
                  <a:pos x="120" y="31"/>
                </a:cxn>
                <a:cxn ang="0">
                  <a:pos x="175" y="0"/>
                </a:cxn>
                <a:cxn ang="0">
                  <a:pos x="268" y="128"/>
                </a:cxn>
                <a:cxn ang="0">
                  <a:pos x="313" y="150"/>
                </a:cxn>
                <a:cxn ang="0">
                  <a:pos x="187" y="267"/>
                </a:cxn>
                <a:cxn ang="0">
                  <a:pos x="114" y="267"/>
                </a:cxn>
                <a:cxn ang="0">
                  <a:pos x="74" y="308"/>
                </a:cxn>
                <a:cxn ang="0">
                  <a:pos x="28" y="310"/>
                </a:cxn>
                <a:cxn ang="0">
                  <a:pos x="29" y="273"/>
                </a:cxn>
                <a:cxn ang="0">
                  <a:pos x="0" y="238"/>
                </a:cxn>
              </a:cxnLst>
              <a:rect l="0" t="0" r="r" b="b"/>
              <a:pathLst>
                <a:path w="313" h="310">
                  <a:moveTo>
                    <a:pt x="0" y="238"/>
                  </a:moveTo>
                  <a:lnTo>
                    <a:pt x="0" y="145"/>
                  </a:lnTo>
                  <a:lnTo>
                    <a:pt x="34" y="143"/>
                  </a:lnTo>
                  <a:lnTo>
                    <a:pt x="34" y="24"/>
                  </a:lnTo>
                  <a:lnTo>
                    <a:pt x="99" y="10"/>
                  </a:lnTo>
                  <a:lnTo>
                    <a:pt x="120" y="31"/>
                  </a:lnTo>
                  <a:lnTo>
                    <a:pt x="175" y="0"/>
                  </a:lnTo>
                  <a:lnTo>
                    <a:pt x="268" y="128"/>
                  </a:lnTo>
                  <a:lnTo>
                    <a:pt x="313" y="150"/>
                  </a:lnTo>
                  <a:lnTo>
                    <a:pt x="187" y="267"/>
                  </a:lnTo>
                  <a:lnTo>
                    <a:pt x="114" y="267"/>
                  </a:lnTo>
                  <a:lnTo>
                    <a:pt x="74" y="308"/>
                  </a:lnTo>
                  <a:lnTo>
                    <a:pt x="28" y="310"/>
                  </a:lnTo>
                  <a:lnTo>
                    <a:pt x="29" y="273"/>
                  </a:lnTo>
                  <a:lnTo>
                    <a:pt x="0" y="238"/>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85" name="30589397.75429.1253.6253.255">
              <a:extLst>
                <a:ext uri="{FF2B5EF4-FFF2-40B4-BE49-F238E27FC236}">
                  <a16:creationId xmlns:a16="http://schemas.microsoft.com/office/drawing/2014/main" id="{CE9C42A7-274D-44CA-9E1B-633A48D615A5}"/>
                </a:ext>
              </a:extLst>
            </p:cNvPr>
            <p:cNvSpPr>
              <a:spLocks noChangeAspect="1"/>
            </p:cNvSpPr>
            <p:nvPr/>
          </p:nvSpPr>
          <p:spPr bwMode="gray">
            <a:xfrm>
              <a:off x="6550428" y="4739727"/>
              <a:ext cx="55156" cy="58870"/>
            </a:xfrm>
            <a:custGeom>
              <a:avLst/>
              <a:gdLst/>
              <a:ahLst/>
              <a:cxnLst>
                <a:cxn ang="0">
                  <a:pos x="0" y="9"/>
                </a:cxn>
                <a:cxn ang="0">
                  <a:pos x="7" y="34"/>
                </a:cxn>
                <a:cxn ang="0">
                  <a:pos x="20" y="66"/>
                </a:cxn>
                <a:cxn ang="0">
                  <a:pos x="58" y="27"/>
                </a:cxn>
                <a:cxn ang="0">
                  <a:pos x="55" y="0"/>
                </a:cxn>
                <a:cxn ang="0">
                  <a:pos x="0" y="9"/>
                </a:cxn>
              </a:cxnLst>
              <a:rect l="0" t="0" r="r" b="b"/>
              <a:pathLst>
                <a:path w="58" h="66">
                  <a:moveTo>
                    <a:pt x="0" y="9"/>
                  </a:moveTo>
                  <a:lnTo>
                    <a:pt x="7" y="34"/>
                  </a:lnTo>
                  <a:lnTo>
                    <a:pt x="20" y="66"/>
                  </a:lnTo>
                  <a:lnTo>
                    <a:pt x="58" y="27"/>
                  </a:lnTo>
                  <a:lnTo>
                    <a:pt x="55" y="0"/>
                  </a:lnTo>
                  <a:lnTo>
                    <a:pt x="0" y="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86" name="30590369.375390.2521.12514.3755">
              <a:extLst>
                <a:ext uri="{FF2B5EF4-FFF2-40B4-BE49-F238E27FC236}">
                  <a16:creationId xmlns:a16="http://schemas.microsoft.com/office/drawing/2014/main" id="{1A961955-7F81-4708-B982-B3576D169128}"/>
                </a:ext>
              </a:extLst>
            </p:cNvPr>
            <p:cNvSpPr>
              <a:spLocks noChangeAspect="1"/>
            </p:cNvSpPr>
            <p:nvPr/>
          </p:nvSpPr>
          <p:spPr bwMode="gray">
            <a:xfrm>
              <a:off x="5930371" y="4280543"/>
              <a:ext cx="228241" cy="343128"/>
            </a:xfrm>
            <a:custGeom>
              <a:avLst/>
              <a:gdLst/>
              <a:ahLst/>
              <a:cxnLst>
                <a:cxn ang="0">
                  <a:pos x="0" y="267"/>
                </a:cxn>
                <a:cxn ang="0">
                  <a:pos x="35" y="196"/>
                </a:cxn>
                <a:cxn ang="0">
                  <a:pos x="99" y="206"/>
                </a:cxn>
                <a:cxn ang="0">
                  <a:pos x="167" y="60"/>
                </a:cxn>
                <a:cxn ang="0">
                  <a:pos x="202" y="34"/>
                </a:cxn>
                <a:cxn ang="0">
                  <a:pos x="188" y="5"/>
                </a:cxn>
                <a:cxn ang="0">
                  <a:pos x="204" y="0"/>
                </a:cxn>
                <a:cxn ang="0">
                  <a:pos x="229" y="90"/>
                </a:cxn>
                <a:cxn ang="0">
                  <a:pos x="188" y="107"/>
                </a:cxn>
                <a:cxn ang="0">
                  <a:pos x="235" y="179"/>
                </a:cxn>
                <a:cxn ang="0">
                  <a:pos x="204" y="264"/>
                </a:cxn>
                <a:cxn ang="0">
                  <a:pos x="257" y="328"/>
                </a:cxn>
                <a:cxn ang="0">
                  <a:pos x="251" y="374"/>
                </a:cxn>
                <a:cxn ang="0">
                  <a:pos x="163" y="353"/>
                </a:cxn>
                <a:cxn ang="0">
                  <a:pos x="96" y="352"/>
                </a:cxn>
                <a:cxn ang="0">
                  <a:pos x="41" y="353"/>
                </a:cxn>
                <a:cxn ang="0">
                  <a:pos x="39" y="291"/>
                </a:cxn>
                <a:cxn ang="0">
                  <a:pos x="0" y="267"/>
                </a:cxn>
              </a:cxnLst>
              <a:rect l="0" t="0" r="r" b="b"/>
              <a:pathLst>
                <a:path w="257" h="374">
                  <a:moveTo>
                    <a:pt x="0" y="267"/>
                  </a:moveTo>
                  <a:lnTo>
                    <a:pt x="35" y="196"/>
                  </a:lnTo>
                  <a:lnTo>
                    <a:pt x="99" y="206"/>
                  </a:lnTo>
                  <a:lnTo>
                    <a:pt x="167" y="60"/>
                  </a:lnTo>
                  <a:lnTo>
                    <a:pt x="202" y="34"/>
                  </a:lnTo>
                  <a:lnTo>
                    <a:pt x="188" y="5"/>
                  </a:lnTo>
                  <a:lnTo>
                    <a:pt x="204" y="0"/>
                  </a:lnTo>
                  <a:lnTo>
                    <a:pt x="229" y="90"/>
                  </a:lnTo>
                  <a:lnTo>
                    <a:pt x="188" y="107"/>
                  </a:lnTo>
                  <a:lnTo>
                    <a:pt x="235" y="179"/>
                  </a:lnTo>
                  <a:lnTo>
                    <a:pt x="204" y="264"/>
                  </a:lnTo>
                  <a:lnTo>
                    <a:pt x="257" y="328"/>
                  </a:lnTo>
                  <a:lnTo>
                    <a:pt x="251" y="374"/>
                  </a:lnTo>
                  <a:lnTo>
                    <a:pt x="163" y="353"/>
                  </a:lnTo>
                  <a:lnTo>
                    <a:pt x="96" y="352"/>
                  </a:lnTo>
                  <a:lnTo>
                    <a:pt x="41" y="353"/>
                  </a:lnTo>
                  <a:lnTo>
                    <a:pt x="39" y="291"/>
                  </a:lnTo>
                  <a:lnTo>
                    <a:pt x="0" y="267"/>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87" name="30591372.75401.7515.2524.55">
              <a:extLst>
                <a:ext uri="{FF2B5EF4-FFF2-40B4-BE49-F238E27FC236}">
                  <a16:creationId xmlns:a16="http://schemas.microsoft.com/office/drawing/2014/main" id="{F9E2CBE4-D3AC-4D0A-B4CC-7A4818A3DFAC}"/>
                </a:ext>
              </a:extLst>
            </p:cNvPr>
            <p:cNvSpPr>
              <a:spLocks noChangeAspect="1"/>
            </p:cNvSpPr>
            <p:nvPr/>
          </p:nvSpPr>
          <p:spPr bwMode="gray">
            <a:xfrm>
              <a:off x="6114867" y="4334367"/>
              <a:ext cx="391812" cy="247254"/>
            </a:xfrm>
            <a:custGeom>
              <a:avLst/>
              <a:gdLst/>
              <a:ahLst/>
              <a:cxnLst>
                <a:cxn ang="0">
                  <a:pos x="0" y="205"/>
                </a:cxn>
                <a:cxn ang="0">
                  <a:pos x="31" y="120"/>
                </a:cxn>
                <a:cxn ang="0">
                  <a:pos x="139" y="98"/>
                </a:cxn>
                <a:cxn ang="0">
                  <a:pos x="150" y="70"/>
                </a:cxn>
                <a:cxn ang="0">
                  <a:pos x="200" y="60"/>
                </a:cxn>
                <a:cxn ang="0">
                  <a:pos x="274" y="0"/>
                </a:cxn>
                <a:cxn ang="0">
                  <a:pos x="299" y="71"/>
                </a:cxn>
                <a:cxn ang="0">
                  <a:pos x="355" y="98"/>
                </a:cxn>
                <a:cxn ang="0">
                  <a:pos x="436" y="195"/>
                </a:cxn>
                <a:cxn ang="0">
                  <a:pos x="234" y="223"/>
                </a:cxn>
                <a:cxn ang="0">
                  <a:pos x="168" y="195"/>
                </a:cxn>
                <a:cxn ang="0">
                  <a:pos x="139" y="243"/>
                </a:cxn>
                <a:cxn ang="0">
                  <a:pos x="81" y="243"/>
                </a:cxn>
                <a:cxn ang="0">
                  <a:pos x="53" y="269"/>
                </a:cxn>
                <a:cxn ang="0">
                  <a:pos x="0" y="205"/>
                </a:cxn>
              </a:cxnLst>
              <a:rect l="0" t="0" r="r" b="b"/>
              <a:pathLst>
                <a:path w="436" h="269">
                  <a:moveTo>
                    <a:pt x="0" y="205"/>
                  </a:moveTo>
                  <a:lnTo>
                    <a:pt x="31" y="120"/>
                  </a:lnTo>
                  <a:lnTo>
                    <a:pt x="139" y="98"/>
                  </a:lnTo>
                  <a:lnTo>
                    <a:pt x="150" y="70"/>
                  </a:lnTo>
                  <a:lnTo>
                    <a:pt x="200" y="60"/>
                  </a:lnTo>
                  <a:lnTo>
                    <a:pt x="274" y="0"/>
                  </a:lnTo>
                  <a:lnTo>
                    <a:pt x="299" y="71"/>
                  </a:lnTo>
                  <a:lnTo>
                    <a:pt x="355" y="98"/>
                  </a:lnTo>
                  <a:lnTo>
                    <a:pt x="436" y="195"/>
                  </a:lnTo>
                  <a:lnTo>
                    <a:pt x="234" y="223"/>
                  </a:lnTo>
                  <a:lnTo>
                    <a:pt x="168" y="195"/>
                  </a:lnTo>
                  <a:lnTo>
                    <a:pt x="139" y="243"/>
                  </a:lnTo>
                  <a:lnTo>
                    <a:pt x="81" y="243"/>
                  </a:lnTo>
                  <a:lnTo>
                    <a:pt x="53" y="269"/>
                  </a:lnTo>
                  <a:lnTo>
                    <a:pt x="0" y="20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88" name="30592348.75399.530.7520.255">
              <a:extLst>
                <a:ext uri="{FF2B5EF4-FFF2-40B4-BE49-F238E27FC236}">
                  <a16:creationId xmlns:a16="http://schemas.microsoft.com/office/drawing/2014/main" id="{DE6AC8F8-2981-44EE-8C59-FC9716CA0B9F}"/>
                </a:ext>
              </a:extLst>
            </p:cNvPr>
            <p:cNvSpPr>
              <a:spLocks noChangeAspect="1"/>
            </p:cNvSpPr>
            <p:nvPr/>
          </p:nvSpPr>
          <p:spPr bwMode="gray">
            <a:xfrm>
              <a:off x="6076825" y="3947509"/>
              <a:ext cx="325245" cy="497869"/>
            </a:xfrm>
            <a:custGeom>
              <a:avLst/>
              <a:gdLst/>
              <a:ahLst/>
              <a:cxnLst>
                <a:cxn ang="0">
                  <a:pos x="0" y="313"/>
                </a:cxn>
                <a:cxn ang="0">
                  <a:pos x="52" y="340"/>
                </a:cxn>
                <a:cxn ang="0">
                  <a:pos x="38" y="368"/>
                </a:cxn>
                <a:cxn ang="0">
                  <a:pos x="63" y="458"/>
                </a:cxn>
                <a:cxn ang="0">
                  <a:pos x="22" y="475"/>
                </a:cxn>
                <a:cxn ang="0">
                  <a:pos x="69" y="547"/>
                </a:cxn>
                <a:cxn ang="0">
                  <a:pos x="177" y="525"/>
                </a:cxn>
                <a:cxn ang="0">
                  <a:pos x="188" y="497"/>
                </a:cxn>
                <a:cxn ang="0">
                  <a:pos x="238" y="487"/>
                </a:cxn>
                <a:cxn ang="0">
                  <a:pos x="312" y="427"/>
                </a:cxn>
                <a:cxn ang="0">
                  <a:pos x="286" y="361"/>
                </a:cxn>
                <a:cxn ang="0">
                  <a:pos x="321" y="271"/>
                </a:cxn>
                <a:cxn ang="0">
                  <a:pos x="356" y="265"/>
                </a:cxn>
                <a:cxn ang="0">
                  <a:pos x="357" y="138"/>
                </a:cxn>
                <a:cxn ang="0">
                  <a:pos x="89" y="0"/>
                </a:cxn>
                <a:cxn ang="0">
                  <a:pos x="55" y="14"/>
                </a:cxn>
                <a:cxn ang="0">
                  <a:pos x="55" y="68"/>
                </a:cxn>
                <a:cxn ang="0">
                  <a:pos x="89" y="105"/>
                </a:cxn>
                <a:cxn ang="0">
                  <a:pos x="69" y="225"/>
                </a:cxn>
                <a:cxn ang="0">
                  <a:pos x="0" y="313"/>
                </a:cxn>
              </a:cxnLst>
              <a:rect l="0" t="0" r="r" b="b"/>
              <a:pathLst>
                <a:path w="357" h="547">
                  <a:moveTo>
                    <a:pt x="0" y="313"/>
                  </a:moveTo>
                  <a:lnTo>
                    <a:pt x="52" y="340"/>
                  </a:lnTo>
                  <a:lnTo>
                    <a:pt x="38" y="368"/>
                  </a:lnTo>
                  <a:lnTo>
                    <a:pt x="63" y="458"/>
                  </a:lnTo>
                  <a:lnTo>
                    <a:pt x="22" y="475"/>
                  </a:lnTo>
                  <a:lnTo>
                    <a:pt x="69" y="547"/>
                  </a:lnTo>
                  <a:lnTo>
                    <a:pt x="177" y="525"/>
                  </a:lnTo>
                  <a:lnTo>
                    <a:pt x="188" y="497"/>
                  </a:lnTo>
                  <a:lnTo>
                    <a:pt x="238" y="487"/>
                  </a:lnTo>
                  <a:lnTo>
                    <a:pt x="312" y="427"/>
                  </a:lnTo>
                  <a:lnTo>
                    <a:pt x="286" y="361"/>
                  </a:lnTo>
                  <a:lnTo>
                    <a:pt x="321" y="271"/>
                  </a:lnTo>
                  <a:lnTo>
                    <a:pt x="356" y="265"/>
                  </a:lnTo>
                  <a:lnTo>
                    <a:pt x="357" y="138"/>
                  </a:lnTo>
                  <a:lnTo>
                    <a:pt x="89" y="0"/>
                  </a:lnTo>
                  <a:lnTo>
                    <a:pt x="55" y="14"/>
                  </a:lnTo>
                  <a:lnTo>
                    <a:pt x="55" y="68"/>
                  </a:lnTo>
                  <a:lnTo>
                    <a:pt x="89" y="105"/>
                  </a:lnTo>
                  <a:lnTo>
                    <a:pt x="69" y="225"/>
                  </a:lnTo>
                  <a:lnTo>
                    <a:pt x="0" y="313"/>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89" name="30593386.5395.37516.2514.255">
              <a:extLst>
                <a:ext uri="{FF2B5EF4-FFF2-40B4-BE49-F238E27FC236}">
                  <a16:creationId xmlns:a16="http://schemas.microsoft.com/office/drawing/2014/main" id="{C2031E90-B5F3-49C2-A9E8-518446A8AFFB}"/>
                </a:ext>
              </a:extLst>
            </p:cNvPr>
            <p:cNvSpPr>
              <a:spLocks noChangeAspect="1"/>
            </p:cNvSpPr>
            <p:nvPr/>
          </p:nvSpPr>
          <p:spPr bwMode="gray">
            <a:xfrm>
              <a:off x="6012158" y="4558070"/>
              <a:ext cx="228241" cy="264071"/>
            </a:xfrm>
            <a:custGeom>
              <a:avLst/>
              <a:gdLst/>
              <a:ahLst/>
              <a:cxnLst>
                <a:cxn ang="0">
                  <a:pos x="0" y="253"/>
                </a:cxn>
                <a:cxn ang="0">
                  <a:pos x="26" y="289"/>
                </a:cxn>
                <a:cxn ang="0">
                  <a:pos x="60" y="278"/>
                </a:cxn>
                <a:cxn ang="0">
                  <a:pos x="111" y="281"/>
                </a:cxn>
                <a:cxn ang="0">
                  <a:pos x="158" y="251"/>
                </a:cxn>
                <a:cxn ang="0">
                  <a:pos x="170" y="193"/>
                </a:cxn>
                <a:cxn ang="0">
                  <a:pos x="220" y="145"/>
                </a:cxn>
                <a:cxn ang="0">
                  <a:pos x="251" y="0"/>
                </a:cxn>
                <a:cxn ang="0">
                  <a:pos x="193" y="0"/>
                </a:cxn>
                <a:cxn ang="0">
                  <a:pos x="165" y="26"/>
                </a:cxn>
                <a:cxn ang="0">
                  <a:pos x="159" y="72"/>
                </a:cxn>
                <a:cxn ang="0">
                  <a:pos x="71" y="51"/>
                </a:cxn>
                <a:cxn ang="0">
                  <a:pos x="68" y="81"/>
                </a:cxn>
                <a:cxn ang="0">
                  <a:pos x="104" y="84"/>
                </a:cxn>
                <a:cxn ang="0">
                  <a:pos x="93" y="198"/>
                </a:cxn>
                <a:cxn ang="0">
                  <a:pos x="49" y="185"/>
                </a:cxn>
                <a:cxn ang="0">
                  <a:pos x="0" y="253"/>
                </a:cxn>
              </a:cxnLst>
              <a:rect l="0" t="0" r="r" b="b"/>
              <a:pathLst>
                <a:path w="251" h="289">
                  <a:moveTo>
                    <a:pt x="0" y="253"/>
                  </a:moveTo>
                  <a:lnTo>
                    <a:pt x="26" y="289"/>
                  </a:lnTo>
                  <a:lnTo>
                    <a:pt x="60" y="278"/>
                  </a:lnTo>
                  <a:lnTo>
                    <a:pt x="111" y="281"/>
                  </a:lnTo>
                  <a:lnTo>
                    <a:pt x="158" y="251"/>
                  </a:lnTo>
                  <a:lnTo>
                    <a:pt x="170" y="193"/>
                  </a:lnTo>
                  <a:lnTo>
                    <a:pt x="220" y="145"/>
                  </a:lnTo>
                  <a:lnTo>
                    <a:pt x="251" y="0"/>
                  </a:lnTo>
                  <a:lnTo>
                    <a:pt x="193" y="0"/>
                  </a:lnTo>
                  <a:lnTo>
                    <a:pt x="165" y="26"/>
                  </a:lnTo>
                  <a:lnTo>
                    <a:pt x="159" y="72"/>
                  </a:lnTo>
                  <a:lnTo>
                    <a:pt x="71" y="51"/>
                  </a:lnTo>
                  <a:lnTo>
                    <a:pt x="68" y="81"/>
                  </a:lnTo>
                  <a:lnTo>
                    <a:pt x="104" y="84"/>
                  </a:lnTo>
                  <a:lnTo>
                    <a:pt x="93" y="198"/>
                  </a:lnTo>
                  <a:lnTo>
                    <a:pt x="49" y="185"/>
                  </a:lnTo>
                  <a:lnTo>
                    <a:pt x="0" y="253"/>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90" name="30594383.875397.534.37535.755">
              <a:extLst>
                <a:ext uri="{FF2B5EF4-FFF2-40B4-BE49-F238E27FC236}">
                  <a16:creationId xmlns:a16="http://schemas.microsoft.com/office/drawing/2014/main" id="{81418894-51AD-4BD0-82D2-744F8A7744AF}"/>
                </a:ext>
              </a:extLst>
            </p:cNvPr>
            <p:cNvSpPr>
              <a:spLocks noChangeAspect="1"/>
            </p:cNvSpPr>
            <p:nvPr/>
          </p:nvSpPr>
          <p:spPr bwMode="gray">
            <a:xfrm>
              <a:off x="6044491" y="4516021"/>
              <a:ext cx="572504" cy="555059"/>
            </a:xfrm>
            <a:custGeom>
              <a:avLst/>
              <a:gdLst/>
              <a:ahLst/>
              <a:cxnLst>
                <a:cxn ang="0">
                  <a:pos x="0" y="362"/>
                </a:cxn>
                <a:cxn ang="0">
                  <a:pos x="2" y="378"/>
                </a:cxn>
                <a:cxn ang="0">
                  <a:pos x="129" y="362"/>
                </a:cxn>
                <a:cxn ang="0">
                  <a:pos x="184" y="439"/>
                </a:cxn>
                <a:cxn ang="0">
                  <a:pos x="231" y="435"/>
                </a:cxn>
                <a:cxn ang="0">
                  <a:pos x="242" y="400"/>
                </a:cxn>
                <a:cxn ang="0">
                  <a:pos x="285" y="398"/>
                </a:cxn>
                <a:cxn ang="0">
                  <a:pos x="316" y="420"/>
                </a:cxn>
                <a:cxn ang="0">
                  <a:pos x="323" y="539"/>
                </a:cxn>
                <a:cxn ang="0">
                  <a:pos x="392" y="532"/>
                </a:cxn>
                <a:cxn ang="0">
                  <a:pos x="583" y="611"/>
                </a:cxn>
                <a:cxn ang="0">
                  <a:pos x="581" y="575"/>
                </a:cxn>
                <a:cxn ang="0">
                  <a:pos x="544" y="559"/>
                </a:cxn>
                <a:cxn ang="0">
                  <a:pos x="551" y="472"/>
                </a:cxn>
                <a:cxn ang="0">
                  <a:pos x="612" y="442"/>
                </a:cxn>
                <a:cxn ang="0">
                  <a:pos x="573" y="383"/>
                </a:cxn>
                <a:cxn ang="0">
                  <a:pos x="568" y="282"/>
                </a:cxn>
                <a:cxn ang="0">
                  <a:pos x="561" y="257"/>
                </a:cxn>
                <a:cxn ang="0">
                  <a:pos x="583" y="213"/>
                </a:cxn>
                <a:cxn ang="0">
                  <a:pos x="612" y="129"/>
                </a:cxn>
                <a:cxn ang="0">
                  <a:pos x="634" y="98"/>
                </a:cxn>
                <a:cxn ang="0">
                  <a:pos x="621" y="50"/>
                </a:cxn>
                <a:cxn ang="0">
                  <a:pos x="510" y="0"/>
                </a:cxn>
                <a:cxn ang="0">
                  <a:pos x="308" y="28"/>
                </a:cxn>
                <a:cxn ang="0">
                  <a:pos x="242" y="0"/>
                </a:cxn>
                <a:cxn ang="0">
                  <a:pos x="213" y="48"/>
                </a:cxn>
                <a:cxn ang="0">
                  <a:pos x="182" y="193"/>
                </a:cxn>
                <a:cxn ang="0">
                  <a:pos x="132" y="241"/>
                </a:cxn>
                <a:cxn ang="0">
                  <a:pos x="120" y="299"/>
                </a:cxn>
                <a:cxn ang="0">
                  <a:pos x="73" y="329"/>
                </a:cxn>
                <a:cxn ang="0">
                  <a:pos x="22" y="326"/>
                </a:cxn>
                <a:cxn ang="0">
                  <a:pos x="0" y="362"/>
                </a:cxn>
              </a:cxnLst>
              <a:rect l="0" t="0" r="r" b="b"/>
              <a:pathLst>
                <a:path w="634" h="611">
                  <a:moveTo>
                    <a:pt x="0" y="362"/>
                  </a:moveTo>
                  <a:lnTo>
                    <a:pt x="2" y="378"/>
                  </a:lnTo>
                  <a:lnTo>
                    <a:pt x="129" y="362"/>
                  </a:lnTo>
                  <a:lnTo>
                    <a:pt x="184" y="439"/>
                  </a:lnTo>
                  <a:lnTo>
                    <a:pt x="231" y="435"/>
                  </a:lnTo>
                  <a:lnTo>
                    <a:pt x="242" y="400"/>
                  </a:lnTo>
                  <a:lnTo>
                    <a:pt x="285" y="398"/>
                  </a:lnTo>
                  <a:lnTo>
                    <a:pt x="316" y="420"/>
                  </a:lnTo>
                  <a:lnTo>
                    <a:pt x="323" y="539"/>
                  </a:lnTo>
                  <a:lnTo>
                    <a:pt x="392" y="532"/>
                  </a:lnTo>
                  <a:lnTo>
                    <a:pt x="583" y="611"/>
                  </a:lnTo>
                  <a:lnTo>
                    <a:pt x="581" y="575"/>
                  </a:lnTo>
                  <a:lnTo>
                    <a:pt x="544" y="559"/>
                  </a:lnTo>
                  <a:lnTo>
                    <a:pt x="551" y="472"/>
                  </a:lnTo>
                  <a:lnTo>
                    <a:pt x="612" y="442"/>
                  </a:lnTo>
                  <a:lnTo>
                    <a:pt x="573" y="383"/>
                  </a:lnTo>
                  <a:lnTo>
                    <a:pt x="568" y="282"/>
                  </a:lnTo>
                  <a:lnTo>
                    <a:pt x="561" y="257"/>
                  </a:lnTo>
                  <a:lnTo>
                    <a:pt x="583" y="213"/>
                  </a:lnTo>
                  <a:lnTo>
                    <a:pt x="612" y="129"/>
                  </a:lnTo>
                  <a:lnTo>
                    <a:pt x="634" y="98"/>
                  </a:lnTo>
                  <a:lnTo>
                    <a:pt x="621" y="50"/>
                  </a:lnTo>
                  <a:lnTo>
                    <a:pt x="510" y="0"/>
                  </a:lnTo>
                  <a:lnTo>
                    <a:pt x="308" y="28"/>
                  </a:lnTo>
                  <a:lnTo>
                    <a:pt x="242" y="0"/>
                  </a:lnTo>
                  <a:lnTo>
                    <a:pt x="213" y="48"/>
                  </a:lnTo>
                  <a:lnTo>
                    <a:pt x="182" y="193"/>
                  </a:lnTo>
                  <a:lnTo>
                    <a:pt x="132" y="241"/>
                  </a:lnTo>
                  <a:lnTo>
                    <a:pt x="120" y="299"/>
                  </a:lnTo>
                  <a:lnTo>
                    <a:pt x="73" y="329"/>
                  </a:lnTo>
                  <a:lnTo>
                    <a:pt x="22" y="326"/>
                  </a:lnTo>
                  <a:lnTo>
                    <a:pt x="0" y="362"/>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91" name="30595323.75435.3752.3754.3755">
              <a:extLst>
                <a:ext uri="{FF2B5EF4-FFF2-40B4-BE49-F238E27FC236}">
                  <a16:creationId xmlns:a16="http://schemas.microsoft.com/office/drawing/2014/main" id="{2187F8E9-8BE0-497F-B0DD-3129CECC01E8}"/>
                </a:ext>
              </a:extLst>
            </p:cNvPr>
            <p:cNvSpPr>
              <a:spLocks noChangeAspect="1"/>
            </p:cNvSpPr>
            <p:nvPr/>
          </p:nvSpPr>
          <p:spPr bwMode="gray">
            <a:xfrm>
              <a:off x="6653133" y="3540465"/>
              <a:ext cx="68472" cy="38688"/>
            </a:xfrm>
            <a:custGeom>
              <a:avLst/>
              <a:gdLst/>
              <a:ahLst/>
              <a:cxnLst>
                <a:cxn ang="0">
                  <a:pos x="0" y="22"/>
                </a:cxn>
                <a:cxn ang="0">
                  <a:pos x="28" y="41"/>
                </a:cxn>
                <a:cxn ang="0">
                  <a:pos x="79" y="0"/>
                </a:cxn>
                <a:cxn ang="0">
                  <a:pos x="0" y="22"/>
                </a:cxn>
              </a:cxnLst>
              <a:rect l="0" t="0" r="r" b="b"/>
              <a:pathLst>
                <a:path w="79" h="41">
                  <a:moveTo>
                    <a:pt x="0" y="22"/>
                  </a:moveTo>
                  <a:lnTo>
                    <a:pt x="28" y="41"/>
                  </a:lnTo>
                  <a:lnTo>
                    <a:pt x="79" y="0"/>
                  </a:lnTo>
                  <a:lnTo>
                    <a:pt x="0" y="22"/>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92" name="30596370376.12511.62555">
              <a:extLst>
                <a:ext uri="{FF2B5EF4-FFF2-40B4-BE49-F238E27FC236}">
                  <a16:creationId xmlns:a16="http://schemas.microsoft.com/office/drawing/2014/main" id="{6F688FC7-57AC-4255-802D-8E8520B76062}"/>
                </a:ext>
              </a:extLst>
            </p:cNvPr>
            <p:cNvSpPr>
              <a:spLocks noChangeAspect="1"/>
            </p:cNvSpPr>
            <p:nvPr/>
          </p:nvSpPr>
          <p:spPr bwMode="gray">
            <a:xfrm>
              <a:off x="5702129" y="4290634"/>
              <a:ext cx="79883" cy="190064"/>
            </a:xfrm>
            <a:custGeom>
              <a:avLst/>
              <a:gdLst/>
              <a:ahLst/>
              <a:cxnLst>
                <a:cxn ang="0">
                  <a:pos x="0" y="49"/>
                </a:cxn>
                <a:cxn ang="0">
                  <a:pos x="36" y="205"/>
                </a:cxn>
                <a:cxn ang="0">
                  <a:pos x="65" y="203"/>
                </a:cxn>
                <a:cxn ang="0">
                  <a:pos x="91" y="23"/>
                </a:cxn>
                <a:cxn ang="0">
                  <a:pos x="65" y="0"/>
                </a:cxn>
                <a:cxn ang="0">
                  <a:pos x="49" y="15"/>
                </a:cxn>
                <a:cxn ang="0">
                  <a:pos x="0" y="49"/>
                </a:cxn>
              </a:cxnLst>
              <a:rect l="0" t="0" r="r" b="b"/>
              <a:pathLst>
                <a:path w="91" h="205">
                  <a:moveTo>
                    <a:pt x="0" y="49"/>
                  </a:moveTo>
                  <a:lnTo>
                    <a:pt x="36" y="205"/>
                  </a:lnTo>
                  <a:lnTo>
                    <a:pt x="65" y="203"/>
                  </a:lnTo>
                  <a:lnTo>
                    <a:pt x="91" y="23"/>
                  </a:lnTo>
                  <a:lnTo>
                    <a:pt x="65" y="0"/>
                  </a:lnTo>
                  <a:lnTo>
                    <a:pt x="49" y="15"/>
                  </a:lnTo>
                  <a:lnTo>
                    <a:pt x="0" y="4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93" name="30597389.25392.252.3753.3755">
              <a:extLst>
                <a:ext uri="{FF2B5EF4-FFF2-40B4-BE49-F238E27FC236}">
                  <a16:creationId xmlns:a16="http://schemas.microsoft.com/office/drawing/2014/main" id="{D3B99F19-500F-461B-A6A0-64ACD70B4D2A}"/>
                </a:ext>
              </a:extLst>
            </p:cNvPr>
            <p:cNvSpPr>
              <a:spLocks noChangeAspect="1"/>
            </p:cNvSpPr>
            <p:nvPr/>
          </p:nvSpPr>
          <p:spPr bwMode="gray">
            <a:xfrm>
              <a:off x="5962704" y="4601804"/>
              <a:ext cx="53255" cy="38684"/>
            </a:xfrm>
            <a:custGeom>
              <a:avLst/>
              <a:gdLst/>
              <a:ahLst/>
              <a:cxnLst>
                <a:cxn ang="0">
                  <a:pos x="0" y="41"/>
                </a:cxn>
                <a:cxn ang="0">
                  <a:pos x="6" y="1"/>
                </a:cxn>
                <a:cxn ang="0">
                  <a:pos x="61" y="0"/>
                </a:cxn>
                <a:cxn ang="0">
                  <a:pos x="61" y="36"/>
                </a:cxn>
                <a:cxn ang="0">
                  <a:pos x="0" y="41"/>
                </a:cxn>
              </a:cxnLst>
              <a:rect l="0" t="0" r="r" b="b"/>
              <a:pathLst>
                <a:path w="61" h="41">
                  <a:moveTo>
                    <a:pt x="0" y="41"/>
                  </a:moveTo>
                  <a:lnTo>
                    <a:pt x="6" y="1"/>
                  </a:lnTo>
                  <a:lnTo>
                    <a:pt x="61" y="0"/>
                  </a:lnTo>
                  <a:lnTo>
                    <a:pt x="61" y="36"/>
                  </a:lnTo>
                  <a:lnTo>
                    <a:pt x="0" y="41"/>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94" name="30598359.25436.527.62528.3755">
              <a:extLst>
                <a:ext uri="{FF2B5EF4-FFF2-40B4-BE49-F238E27FC236}">
                  <a16:creationId xmlns:a16="http://schemas.microsoft.com/office/drawing/2014/main" id="{91CCF4BD-A504-4098-922A-23C4BA45833F}"/>
                </a:ext>
              </a:extLst>
            </p:cNvPr>
            <p:cNvSpPr>
              <a:spLocks noChangeAspect="1"/>
            </p:cNvSpPr>
            <p:nvPr/>
          </p:nvSpPr>
          <p:spPr bwMode="gray">
            <a:xfrm>
              <a:off x="6672155" y="4117391"/>
              <a:ext cx="454578" cy="445729"/>
            </a:xfrm>
            <a:custGeom>
              <a:avLst/>
              <a:gdLst/>
              <a:ahLst/>
              <a:cxnLst>
                <a:cxn ang="0">
                  <a:pos x="0" y="342"/>
                </a:cxn>
                <a:cxn ang="0">
                  <a:pos x="39" y="316"/>
                </a:cxn>
                <a:cxn ang="0">
                  <a:pos x="43" y="255"/>
                </a:cxn>
                <a:cxn ang="0">
                  <a:pos x="109" y="174"/>
                </a:cxn>
                <a:cxn ang="0">
                  <a:pos x="135" y="31"/>
                </a:cxn>
                <a:cxn ang="0">
                  <a:pos x="186" y="0"/>
                </a:cxn>
                <a:cxn ang="0">
                  <a:pos x="224" y="97"/>
                </a:cxn>
                <a:cxn ang="0">
                  <a:pos x="335" y="181"/>
                </a:cxn>
                <a:cxn ang="0">
                  <a:pos x="296" y="231"/>
                </a:cxn>
                <a:cxn ang="0">
                  <a:pos x="331" y="243"/>
                </a:cxn>
                <a:cxn ang="0">
                  <a:pos x="372" y="303"/>
                </a:cxn>
                <a:cxn ang="0">
                  <a:pos x="504" y="337"/>
                </a:cxn>
                <a:cxn ang="0">
                  <a:pos x="403" y="437"/>
                </a:cxn>
                <a:cxn ang="0">
                  <a:pos x="298" y="474"/>
                </a:cxn>
                <a:cxn ang="0">
                  <a:pos x="202" y="489"/>
                </a:cxn>
                <a:cxn ang="0">
                  <a:pos x="96" y="452"/>
                </a:cxn>
                <a:cxn ang="0">
                  <a:pos x="59" y="382"/>
                </a:cxn>
                <a:cxn ang="0">
                  <a:pos x="0" y="342"/>
                </a:cxn>
              </a:cxnLst>
              <a:rect l="0" t="0" r="r" b="b"/>
              <a:pathLst>
                <a:path w="504" h="489">
                  <a:moveTo>
                    <a:pt x="0" y="342"/>
                  </a:moveTo>
                  <a:lnTo>
                    <a:pt x="39" y="316"/>
                  </a:lnTo>
                  <a:lnTo>
                    <a:pt x="43" y="255"/>
                  </a:lnTo>
                  <a:lnTo>
                    <a:pt x="109" y="174"/>
                  </a:lnTo>
                  <a:lnTo>
                    <a:pt x="135" y="31"/>
                  </a:lnTo>
                  <a:lnTo>
                    <a:pt x="186" y="0"/>
                  </a:lnTo>
                  <a:lnTo>
                    <a:pt x="224" y="97"/>
                  </a:lnTo>
                  <a:lnTo>
                    <a:pt x="335" y="181"/>
                  </a:lnTo>
                  <a:lnTo>
                    <a:pt x="296" y="231"/>
                  </a:lnTo>
                  <a:lnTo>
                    <a:pt x="331" y="243"/>
                  </a:lnTo>
                  <a:lnTo>
                    <a:pt x="372" y="303"/>
                  </a:lnTo>
                  <a:lnTo>
                    <a:pt x="504" y="337"/>
                  </a:lnTo>
                  <a:lnTo>
                    <a:pt x="403" y="437"/>
                  </a:lnTo>
                  <a:lnTo>
                    <a:pt x="298" y="474"/>
                  </a:lnTo>
                  <a:lnTo>
                    <a:pt x="202" y="489"/>
                  </a:lnTo>
                  <a:lnTo>
                    <a:pt x="96" y="452"/>
                  </a:lnTo>
                  <a:lnTo>
                    <a:pt x="59" y="382"/>
                  </a:lnTo>
                  <a:lnTo>
                    <a:pt x="0" y="342"/>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95" name="30599369.5453.1253.535">
              <a:extLst>
                <a:ext uri="{FF2B5EF4-FFF2-40B4-BE49-F238E27FC236}">
                  <a16:creationId xmlns:a16="http://schemas.microsoft.com/office/drawing/2014/main" id="{9FB7A4E8-0131-4682-BCCE-558EC5CBA0C0}"/>
                </a:ext>
              </a:extLst>
            </p:cNvPr>
            <p:cNvSpPr>
              <a:spLocks noChangeAspect="1"/>
            </p:cNvSpPr>
            <p:nvPr/>
          </p:nvSpPr>
          <p:spPr bwMode="gray">
            <a:xfrm>
              <a:off x="6936534" y="4283907"/>
              <a:ext cx="47550" cy="57186"/>
            </a:xfrm>
            <a:custGeom>
              <a:avLst/>
              <a:gdLst/>
              <a:ahLst/>
              <a:cxnLst>
                <a:cxn ang="0">
                  <a:pos x="0" y="50"/>
                </a:cxn>
                <a:cxn ang="0">
                  <a:pos x="35" y="62"/>
                </a:cxn>
                <a:cxn ang="0">
                  <a:pos x="50" y="43"/>
                </a:cxn>
                <a:cxn ang="0">
                  <a:pos x="24" y="39"/>
                </a:cxn>
                <a:cxn ang="0">
                  <a:pos x="52" y="23"/>
                </a:cxn>
                <a:cxn ang="0">
                  <a:pos x="39" y="0"/>
                </a:cxn>
                <a:cxn ang="0">
                  <a:pos x="0" y="50"/>
                </a:cxn>
              </a:cxnLst>
              <a:rect l="0" t="0" r="r" b="b"/>
              <a:pathLst>
                <a:path w="52" h="62">
                  <a:moveTo>
                    <a:pt x="0" y="50"/>
                  </a:moveTo>
                  <a:lnTo>
                    <a:pt x="35" y="62"/>
                  </a:lnTo>
                  <a:lnTo>
                    <a:pt x="50" y="43"/>
                  </a:lnTo>
                  <a:lnTo>
                    <a:pt x="24" y="39"/>
                  </a:lnTo>
                  <a:lnTo>
                    <a:pt x="52" y="23"/>
                  </a:lnTo>
                  <a:lnTo>
                    <a:pt x="39" y="0"/>
                  </a:lnTo>
                  <a:lnTo>
                    <a:pt x="0" y="5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96" name="30600389.25390.7511.510.55">
              <a:extLst>
                <a:ext uri="{FF2B5EF4-FFF2-40B4-BE49-F238E27FC236}">
                  <a16:creationId xmlns:a16="http://schemas.microsoft.com/office/drawing/2014/main" id="{351FC8E7-EB6C-4E77-B444-30B70562936F}"/>
                </a:ext>
              </a:extLst>
            </p:cNvPr>
            <p:cNvSpPr>
              <a:spLocks noChangeAspect="1"/>
            </p:cNvSpPr>
            <p:nvPr/>
          </p:nvSpPr>
          <p:spPr bwMode="gray">
            <a:xfrm>
              <a:off x="5937981" y="4601804"/>
              <a:ext cx="167376" cy="188383"/>
            </a:xfrm>
            <a:custGeom>
              <a:avLst/>
              <a:gdLst/>
              <a:ahLst/>
              <a:cxnLst>
                <a:cxn ang="0">
                  <a:pos x="0" y="96"/>
                </a:cxn>
                <a:cxn ang="0">
                  <a:pos x="20" y="64"/>
                </a:cxn>
                <a:cxn ang="0">
                  <a:pos x="34" y="67"/>
                </a:cxn>
                <a:cxn ang="0">
                  <a:pos x="24" y="41"/>
                </a:cxn>
                <a:cxn ang="0">
                  <a:pos x="85" y="36"/>
                </a:cxn>
                <a:cxn ang="0">
                  <a:pos x="85" y="0"/>
                </a:cxn>
                <a:cxn ang="0">
                  <a:pos x="152" y="1"/>
                </a:cxn>
                <a:cxn ang="0">
                  <a:pos x="149" y="31"/>
                </a:cxn>
                <a:cxn ang="0">
                  <a:pos x="185" y="34"/>
                </a:cxn>
                <a:cxn ang="0">
                  <a:pos x="174" y="148"/>
                </a:cxn>
                <a:cxn ang="0">
                  <a:pos x="130" y="135"/>
                </a:cxn>
                <a:cxn ang="0">
                  <a:pos x="81" y="203"/>
                </a:cxn>
                <a:cxn ang="0">
                  <a:pos x="0" y="96"/>
                </a:cxn>
              </a:cxnLst>
              <a:rect l="0" t="0" r="r" b="b"/>
              <a:pathLst>
                <a:path w="185" h="203">
                  <a:moveTo>
                    <a:pt x="0" y="96"/>
                  </a:moveTo>
                  <a:lnTo>
                    <a:pt x="20" y="64"/>
                  </a:lnTo>
                  <a:lnTo>
                    <a:pt x="34" y="67"/>
                  </a:lnTo>
                  <a:lnTo>
                    <a:pt x="24" y="41"/>
                  </a:lnTo>
                  <a:lnTo>
                    <a:pt x="85" y="36"/>
                  </a:lnTo>
                  <a:lnTo>
                    <a:pt x="85" y="0"/>
                  </a:lnTo>
                  <a:lnTo>
                    <a:pt x="152" y="1"/>
                  </a:lnTo>
                  <a:lnTo>
                    <a:pt x="149" y="31"/>
                  </a:lnTo>
                  <a:lnTo>
                    <a:pt x="185" y="34"/>
                  </a:lnTo>
                  <a:lnTo>
                    <a:pt x="174" y="148"/>
                  </a:lnTo>
                  <a:lnTo>
                    <a:pt x="130" y="135"/>
                  </a:lnTo>
                  <a:lnTo>
                    <a:pt x="81" y="203"/>
                  </a:lnTo>
                  <a:lnTo>
                    <a:pt x="0" y="96"/>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97" name="30601367.625342.8751.1255.6255">
              <a:extLst>
                <a:ext uri="{FF2B5EF4-FFF2-40B4-BE49-F238E27FC236}">
                  <a16:creationId xmlns:a16="http://schemas.microsoft.com/office/drawing/2014/main" id="{FBCD0C28-39C1-4E3E-B975-267440F99009}"/>
                </a:ext>
              </a:extLst>
            </p:cNvPr>
            <p:cNvSpPr>
              <a:spLocks noChangeAspect="1"/>
            </p:cNvSpPr>
            <p:nvPr/>
          </p:nvSpPr>
          <p:spPr bwMode="gray">
            <a:xfrm>
              <a:off x="5171470" y="4251949"/>
              <a:ext cx="87493" cy="16821"/>
            </a:xfrm>
            <a:custGeom>
              <a:avLst/>
              <a:gdLst/>
              <a:ahLst/>
              <a:cxnLst>
                <a:cxn ang="0">
                  <a:pos x="0" y="20"/>
                </a:cxn>
                <a:cxn ang="0">
                  <a:pos x="4" y="0"/>
                </a:cxn>
                <a:cxn ang="0">
                  <a:pos x="99" y="7"/>
                </a:cxn>
                <a:cxn ang="0">
                  <a:pos x="0" y="20"/>
                </a:cxn>
              </a:cxnLst>
              <a:rect l="0" t="0" r="r" b="b"/>
              <a:pathLst>
                <a:path w="99" h="20">
                  <a:moveTo>
                    <a:pt x="0" y="20"/>
                  </a:moveTo>
                  <a:lnTo>
                    <a:pt x="4" y="0"/>
                  </a:lnTo>
                  <a:lnTo>
                    <a:pt x="99" y="7"/>
                  </a:lnTo>
                  <a:lnTo>
                    <a:pt x="0" y="2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98" name="30602372.25368.62512.2585">
              <a:extLst>
                <a:ext uri="{FF2B5EF4-FFF2-40B4-BE49-F238E27FC236}">
                  <a16:creationId xmlns:a16="http://schemas.microsoft.com/office/drawing/2014/main" id="{CC9A8488-7969-4037-8D93-96DE0B989FBC}"/>
                </a:ext>
              </a:extLst>
            </p:cNvPr>
            <p:cNvSpPr>
              <a:spLocks noChangeAspect="1"/>
            </p:cNvSpPr>
            <p:nvPr/>
          </p:nvSpPr>
          <p:spPr bwMode="gray">
            <a:xfrm>
              <a:off x="5582303" y="4329322"/>
              <a:ext cx="129337" cy="195110"/>
            </a:xfrm>
            <a:custGeom>
              <a:avLst/>
              <a:gdLst/>
              <a:ahLst/>
              <a:cxnLst>
                <a:cxn ang="0">
                  <a:pos x="0" y="204"/>
                </a:cxn>
                <a:cxn ang="0">
                  <a:pos x="13" y="55"/>
                </a:cxn>
                <a:cxn ang="0">
                  <a:pos x="6" y="8"/>
                </a:cxn>
                <a:cxn ang="0">
                  <a:pos x="96" y="0"/>
                </a:cxn>
                <a:cxn ang="0">
                  <a:pos x="142" y="171"/>
                </a:cxn>
                <a:cxn ang="0">
                  <a:pos x="37" y="216"/>
                </a:cxn>
                <a:cxn ang="0">
                  <a:pos x="0" y="204"/>
                </a:cxn>
              </a:cxnLst>
              <a:rect l="0" t="0" r="r" b="b"/>
              <a:pathLst>
                <a:path w="142" h="216">
                  <a:moveTo>
                    <a:pt x="0" y="204"/>
                  </a:moveTo>
                  <a:lnTo>
                    <a:pt x="13" y="55"/>
                  </a:lnTo>
                  <a:lnTo>
                    <a:pt x="6" y="8"/>
                  </a:lnTo>
                  <a:lnTo>
                    <a:pt x="96" y="0"/>
                  </a:lnTo>
                  <a:lnTo>
                    <a:pt x="142" y="171"/>
                  </a:lnTo>
                  <a:lnTo>
                    <a:pt x="37" y="216"/>
                  </a:lnTo>
                  <a:lnTo>
                    <a:pt x="0" y="20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99" name="30603369.5346.1251013.8755">
              <a:extLst>
                <a:ext uri="{FF2B5EF4-FFF2-40B4-BE49-F238E27FC236}">
                  <a16:creationId xmlns:a16="http://schemas.microsoft.com/office/drawing/2014/main" id="{4969D3C6-59DB-4ACD-AE66-D2EFF6170804}"/>
                </a:ext>
              </a:extLst>
            </p:cNvPr>
            <p:cNvSpPr>
              <a:spLocks noChangeAspect="1"/>
            </p:cNvSpPr>
            <p:nvPr/>
          </p:nvSpPr>
          <p:spPr bwMode="gray">
            <a:xfrm>
              <a:off x="5220924" y="4283907"/>
              <a:ext cx="222536" cy="161471"/>
            </a:xfrm>
            <a:custGeom>
              <a:avLst/>
              <a:gdLst/>
              <a:ahLst/>
              <a:cxnLst>
                <a:cxn ang="0">
                  <a:pos x="0" y="59"/>
                </a:cxn>
                <a:cxn ang="0">
                  <a:pos x="41" y="33"/>
                </a:cxn>
                <a:cxn ang="0">
                  <a:pos x="43" y="0"/>
                </a:cxn>
                <a:cxn ang="0">
                  <a:pos x="122" y="7"/>
                </a:cxn>
                <a:cxn ang="0">
                  <a:pos x="144" y="23"/>
                </a:cxn>
                <a:cxn ang="0">
                  <a:pos x="201" y="4"/>
                </a:cxn>
                <a:cxn ang="0">
                  <a:pos x="235" y="84"/>
                </a:cxn>
                <a:cxn ang="0">
                  <a:pos x="245" y="144"/>
                </a:cxn>
                <a:cxn ang="0">
                  <a:pos x="224" y="140"/>
                </a:cxn>
                <a:cxn ang="0">
                  <a:pos x="219" y="173"/>
                </a:cxn>
                <a:cxn ang="0">
                  <a:pos x="183" y="179"/>
                </a:cxn>
                <a:cxn ang="0">
                  <a:pos x="181" y="144"/>
                </a:cxn>
                <a:cxn ang="0">
                  <a:pos x="161" y="143"/>
                </a:cxn>
                <a:cxn ang="0">
                  <a:pos x="128" y="92"/>
                </a:cxn>
                <a:cxn ang="0">
                  <a:pos x="58" y="121"/>
                </a:cxn>
                <a:cxn ang="0">
                  <a:pos x="0" y="59"/>
                </a:cxn>
              </a:cxnLst>
              <a:rect l="0" t="0" r="r" b="b"/>
              <a:pathLst>
                <a:path w="245" h="179">
                  <a:moveTo>
                    <a:pt x="0" y="59"/>
                  </a:moveTo>
                  <a:lnTo>
                    <a:pt x="41" y="33"/>
                  </a:lnTo>
                  <a:lnTo>
                    <a:pt x="43" y="0"/>
                  </a:lnTo>
                  <a:lnTo>
                    <a:pt x="122" y="7"/>
                  </a:lnTo>
                  <a:lnTo>
                    <a:pt x="144" y="23"/>
                  </a:lnTo>
                  <a:lnTo>
                    <a:pt x="201" y="4"/>
                  </a:lnTo>
                  <a:lnTo>
                    <a:pt x="235" y="84"/>
                  </a:lnTo>
                  <a:lnTo>
                    <a:pt x="245" y="144"/>
                  </a:lnTo>
                  <a:lnTo>
                    <a:pt x="224" y="140"/>
                  </a:lnTo>
                  <a:lnTo>
                    <a:pt x="219" y="173"/>
                  </a:lnTo>
                  <a:lnTo>
                    <a:pt x="183" y="179"/>
                  </a:lnTo>
                  <a:lnTo>
                    <a:pt x="181" y="144"/>
                  </a:lnTo>
                  <a:lnTo>
                    <a:pt x="161" y="143"/>
                  </a:lnTo>
                  <a:lnTo>
                    <a:pt x="128" y="92"/>
                  </a:lnTo>
                  <a:lnTo>
                    <a:pt x="58" y="121"/>
                  </a:lnTo>
                  <a:lnTo>
                    <a:pt x="0" y="5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00" name="30604337.25458.750.8753.3755">
              <a:extLst>
                <a:ext uri="{FF2B5EF4-FFF2-40B4-BE49-F238E27FC236}">
                  <a16:creationId xmlns:a16="http://schemas.microsoft.com/office/drawing/2014/main" id="{5F54B111-55A2-4B86-AF50-3B5A9B78282C}"/>
                </a:ext>
              </a:extLst>
            </p:cNvPr>
            <p:cNvSpPr>
              <a:spLocks noChangeAspect="1"/>
            </p:cNvSpPr>
            <p:nvPr/>
          </p:nvSpPr>
          <p:spPr bwMode="gray">
            <a:xfrm>
              <a:off x="7029733" y="3760807"/>
              <a:ext cx="53255" cy="15137"/>
            </a:xfrm>
            <a:custGeom>
              <a:avLst/>
              <a:gdLst/>
              <a:ahLst/>
              <a:cxnLst>
                <a:cxn ang="0">
                  <a:pos x="0" y="0"/>
                </a:cxn>
                <a:cxn ang="0">
                  <a:pos x="32" y="17"/>
                </a:cxn>
                <a:cxn ang="0">
                  <a:pos x="61" y="5"/>
                </a:cxn>
                <a:cxn ang="0">
                  <a:pos x="0" y="0"/>
                </a:cxn>
              </a:cxnLst>
              <a:rect l="0" t="0" r="r" b="b"/>
              <a:pathLst>
                <a:path w="61" h="17">
                  <a:moveTo>
                    <a:pt x="0" y="0"/>
                  </a:moveTo>
                  <a:lnTo>
                    <a:pt x="32" y="17"/>
                  </a:lnTo>
                  <a:lnTo>
                    <a:pt x="61" y="5"/>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01" name="30605329438.37582.8755">
              <a:extLst>
                <a:ext uri="{FF2B5EF4-FFF2-40B4-BE49-F238E27FC236}">
                  <a16:creationId xmlns:a16="http://schemas.microsoft.com/office/drawing/2014/main" id="{D0158FA6-8C25-4B78-846C-1C006EBC48C7}"/>
                </a:ext>
              </a:extLst>
            </p:cNvPr>
            <p:cNvSpPr>
              <a:spLocks noChangeAspect="1"/>
            </p:cNvSpPr>
            <p:nvPr/>
          </p:nvSpPr>
          <p:spPr bwMode="gray">
            <a:xfrm>
              <a:off x="6700683" y="3627929"/>
              <a:ext cx="45649" cy="129513"/>
            </a:xfrm>
            <a:custGeom>
              <a:avLst/>
              <a:gdLst/>
              <a:ahLst/>
              <a:cxnLst>
                <a:cxn ang="0">
                  <a:pos x="0" y="70"/>
                </a:cxn>
                <a:cxn ang="0">
                  <a:pos x="28" y="141"/>
                </a:cxn>
                <a:cxn ang="0">
                  <a:pos x="32" y="139"/>
                </a:cxn>
                <a:cxn ang="0">
                  <a:pos x="47" y="63"/>
                </a:cxn>
                <a:cxn ang="0">
                  <a:pos x="27" y="68"/>
                </a:cxn>
                <a:cxn ang="0">
                  <a:pos x="32" y="35"/>
                </a:cxn>
                <a:cxn ang="0">
                  <a:pos x="49" y="19"/>
                </a:cxn>
                <a:cxn ang="0">
                  <a:pos x="53" y="0"/>
                </a:cxn>
                <a:cxn ang="0">
                  <a:pos x="35" y="2"/>
                </a:cxn>
                <a:cxn ang="0">
                  <a:pos x="0" y="70"/>
                </a:cxn>
              </a:cxnLst>
              <a:rect l="0" t="0" r="r" b="b"/>
              <a:pathLst>
                <a:path w="53" h="141">
                  <a:moveTo>
                    <a:pt x="0" y="70"/>
                  </a:moveTo>
                  <a:lnTo>
                    <a:pt x="28" y="141"/>
                  </a:lnTo>
                  <a:lnTo>
                    <a:pt x="32" y="139"/>
                  </a:lnTo>
                  <a:lnTo>
                    <a:pt x="47" y="63"/>
                  </a:lnTo>
                  <a:lnTo>
                    <a:pt x="27" y="68"/>
                  </a:lnTo>
                  <a:lnTo>
                    <a:pt x="32" y="35"/>
                  </a:lnTo>
                  <a:lnTo>
                    <a:pt x="49" y="19"/>
                  </a:lnTo>
                  <a:lnTo>
                    <a:pt x="53" y="0"/>
                  </a:lnTo>
                  <a:lnTo>
                    <a:pt x="35" y="2"/>
                  </a:lnTo>
                  <a:lnTo>
                    <a:pt x="0" y="7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02" name="30606373.25358.2511.87511.1255">
              <a:extLst>
                <a:ext uri="{FF2B5EF4-FFF2-40B4-BE49-F238E27FC236}">
                  <a16:creationId xmlns:a16="http://schemas.microsoft.com/office/drawing/2014/main" id="{7CE94FEA-40D1-404D-BB42-8D93E00C09E8}"/>
                </a:ext>
              </a:extLst>
            </p:cNvPr>
            <p:cNvSpPr>
              <a:spLocks noChangeAspect="1"/>
            </p:cNvSpPr>
            <p:nvPr/>
          </p:nvSpPr>
          <p:spPr bwMode="gray">
            <a:xfrm>
              <a:off x="5414927" y="4344459"/>
              <a:ext cx="180692" cy="191748"/>
            </a:xfrm>
            <a:custGeom>
              <a:avLst/>
              <a:gdLst/>
              <a:ahLst/>
              <a:cxnLst>
                <a:cxn ang="0">
                  <a:pos x="0" y="139"/>
                </a:cxn>
                <a:cxn ang="0">
                  <a:pos x="3" y="107"/>
                </a:cxn>
                <a:cxn ang="0">
                  <a:pos x="8" y="74"/>
                </a:cxn>
                <a:cxn ang="0">
                  <a:pos x="29" y="78"/>
                </a:cxn>
                <a:cxn ang="0">
                  <a:pos x="19" y="18"/>
                </a:cxn>
                <a:cxn ang="0">
                  <a:pos x="77" y="0"/>
                </a:cxn>
                <a:cxn ang="0">
                  <a:pos x="111" y="12"/>
                </a:cxn>
                <a:cxn ang="0">
                  <a:pos x="129" y="33"/>
                </a:cxn>
                <a:cxn ang="0">
                  <a:pos x="196" y="40"/>
                </a:cxn>
                <a:cxn ang="0">
                  <a:pos x="183" y="189"/>
                </a:cxn>
                <a:cxn ang="0">
                  <a:pos x="31" y="211"/>
                </a:cxn>
                <a:cxn ang="0">
                  <a:pos x="36" y="162"/>
                </a:cxn>
                <a:cxn ang="0">
                  <a:pos x="0" y="139"/>
                </a:cxn>
              </a:cxnLst>
              <a:rect l="0" t="0" r="r" b="b"/>
              <a:pathLst>
                <a:path w="196" h="211">
                  <a:moveTo>
                    <a:pt x="0" y="139"/>
                  </a:moveTo>
                  <a:lnTo>
                    <a:pt x="3" y="107"/>
                  </a:lnTo>
                  <a:lnTo>
                    <a:pt x="8" y="74"/>
                  </a:lnTo>
                  <a:lnTo>
                    <a:pt x="29" y="78"/>
                  </a:lnTo>
                  <a:lnTo>
                    <a:pt x="19" y="18"/>
                  </a:lnTo>
                  <a:lnTo>
                    <a:pt x="77" y="0"/>
                  </a:lnTo>
                  <a:lnTo>
                    <a:pt x="111" y="12"/>
                  </a:lnTo>
                  <a:lnTo>
                    <a:pt x="129" y="33"/>
                  </a:lnTo>
                  <a:lnTo>
                    <a:pt x="196" y="40"/>
                  </a:lnTo>
                  <a:lnTo>
                    <a:pt x="183" y="189"/>
                  </a:lnTo>
                  <a:lnTo>
                    <a:pt x="31" y="211"/>
                  </a:lnTo>
                  <a:lnTo>
                    <a:pt x="36" y="162"/>
                  </a:lnTo>
                  <a:lnTo>
                    <a:pt x="0" y="13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03" name="30607328.75439.8758.758.255">
              <a:extLst>
                <a:ext uri="{FF2B5EF4-FFF2-40B4-BE49-F238E27FC236}">
                  <a16:creationId xmlns:a16="http://schemas.microsoft.com/office/drawing/2014/main" id="{BE89D742-3FCA-4D22-9839-10F211CC5538}"/>
                </a:ext>
              </a:extLst>
            </p:cNvPr>
            <p:cNvSpPr>
              <a:spLocks noChangeAspect="1"/>
            </p:cNvSpPr>
            <p:nvPr/>
          </p:nvSpPr>
          <p:spPr bwMode="gray">
            <a:xfrm>
              <a:off x="6725410" y="3624564"/>
              <a:ext cx="133142" cy="139604"/>
            </a:xfrm>
            <a:custGeom>
              <a:avLst/>
              <a:gdLst/>
              <a:ahLst/>
              <a:cxnLst>
                <a:cxn ang="0">
                  <a:pos x="0" y="74"/>
                </a:cxn>
                <a:cxn ang="0">
                  <a:pos x="5" y="41"/>
                </a:cxn>
                <a:cxn ang="0">
                  <a:pos x="22" y="25"/>
                </a:cxn>
                <a:cxn ang="0">
                  <a:pos x="57" y="39"/>
                </a:cxn>
                <a:cxn ang="0">
                  <a:pos x="129" y="0"/>
                </a:cxn>
                <a:cxn ang="0">
                  <a:pos x="145" y="43"/>
                </a:cxn>
                <a:cxn ang="0">
                  <a:pos x="70" y="68"/>
                </a:cxn>
                <a:cxn ang="0">
                  <a:pos x="107" y="102"/>
                </a:cxn>
                <a:cxn ang="0">
                  <a:pos x="87" y="124"/>
                </a:cxn>
                <a:cxn ang="0">
                  <a:pos x="42" y="156"/>
                </a:cxn>
                <a:cxn ang="0">
                  <a:pos x="5" y="145"/>
                </a:cxn>
                <a:cxn ang="0">
                  <a:pos x="20" y="69"/>
                </a:cxn>
                <a:cxn ang="0">
                  <a:pos x="0" y="74"/>
                </a:cxn>
              </a:cxnLst>
              <a:rect l="0" t="0" r="r" b="b"/>
              <a:pathLst>
                <a:path w="145" h="156">
                  <a:moveTo>
                    <a:pt x="0" y="74"/>
                  </a:moveTo>
                  <a:lnTo>
                    <a:pt x="5" y="41"/>
                  </a:lnTo>
                  <a:lnTo>
                    <a:pt x="22" y="25"/>
                  </a:lnTo>
                  <a:lnTo>
                    <a:pt x="57" y="39"/>
                  </a:lnTo>
                  <a:lnTo>
                    <a:pt x="129" y="0"/>
                  </a:lnTo>
                  <a:lnTo>
                    <a:pt x="145" y="43"/>
                  </a:lnTo>
                  <a:lnTo>
                    <a:pt x="70" y="68"/>
                  </a:lnTo>
                  <a:lnTo>
                    <a:pt x="107" y="102"/>
                  </a:lnTo>
                  <a:lnTo>
                    <a:pt x="87" y="124"/>
                  </a:lnTo>
                  <a:lnTo>
                    <a:pt x="42" y="156"/>
                  </a:lnTo>
                  <a:lnTo>
                    <a:pt x="5" y="145"/>
                  </a:lnTo>
                  <a:lnTo>
                    <a:pt x="20" y="69"/>
                  </a:lnTo>
                  <a:lnTo>
                    <a:pt x="0" y="7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04" name="30608384.875438.37517.2514.8755">
              <a:extLst>
                <a:ext uri="{FF2B5EF4-FFF2-40B4-BE49-F238E27FC236}">
                  <a16:creationId xmlns:a16="http://schemas.microsoft.com/office/drawing/2014/main" id="{75B887AC-4FFA-49E9-894F-7767475F30A2}"/>
                </a:ext>
              </a:extLst>
            </p:cNvPr>
            <p:cNvSpPr>
              <a:spLocks noChangeAspect="1"/>
            </p:cNvSpPr>
            <p:nvPr/>
          </p:nvSpPr>
          <p:spPr bwMode="gray">
            <a:xfrm>
              <a:off x="6700683" y="4531161"/>
              <a:ext cx="239653" cy="279212"/>
            </a:xfrm>
            <a:custGeom>
              <a:avLst/>
              <a:gdLst/>
              <a:ahLst/>
              <a:cxnLst>
                <a:cxn ang="0">
                  <a:pos x="0" y="19"/>
                </a:cxn>
                <a:cxn ang="0">
                  <a:pos x="36" y="84"/>
                </a:cxn>
                <a:cxn ang="0">
                  <a:pos x="0" y="144"/>
                </a:cxn>
                <a:cxn ang="0">
                  <a:pos x="28" y="161"/>
                </a:cxn>
                <a:cxn ang="0">
                  <a:pos x="9" y="183"/>
                </a:cxn>
                <a:cxn ang="0">
                  <a:pos x="180" y="307"/>
                </a:cxn>
                <a:cxn ang="0">
                  <a:pos x="253" y="208"/>
                </a:cxn>
                <a:cxn ang="0">
                  <a:pos x="237" y="180"/>
                </a:cxn>
                <a:cxn ang="0">
                  <a:pos x="237" y="58"/>
                </a:cxn>
                <a:cxn ang="0">
                  <a:pos x="264" y="22"/>
                </a:cxn>
                <a:cxn ang="0">
                  <a:pos x="168" y="37"/>
                </a:cxn>
                <a:cxn ang="0">
                  <a:pos x="62" y="0"/>
                </a:cxn>
                <a:cxn ang="0">
                  <a:pos x="0" y="19"/>
                </a:cxn>
              </a:cxnLst>
              <a:rect l="0" t="0" r="r" b="b"/>
              <a:pathLst>
                <a:path w="264" h="307">
                  <a:moveTo>
                    <a:pt x="0" y="19"/>
                  </a:moveTo>
                  <a:lnTo>
                    <a:pt x="36" y="84"/>
                  </a:lnTo>
                  <a:lnTo>
                    <a:pt x="0" y="144"/>
                  </a:lnTo>
                  <a:lnTo>
                    <a:pt x="28" y="161"/>
                  </a:lnTo>
                  <a:lnTo>
                    <a:pt x="9" y="183"/>
                  </a:lnTo>
                  <a:lnTo>
                    <a:pt x="180" y="307"/>
                  </a:lnTo>
                  <a:lnTo>
                    <a:pt x="253" y="208"/>
                  </a:lnTo>
                  <a:lnTo>
                    <a:pt x="237" y="180"/>
                  </a:lnTo>
                  <a:lnTo>
                    <a:pt x="237" y="58"/>
                  </a:lnTo>
                  <a:lnTo>
                    <a:pt x="264" y="22"/>
                  </a:lnTo>
                  <a:lnTo>
                    <a:pt x="168" y="37"/>
                  </a:lnTo>
                  <a:lnTo>
                    <a:pt x="62" y="0"/>
                  </a:lnTo>
                  <a:lnTo>
                    <a:pt x="0" y="1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05" name="30609335.625462.12533.3755">
              <a:extLst>
                <a:ext uri="{FF2B5EF4-FFF2-40B4-BE49-F238E27FC236}">
                  <a16:creationId xmlns:a16="http://schemas.microsoft.com/office/drawing/2014/main" id="{9E05C6EE-A8DF-42D9-8771-E90410DC3232}"/>
                </a:ext>
              </a:extLst>
            </p:cNvPr>
            <p:cNvSpPr>
              <a:spLocks noChangeAspect="1"/>
            </p:cNvSpPr>
            <p:nvPr/>
          </p:nvSpPr>
          <p:spPr bwMode="gray">
            <a:xfrm>
              <a:off x="7082988" y="3733894"/>
              <a:ext cx="53255" cy="48776"/>
            </a:xfrm>
            <a:custGeom>
              <a:avLst/>
              <a:gdLst/>
              <a:ahLst/>
              <a:cxnLst>
                <a:cxn ang="0">
                  <a:pos x="0" y="32"/>
                </a:cxn>
                <a:cxn ang="0">
                  <a:pos x="49" y="0"/>
                </a:cxn>
                <a:cxn ang="0">
                  <a:pos x="60" y="51"/>
                </a:cxn>
                <a:cxn ang="0">
                  <a:pos x="0" y="32"/>
                </a:cxn>
              </a:cxnLst>
              <a:rect l="0" t="0" r="r" b="b"/>
              <a:pathLst>
                <a:path w="60" h="51">
                  <a:moveTo>
                    <a:pt x="0" y="32"/>
                  </a:moveTo>
                  <a:lnTo>
                    <a:pt x="49" y="0"/>
                  </a:lnTo>
                  <a:lnTo>
                    <a:pt x="60" y="51"/>
                  </a:lnTo>
                  <a:lnTo>
                    <a:pt x="0" y="32"/>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06" name="30610325.875440.253.37535">
              <a:extLst>
                <a:ext uri="{FF2B5EF4-FFF2-40B4-BE49-F238E27FC236}">
                  <a16:creationId xmlns:a16="http://schemas.microsoft.com/office/drawing/2014/main" id="{97AF5CBC-40EB-40FD-AD7D-426FBFB14C11}"/>
                </a:ext>
              </a:extLst>
            </p:cNvPr>
            <p:cNvSpPr>
              <a:spLocks noChangeAspect="1"/>
            </p:cNvSpPr>
            <p:nvPr/>
          </p:nvSpPr>
          <p:spPr bwMode="gray">
            <a:xfrm>
              <a:off x="6731116" y="3577469"/>
              <a:ext cx="47550" cy="52141"/>
            </a:xfrm>
            <a:custGeom>
              <a:avLst/>
              <a:gdLst/>
              <a:ahLst/>
              <a:cxnLst>
                <a:cxn ang="0">
                  <a:pos x="0" y="59"/>
                </a:cxn>
                <a:cxn ang="0">
                  <a:pos x="18" y="57"/>
                </a:cxn>
                <a:cxn ang="0">
                  <a:pos x="52" y="18"/>
                </a:cxn>
                <a:cxn ang="0">
                  <a:pos x="33" y="0"/>
                </a:cxn>
                <a:cxn ang="0">
                  <a:pos x="0" y="59"/>
                </a:cxn>
              </a:cxnLst>
              <a:rect l="0" t="0" r="r" b="b"/>
              <a:pathLst>
                <a:path w="52" h="59">
                  <a:moveTo>
                    <a:pt x="0" y="59"/>
                  </a:moveTo>
                  <a:lnTo>
                    <a:pt x="18" y="57"/>
                  </a:lnTo>
                  <a:lnTo>
                    <a:pt x="52" y="18"/>
                  </a:lnTo>
                  <a:lnTo>
                    <a:pt x="33" y="0"/>
                  </a:lnTo>
                  <a:lnTo>
                    <a:pt x="0" y="5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07" name="30611377.625352.8757.57.3755">
              <a:extLst>
                <a:ext uri="{FF2B5EF4-FFF2-40B4-BE49-F238E27FC236}">
                  <a16:creationId xmlns:a16="http://schemas.microsoft.com/office/drawing/2014/main" id="{C54C2879-1F73-4907-9F6B-076270B27440}"/>
                </a:ext>
              </a:extLst>
            </p:cNvPr>
            <p:cNvSpPr>
              <a:spLocks noChangeAspect="1"/>
            </p:cNvSpPr>
            <p:nvPr/>
          </p:nvSpPr>
          <p:spPr bwMode="gray">
            <a:xfrm>
              <a:off x="5329339" y="4415101"/>
              <a:ext cx="119826" cy="121102"/>
            </a:xfrm>
            <a:custGeom>
              <a:avLst/>
              <a:gdLst/>
              <a:ahLst/>
              <a:cxnLst>
                <a:cxn ang="0">
                  <a:pos x="0" y="50"/>
                </a:cxn>
                <a:cxn ang="0">
                  <a:pos x="41" y="0"/>
                </a:cxn>
                <a:cxn ang="0">
                  <a:pos x="61" y="1"/>
                </a:cxn>
                <a:cxn ang="0">
                  <a:pos x="63" y="36"/>
                </a:cxn>
                <a:cxn ang="0">
                  <a:pos x="99" y="30"/>
                </a:cxn>
                <a:cxn ang="0">
                  <a:pos x="96" y="62"/>
                </a:cxn>
                <a:cxn ang="0">
                  <a:pos x="132" y="85"/>
                </a:cxn>
                <a:cxn ang="0">
                  <a:pos x="127" y="134"/>
                </a:cxn>
                <a:cxn ang="0">
                  <a:pos x="0" y="50"/>
                </a:cxn>
              </a:cxnLst>
              <a:rect l="0" t="0" r="r" b="b"/>
              <a:pathLst>
                <a:path w="132" h="134">
                  <a:moveTo>
                    <a:pt x="0" y="50"/>
                  </a:moveTo>
                  <a:lnTo>
                    <a:pt x="41" y="0"/>
                  </a:lnTo>
                  <a:lnTo>
                    <a:pt x="61" y="1"/>
                  </a:lnTo>
                  <a:lnTo>
                    <a:pt x="63" y="36"/>
                  </a:lnTo>
                  <a:lnTo>
                    <a:pt x="99" y="30"/>
                  </a:lnTo>
                  <a:lnTo>
                    <a:pt x="96" y="62"/>
                  </a:lnTo>
                  <a:lnTo>
                    <a:pt x="132" y="85"/>
                  </a:lnTo>
                  <a:lnTo>
                    <a:pt x="127" y="134"/>
                  </a:lnTo>
                  <a:lnTo>
                    <a:pt x="0" y="5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08" name="30612329.2539227.12529.55">
              <a:extLst>
                <a:ext uri="{FF2B5EF4-FFF2-40B4-BE49-F238E27FC236}">
                  <a16:creationId xmlns:a16="http://schemas.microsoft.com/office/drawing/2014/main" id="{5FCC366C-9B2E-41EB-9FF6-248B62B1FFE4}"/>
                </a:ext>
              </a:extLst>
            </p:cNvPr>
            <p:cNvSpPr>
              <a:spLocks noChangeAspect="1"/>
            </p:cNvSpPr>
            <p:nvPr/>
          </p:nvSpPr>
          <p:spPr bwMode="gray">
            <a:xfrm>
              <a:off x="5955098" y="3629613"/>
              <a:ext cx="475500" cy="440683"/>
            </a:xfrm>
            <a:custGeom>
              <a:avLst/>
              <a:gdLst/>
              <a:ahLst/>
              <a:cxnLst>
                <a:cxn ang="0">
                  <a:pos x="0" y="254"/>
                </a:cxn>
                <a:cxn ang="0">
                  <a:pos x="2" y="105"/>
                </a:cxn>
                <a:cxn ang="0">
                  <a:pos x="68" y="0"/>
                </a:cxn>
                <a:cxn ang="0">
                  <a:pos x="191" y="31"/>
                </a:cxn>
                <a:cxn ang="0">
                  <a:pos x="215" y="66"/>
                </a:cxn>
                <a:cxn ang="0">
                  <a:pos x="316" y="105"/>
                </a:cxn>
                <a:cxn ang="0">
                  <a:pos x="349" y="91"/>
                </a:cxn>
                <a:cxn ang="0">
                  <a:pos x="352" y="39"/>
                </a:cxn>
                <a:cxn ang="0">
                  <a:pos x="385" y="14"/>
                </a:cxn>
                <a:cxn ang="0">
                  <a:pos x="522" y="55"/>
                </a:cxn>
                <a:cxn ang="0">
                  <a:pos x="507" y="113"/>
                </a:cxn>
                <a:cxn ang="0">
                  <a:pos x="522" y="398"/>
                </a:cxn>
                <a:cxn ang="0">
                  <a:pos x="522" y="465"/>
                </a:cxn>
                <a:cxn ang="0">
                  <a:pos x="492" y="467"/>
                </a:cxn>
                <a:cxn ang="0">
                  <a:pos x="492" y="486"/>
                </a:cxn>
                <a:cxn ang="0">
                  <a:pos x="224" y="348"/>
                </a:cxn>
                <a:cxn ang="0">
                  <a:pos x="190" y="362"/>
                </a:cxn>
                <a:cxn ang="0">
                  <a:pos x="79" y="346"/>
                </a:cxn>
                <a:cxn ang="0">
                  <a:pos x="0" y="254"/>
                </a:cxn>
              </a:cxnLst>
              <a:rect l="0" t="0" r="r" b="b"/>
              <a:pathLst>
                <a:path w="522" h="486">
                  <a:moveTo>
                    <a:pt x="0" y="254"/>
                  </a:moveTo>
                  <a:lnTo>
                    <a:pt x="2" y="105"/>
                  </a:lnTo>
                  <a:lnTo>
                    <a:pt x="68" y="0"/>
                  </a:lnTo>
                  <a:lnTo>
                    <a:pt x="191" y="31"/>
                  </a:lnTo>
                  <a:lnTo>
                    <a:pt x="215" y="66"/>
                  </a:lnTo>
                  <a:lnTo>
                    <a:pt x="316" y="105"/>
                  </a:lnTo>
                  <a:lnTo>
                    <a:pt x="349" y="91"/>
                  </a:lnTo>
                  <a:lnTo>
                    <a:pt x="352" y="39"/>
                  </a:lnTo>
                  <a:lnTo>
                    <a:pt x="385" y="14"/>
                  </a:lnTo>
                  <a:lnTo>
                    <a:pt x="522" y="55"/>
                  </a:lnTo>
                  <a:lnTo>
                    <a:pt x="507" y="113"/>
                  </a:lnTo>
                  <a:lnTo>
                    <a:pt x="522" y="398"/>
                  </a:lnTo>
                  <a:lnTo>
                    <a:pt x="522" y="465"/>
                  </a:lnTo>
                  <a:lnTo>
                    <a:pt x="492" y="467"/>
                  </a:lnTo>
                  <a:lnTo>
                    <a:pt x="492" y="486"/>
                  </a:lnTo>
                  <a:lnTo>
                    <a:pt x="224" y="348"/>
                  </a:lnTo>
                  <a:lnTo>
                    <a:pt x="190" y="362"/>
                  </a:lnTo>
                  <a:lnTo>
                    <a:pt x="79" y="346"/>
                  </a:lnTo>
                  <a:lnTo>
                    <a:pt x="0" y="25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09" name="30613416.25455.526.12513.3755">
              <a:extLst>
                <a:ext uri="{FF2B5EF4-FFF2-40B4-BE49-F238E27FC236}">
                  <a16:creationId xmlns:a16="http://schemas.microsoft.com/office/drawing/2014/main" id="{55239261-105B-4323-979A-657895860193}"/>
                </a:ext>
              </a:extLst>
            </p:cNvPr>
            <p:cNvSpPr>
              <a:spLocks noChangeAspect="1"/>
            </p:cNvSpPr>
            <p:nvPr/>
          </p:nvSpPr>
          <p:spPr bwMode="gray">
            <a:xfrm>
              <a:off x="6974573" y="5039122"/>
              <a:ext cx="214926" cy="425542"/>
            </a:xfrm>
            <a:custGeom>
              <a:avLst/>
              <a:gdLst/>
              <a:ahLst/>
              <a:cxnLst>
                <a:cxn ang="0">
                  <a:pos x="0" y="332"/>
                </a:cxn>
                <a:cxn ang="0">
                  <a:pos x="21" y="427"/>
                </a:cxn>
                <a:cxn ang="0">
                  <a:pos x="65" y="464"/>
                </a:cxn>
                <a:cxn ang="0">
                  <a:pos x="138" y="427"/>
                </a:cxn>
                <a:cxn ang="0">
                  <a:pos x="220" y="107"/>
                </a:cxn>
                <a:cxn ang="0">
                  <a:pos x="235" y="120"/>
                </a:cxn>
                <a:cxn ang="0">
                  <a:pos x="199" y="0"/>
                </a:cxn>
                <a:cxn ang="0">
                  <a:pos x="157" y="50"/>
                </a:cxn>
                <a:cxn ang="0">
                  <a:pos x="158" y="85"/>
                </a:cxn>
                <a:cxn ang="0">
                  <a:pos x="106" y="123"/>
                </a:cxn>
                <a:cxn ang="0">
                  <a:pos x="41" y="139"/>
                </a:cxn>
                <a:cxn ang="0">
                  <a:pos x="23" y="180"/>
                </a:cxn>
                <a:cxn ang="0">
                  <a:pos x="41" y="261"/>
                </a:cxn>
                <a:cxn ang="0">
                  <a:pos x="0" y="332"/>
                </a:cxn>
              </a:cxnLst>
              <a:rect l="0" t="0" r="r" b="b"/>
              <a:pathLst>
                <a:path w="235" h="464">
                  <a:moveTo>
                    <a:pt x="0" y="332"/>
                  </a:moveTo>
                  <a:lnTo>
                    <a:pt x="21" y="427"/>
                  </a:lnTo>
                  <a:lnTo>
                    <a:pt x="65" y="464"/>
                  </a:lnTo>
                  <a:lnTo>
                    <a:pt x="138" y="427"/>
                  </a:lnTo>
                  <a:lnTo>
                    <a:pt x="220" y="107"/>
                  </a:lnTo>
                  <a:lnTo>
                    <a:pt x="235" y="120"/>
                  </a:lnTo>
                  <a:lnTo>
                    <a:pt x="199" y="0"/>
                  </a:lnTo>
                  <a:lnTo>
                    <a:pt x="157" y="50"/>
                  </a:lnTo>
                  <a:lnTo>
                    <a:pt x="158" y="85"/>
                  </a:lnTo>
                  <a:lnTo>
                    <a:pt x="106" y="123"/>
                  </a:lnTo>
                  <a:lnTo>
                    <a:pt x="41" y="139"/>
                  </a:lnTo>
                  <a:lnTo>
                    <a:pt x="23" y="180"/>
                  </a:lnTo>
                  <a:lnTo>
                    <a:pt x="41" y="261"/>
                  </a:lnTo>
                  <a:lnTo>
                    <a:pt x="0" y="332"/>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10" name="30614411436.12514.7565">
              <a:extLst>
                <a:ext uri="{FF2B5EF4-FFF2-40B4-BE49-F238E27FC236}">
                  <a16:creationId xmlns:a16="http://schemas.microsoft.com/office/drawing/2014/main" id="{07DECDEE-730E-4C98-94BB-35ED75AB7B18}"/>
                </a:ext>
              </a:extLst>
            </p:cNvPr>
            <p:cNvSpPr>
              <a:spLocks noChangeAspect="1"/>
            </p:cNvSpPr>
            <p:nvPr/>
          </p:nvSpPr>
          <p:spPr bwMode="gray">
            <a:xfrm>
              <a:off x="6664545" y="4956704"/>
              <a:ext cx="95099" cy="237163"/>
            </a:xfrm>
            <a:custGeom>
              <a:avLst/>
              <a:gdLst/>
              <a:ahLst/>
              <a:cxnLst>
                <a:cxn ang="0">
                  <a:pos x="0" y="142"/>
                </a:cxn>
                <a:cxn ang="0">
                  <a:pos x="14" y="158"/>
                </a:cxn>
                <a:cxn ang="0">
                  <a:pos x="57" y="172"/>
                </a:cxn>
                <a:cxn ang="0">
                  <a:pos x="51" y="221"/>
                </a:cxn>
                <a:cxn ang="0">
                  <a:pos x="87" y="261"/>
                </a:cxn>
                <a:cxn ang="0">
                  <a:pos x="107" y="187"/>
                </a:cxn>
                <a:cxn ang="0">
                  <a:pos x="73" y="138"/>
                </a:cxn>
                <a:cxn ang="0">
                  <a:pos x="84" y="165"/>
                </a:cxn>
                <a:cxn ang="0">
                  <a:pos x="63" y="164"/>
                </a:cxn>
                <a:cxn ang="0">
                  <a:pos x="41" y="96"/>
                </a:cxn>
                <a:cxn ang="0">
                  <a:pos x="40" y="7"/>
                </a:cxn>
                <a:cxn ang="0">
                  <a:pos x="7" y="0"/>
                </a:cxn>
                <a:cxn ang="0">
                  <a:pos x="33" y="43"/>
                </a:cxn>
                <a:cxn ang="0">
                  <a:pos x="0" y="142"/>
                </a:cxn>
              </a:cxnLst>
              <a:rect l="0" t="0" r="r" b="b"/>
              <a:pathLst>
                <a:path w="107" h="261">
                  <a:moveTo>
                    <a:pt x="0" y="142"/>
                  </a:moveTo>
                  <a:lnTo>
                    <a:pt x="14" y="158"/>
                  </a:lnTo>
                  <a:lnTo>
                    <a:pt x="57" y="172"/>
                  </a:lnTo>
                  <a:lnTo>
                    <a:pt x="51" y="221"/>
                  </a:lnTo>
                  <a:lnTo>
                    <a:pt x="87" y="261"/>
                  </a:lnTo>
                  <a:lnTo>
                    <a:pt x="107" y="187"/>
                  </a:lnTo>
                  <a:lnTo>
                    <a:pt x="73" y="138"/>
                  </a:lnTo>
                  <a:lnTo>
                    <a:pt x="84" y="165"/>
                  </a:lnTo>
                  <a:lnTo>
                    <a:pt x="63" y="164"/>
                  </a:lnTo>
                  <a:lnTo>
                    <a:pt x="41" y="96"/>
                  </a:lnTo>
                  <a:lnTo>
                    <a:pt x="40" y="7"/>
                  </a:lnTo>
                  <a:lnTo>
                    <a:pt x="7" y="0"/>
                  </a:lnTo>
                  <a:lnTo>
                    <a:pt x="33" y="43"/>
                  </a:lnTo>
                  <a:lnTo>
                    <a:pt x="0" y="142"/>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11" name="30615345.625351.62528.62530.55">
              <a:extLst>
                <a:ext uri="{FF2B5EF4-FFF2-40B4-BE49-F238E27FC236}">
                  <a16:creationId xmlns:a16="http://schemas.microsoft.com/office/drawing/2014/main" id="{66ED323F-FE1C-474D-8E89-D060C48A6FD5}"/>
                </a:ext>
              </a:extLst>
            </p:cNvPr>
            <p:cNvSpPr>
              <a:spLocks noChangeAspect="1"/>
            </p:cNvSpPr>
            <p:nvPr/>
          </p:nvSpPr>
          <p:spPr bwMode="gray">
            <a:xfrm>
              <a:off x="5310317" y="3897049"/>
              <a:ext cx="486915" cy="460865"/>
            </a:xfrm>
            <a:custGeom>
              <a:avLst/>
              <a:gdLst/>
              <a:ahLst/>
              <a:cxnLst>
                <a:cxn ang="0">
                  <a:pos x="0" y="351"/>
                </a:cxn>
                <a:cxn ang="0">
                  <a:pos x="23" y="315"/>
                </a:cxn>
                <a:cxn ang="0">
                  <a:pos x="49" y="338"/>
                </a:cxn>
                <a:cxn ang="0">
                  <a:pos x="218" y="327"/>
                </a:cxn>
                <a:cxn ang="0">
                  <a:pos x="182" y="0"/>
                </a:cxn>
                <a:cxn ang="0">
                  <a:pos x="241" y="0"/>
                </a:cxn>
                <a:cxn ang="0">
                  <a:pos x="509" y="177"/>
                </a:cxn>
                <a:cxn ang="0">
                  <a:pos x="512" y="207"/>
                </a:cxn>
                <a:cxn ang="0">
                  <a:pos x="538" y="203"/>
                </a:cxn>
                <a:cxn ang="0">
                  <a:pos x="540" y="308"/>
                </a:cxn>
                <a:cxn ang="0">
                  <a:pos x="518" y="330"/>
                </a:cxn>
                <a:cxn ang="0">
                  <a:pos x="409" y="344"/>
                </a:cxn>
                <a:cxn ang="0">
                  <a:pos x="272" y="404"/>
                </a:cxn>
                <a:cxn ang="0">
                  <a:pos x="229" y="500"/>
                </a:cxn>
                <a:cxn ang="0">
                  <a:pos x="195" y="488"/>
                </a:cxn>
                <a:cxn ang="0">
                  <a:pos x="137" y="506"/>
                </a:cxn>
                <a:cxn ang="0">
                  <a:pos x="103" y="426"/>
                </a:cxn>
                <a:cxn ang="0">
                  <a:pos x="46" y="445"/>
                </a:cxn>
                <a:cxn ang="0">
                  <a:pos x="24" y="429"/>
                </a:cxn>
                <a:cxn ang="0">
                  <a:pos x="0" y="351"/>
                </a:cxn>
              </a:cxnLst>
              <a:rect l="0" t="0" r="r" b="b"/>
              <a:pathLst>
                <a:path w="540" h="506">
                  <a:moveTo>
                    <a:pt x="0" y="351"/>
                  </a:moveTo>
                  <a:lnTo>
                    <a:pt x="23" y="315"/>
                  </a:lnTo>
                  <a:lnTo>
                    <a:pt x="49" y="338"/>
                  </a:lnTo>
                  <a:lnTo>
                    <a:pt x="218" y="327"/>
                  </a:lnTo>
                  <a:lnTo>
                    <a:pt x="182" y="0"/>
                  </a:lnTo>
                  <a:lnTo>
                    <a:pt x="241" y="0"/>
                  </a:lnTo>
                  <a:lnTo>
                    <a:pt x="509" y="177"/>
                  </a:lnTo>
                  <a:lnTo>
                    <a:pt x="512" y="207"/>
                  </a:lnTo>
                  <a:lnTo>
                    <a:pt x="538" y="203"/>
                  </a:lnTo>
                  <a:lnTo>
                    <a:pt x="540" y="308"/>
                  </a:lnTo>
                  <a:lnTo>
                    <a:pt x="518" y="330"/>
                  </a:lnTo>
                  <a:lnTo>
                    <a:pt x="409" y="344"/>
                  </a:lnTo>
                  <a:lnTo>
                    <a:pt x="272" y="404"/>
                  </a:lnTo>
                  <a:lnTo>
                    <a:pt x="229" y="500"/>
                  </a:lnTo>
                  <a:lnTo>
                    <a:pt x="195" y="488"/>
                  </a:lnTo>
                  <a:lnTo>
                    <a:pt x="137" y="506"/>
                  </a:lnTo>
                  <a:lnTo>
                    <a:pt x="103" y="426"/>
                  </a:lnTo>
                  <a:lnTo>
                    <a:pt x="46" y="445"/>
                  </a:lnTo>
                  <a:lnTo>
                    <a:pt x="24" y="429"/>
                  </a:lnTo>
                  <a:lnTo>
                    <a:pt x="0" y="351"/>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12" name="30616341.125342.524.2522.755">
              <a:extLst>
                <a:ext uri="{FF2B5EF4-FFF2-40B4-BE49-F238E27FC236}">
                  <a16:creationId xmlns:a16="http://schemas.microsoft.com/office/drawing/2014/main" id="{B3728260-CE6B-4B21-A7D1-A190BDDEE57A}"/>
                </a:ext>
              </a:extLst>
            </p:cNvPr>
            <p:cNvSpPr>
              <a:spLocks noChangeAspect="1"/>
            </p:cNvSpPr>
            <p:nvPr/>
          </p:nvSpPr>
          <p:spPr bwMode="gray">
            <a:xfrm>
              <a:off x="5163863" y="3823042"/>
              <a:ext cx="365184" cy="393588"/>
            </a:xfrm>
            <a:custGeom>
              <a:avLst/>
              <a:gdLst/>
              <a:ahLst/>
              <a:cxnLst>
                <a:cxn ang="0">
                  <a:pos x="0" y="217"/>
                </a:cxn>
                <a:cxn ang="0">
                  <a:pos x="25" y="242"/>
                </a:cxn>
                <a:cxn ang="0">
                  <a:pos x="31" y="306"/>
                </a:cxn>
                <a:cxn ang="0">
                  <a:pos x="11" y="388"/>
                </a:cxn>
                <a:cxn ang="0">
                  <a:pos x="87" y="370"/>
                </a:cxn>
                <a:cxn ang="0">
                  <a:pos x="163" y="432"/>
                </a:cxn>
                <a:cxn ang="0">
                  <a:pos x="186" y="396"/>
                </a:cxn>
                <a:cxn ang="0">
                  <a:pos x="212" y="419"/>
                </a:cxn>
                <a:cxn ang="0">
                  <a:pos x="381" y="408"/>
                </a:cxn>
                <a:cxn ang="0">
                  <a:pos x="345" y="81"/>
                </a:cxn>
                <a:cxn ang="0">
                  <a:pos x="404" y="81"/>
                </a:cxn>
                <a:cxn ang="0">
                  <a:pos x="281" y="0"/>
                </a:cxn>
                <a:cxn ang="0">
                  <a:pos x="278" y="44"/>
                </a:cxn>
                <a:cxn ang="0">
                  <a:pos x="171" y="41"/>
                </a:cxn>
                <a:cxn ang="0">
                  <a:pos x="169" y="132"/>
                </a:cxn>
                <a:cxn ang="0">
                  <a:pos x="131" y="148"/>
                </a:cxn>
                <a:cxn ang="0">
                  <a:pos x="134" y="203"/>
                </a:cxn>
                <a:cxn ang="0">
                  <a:pos x="0" y="217"/>
                </a:cxn>
              </a:cxnLst>
              <a:rect l="0" t="0" r="r" b="b"/>
              <a:pathLst>
                <a:path w="404" h="432">
                  <a:moveTo>
                    <a:pt x="0" y="217"/>
                  </a:moveTo>
                  <a:lnTo>
                    <a:pt x="25" y="242"/>
                  </a:lnTo>
                  <a:lnTo>
                    <a:pt x="31" y="306"/>
                  </a:lnTo>
                  <a:lnTo>
                    <a:pt x="11" y="388"/>
                  </a:lnTo>
                  <a:lnTo>
                    <a:pt x="87" y="370"/>
                  </a:lnTo>
                  <a:lnTo>
                    <a:pt x="163" y="432"/>
                  </a:lnTo>
                  <a:lnTo>
                    <a:pt x="186" y="396"/>
                  </a:lnTo>
                  <a:lnTo>
                    <a:pt x="212" y="419"/>
                  </a:lnTo>
                  <a:lnTo>
                    <a:pt x="381" y="408"/>
                  </a:lnTo>
                  <a:lnTo>
                    <a:pt x="345" y="81"/>
                  </a:lnTo>
                  <a:lnTo>
                    <a:pt x="404" y="81"/>
                  </a:lnTo>
                  <a:lnTo>
                    <a:pt x="281" y="0"/>
                  </a:lnTo>
                  <a:lnTo>
                    <a:pt x="278" y="44"/>
                  </a:lnTo>
                  <a:lnTo>
                    <a:pt x="171" y="41"/>
                  </a:lnTo>
                  <a:lnTo>
                    <a:pt x="169" y="132"/>
                  </a:lnTo>
                  <a:lnTo>
                    <a:pt x="131" y="148"/>
                  </a:lnTo>
                  <a:lnTo>
                    <a:pt x="134" y="203"/>
                  </a:lnTo>
                  <a:lnTo>
                    <a:pt x="0" y="217"/>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13" name="30617323.75349.87516.7522.1255">
              <a:extLst>
                <a:ext uri="{FF2B5EF4-FFF2-40B4-BE49-F238E27FC236}">
                  <a16:creationId xmlns:a16="http://schemas.microsoft.com/office/drawing/2014/main" id="{3FA2058D-A793-4ABA-ACB1-4373A85AEE1F}"/>
                </a:ext>
              </a:extLst>
            </p:cNvPr>
            <p:cNvSpPr>
              <a:spLocks noChangeAspect="1"/>
            </p:cNvSpPr>
            <p:nvPr/>
          </p:nvSpPr>
          <p:spPr bwMode="gray">
            <a:xfrm>
              <a:off x="5281789" y="3540465"/>
              <a:ext cx="353773" cy="274166"/>
            </a:xfrm>
            <a:custGeom>
              <a:avLst/>
              <a:gdLst/>
              <a:ahLst/>
              <a:cxnLst>
                <a:cxn ang="0">
                  <a:pos x="0" y="291"/>
                </a:cxn>
                <a:cxn ang="0">
                  <a:pos x="97" y="235"/>
                </a:cxn>
                <a:cxn ang="0">
                  <a:pos x="131" y="118"/>
                </a:cxn>
                <a:cxn ang="0">
                  <a:pos x="213" y="59"/>
                </a:cxn>
                <a:cxn ang="0">
                  <a:pos x="241" y="0"/>
                </a:cxn>
                <a:cxn ang="0">
                  <a:pos x="360" y="19"/>
                </a:cxn>
                <a:cxn ang="0">
                  <a:pos x="392" y="129"/>
                </a:cxn>
                <a:cxn ang="0">
                  <a:pos x="338" y="132"/>
                </a:cxn>
                <a:cxn ang="0">
                  <a:pos x="310" y="144"/>
                </a:cxn>
                <a:cxn ang="0">
                  <a:pos x="315" y="173"/>
                </a:cxn>
                <a:cxn ang="0">
                  <a:pos x="164" y="239"/>
                </a:cxn>
                <a:cxn ang="0">
                  <a:pos x="146" y="295"/>
                </a:cxn>
                <a:cxn ang="0">
                  <a:pos x="0" y="291"/>
                </a:cxn>
              </a:cxnLst>
              <a:rect l="0" t="0" r="r" b="b"/>
              <a:pathLst>
                <a:path w="392" h="295">
                  <a:moveTo>
                    <a:pt x="0" y="291"/>
                  </a:moveTo>
                  <a:lnTo>
                    <a:pt x="97" y="235"/>
                  </a:lnTo>
                  <a:lnTo>
                    <a:pt x="131" y="118"/>
                  </a:lnTo>
                  <a:lnTo>
                    <a:pt x="213" y="59"/>
                  </a:lnTo>
                  <a:lnTo>
                    <a:pt x="241" y="0"/>
                  </a:lnTo>
                  <a:lnTo>
                    <a:pt x="360" y="19"/>
                  </a:lnTo>
                  <a:lnTo>
                    <a:pt x="392" y="129"/>
                  </a:lnTo>
                  <a:lnTo>
                    <a:pt x="338" y="132"/>
                  </a:lnTo>
                  <a:lnTo>
                    <a:pt x="310" y="144"/>
                  </a:lnTo>
                  <a:lnTo>
                    <a:pt x="315" y="173"/>
                  </a:lnTo>
                  <a:lnTo>
                    <a:pt x="164" y="239"/>
                  </a:lnTo>
                  <a:lnTo>
                    <a:pt x="146" y="295"/>
                  </a:lnTo>
                  <a:lnTo>
                    <a:pt x="0" y="291"/>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14" name="30618413430.87531.37519.755">
              <a:extLst>
                <a:ext uri="{FF2B5EF4-FFF2-40B4-BE49-F238E27FC236}">
                  <a16:creationId xmlns:a16="http://schemas.microsoft.com/office/drawing/2014/main" id="{52F2F963-1FAA-4855-984C-536A6CBC417E}"/>
                </a:ext>
              </a:extLst>
            </p:cNvPr>
            <p:cNvSpPr>
              <a:spLocks noChangeAspect="1"/>
            </p:cNvSpPr>
            <p:nvPr/>
          </p:nvSpPr>
          <p:spPr bwMode="gray">
            <a:xfrm>
              <a:off x="6578956" y="4988662"/>
              <a:ext cx="317635" cy="504599"/>
            </a:xfrm>
            <a:custGeom>
              <a:avLst/>
              <a:gdLst/>
              <a:ahLst/>
              <a:cxnLst>
                <a:cxn ang="0">
                  <a:pos x="0" y="155"/>
                </a:cxn>
                <a:cxn ang="0">
                  <a:pos x="9" y="173"/>
                </a:cxn>
                <a:cxn ang="0">
                  <a:pos x="92" y="199"/>
                </a:cxn>
                <a:cxn ang="0">
                  <a:pos x="100" y="234"/>
                </a:cxn>
                <a:cxn ang="0">
                  <a:pos x="96" y="322"/>
                </a:cxn>
                <a:cxn ang="0">
                  <a:pos x="52" y="414"/>
                </a:cxn>
                <a:cxn ang="0">
                  <a:pos x="64" y="522"/>
                </a:cxn>
                <a:cxn ang="0">
                  <a:pos x="68" y="557"/>
                </a:cxn>
                <a:cxn ang="0">
                  <a:pos x="95" y="557"/>
                </a:cxn>
                <a:cxn ang="0">
                  <a:pos x="95" y="520"/>
                </a:cxn>
                <a:cxn ang="0">
                  <a:pos x="181" y="470"/>
                </a:cxn>
                <a:cxn ang="0">
                  <a:pos x="156" y="322"/>
                </a:cxn>
                <a:cxn ang="0">
                  <a:pos x="349" y="172"/>
                </a:cxn>
                <a:cxn ang="0">
                  <a:pos x="352" y="0"/>
                </a:cxn>
                <a:cxn ang="0">
                  <a:pos x="302" y="30"/>
                </a:cxn>
                <a:cxn ang="0">
                  <a:pos x="169" y="38"/>
                </a:cxn>
                <a:cxn ang="0">
                  <a:pos x="166" y="102"/>
                </a:cxn>
                <a:cxn ang="0">
                  <a:pos x="200" y="151"/>
                </a:cxn>
                <a:cxn ang="0">
                  <a:pos x="180" y="225"/>
                </a:cxn>
                <a:cxn ang="0">
                  <a:pos x="144" y="185"/>
                </a:cxn>
                <a:cxn ang="0">
                  <a:pos x="150" y="136"/>
                </a:cxn>
                <a:cxn ang="0">
                  <a:pos x="107" y="122"/>
                </a:cxn>
                <a:cxn ang="0">
                  <a:pos x="0" y="155"/>
                </a:cxn>
              </a:cxnLst>
              <a:rect l="0" t="0" r="r" b="b"/>
              <a:pathLst>
                <a:path w="352" h="557">
                  <a:moveTo>
                    <a:pt x="0" y="155"/>
                  </a:moveTo>
                  <a:lnTo>
                    <a:pt x="9" y="173"/>
                  </a:lnTo>
                  <a:lnTo>
                    <a:pt x="92" y="199"/>
                  </a:lnTo>
                  <a:lnTo>
                    <a:pt x="100" y="234"/>
                  </a:lnTo>
                  <a:lnTo>
                    <a:pt x="96" y="322"/>
                  </a:lnTo>
                  <a:lnTo>
                    <a:pt x="52" y="414"/>
                  </a:lnTo>
                  <a:lnTo>
                    <a:pt x="64" y="522"/>
                  </a:lnTo>
                  <a:lnTo>
                    <a:pt x="68" y="557"/>
                  </a:lnTo>
                  <a:lnTo>
                    <a:pt x="95" y="557"/>
                  </a:lnTo>
                  <a:lnTo>
                    <a:pt x="95" y="520"/>
                  </a:lnTo>
                  <a:lnTo>
                    <a:pt x="181" y="470"/>
                  </a:lnTo>
                  <a:lnTo>
                    <a:pt x="156" y="322"/>
                  </a:lnTo>
                  <a:lnTo>
                    <a:pt x="349" y="172"/>
                  </a:lnTo>
                  <a:lnTo>
                    <a:pt x="352" y="0"/>
                  </a:lnTo>
                  <a:lnTo>
                    <a:pt x="302" y="30"/>
                  </a:lnTo>
                  <a:lnTo>
                    <a:pt x="169" y="38"/>
                  </a:lnTo>
                  <a:lnTo>
                    <a:pt x="166" y="102"/>
                  </a:lnTo>
                  <a:lnTo>
                    <a:pt x="200" y="151"/>
                  </a:lnTo>
                  <a:lnTo>
                    <a:pt x="180" y="225"/>
                  </a:lnTo>
                  <a:lnTo>
                    <a:pt x="144" y="185"/>
                  </a:lnTo>
                  <a:lnTo>
                    <a:pt x="150" y="136"/>
                  </a:lnTo>
                  <a:lnTo>
                    <a:pt x="107" y="122"/>
                  </a:lnTo>
                  <a:lnTo>
                    <a:pt x="0" y="15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15" name="30619348.5374.7522.87529.8755">
              <a:extLst>
                <a:ext uri="{FF2B5EF4-FFF2-40B4-BE49-F238E27FC236}">
                  <a16:creationId xmlns:a16="http://schemas.microsoft.com/office/drawing/2014/main" id="{D3004139-C710-4C5F-85D9-B843FA9F2C37}"/>
                </a:ext>
              </a:extLst>
            </p:cNvPr>
            <p:cNvSpPr>
              <a:spLocks noChangeAspect="1"/>
            </p:cNvSpPr>
            <p:nvPr/>
          </p:nvSpPr>
          <p:spPr bwMode="gray">
            <a:xfrm>
              <a:off x="5681207" y="3942464"/>
              <a:ext cx="477405" cy="371721"/>
            </a:xfrm>
            <a:custGeom>
              <a:avLst/>
              <a:gdLst/>
              <a:ahLst/>
              <a:cxnLst>
                <a:cxn ang="0">
                  <a:pos x="0" y="293"/>
                </a:cxn>
                <a:cxn ang="0">
                  <a:pos x="7" y="326"/>
                </a:cxn>
                <a:cxn ang="0">
                  <a:pos x="72" y="396"/>
                </a:cxn>
                <a:cxn ang="0">
                  <a:pos x="88" y="381"/>
                </a:cxn>
                <a:cxn ang="0">
                  <a:pos x="114" y="404"/>
                </a:cxn>
                <a:cxn ang="0">
                  <a:pos x="154" y="334"/>
                </a:cxn>
                <a:cxn ang="0">
                  <a:pos x="305" y="370"/>
                </a:cxn>
                <a:cxn ang="0">
                  <a:pos x="436" y="333"/>
                </a:cxn>
                <a:cxn ang="0">
                  <a:pos x="440" y="315"/>
                </a:cxn>
                <a:cxn ang="0">
                  <a:pos x="509" y="227"/>
                </a:cxn>
                <a:cxn ang="0">
                  <a:pos x="529" y="107"/>
                </a:cxn>
                <a:cxn ang="0">
                  <a:pos x="495" y="70"/>
                </a:cxn>
                <a:cxn ang="0">
                  <a:pos x="495" y="16"/>
                </a:cxn>
                <a:cxn ang="0">
                  <a:pos x="384" y="0"/>
                </a:cxn>
                <a:cxn ang="0">
                  <a:pos x="182" y="139"/>
                </a:cxn>
                <a:cxn ang="0">
                  <a:pos x="129" y="152"/>
                </a:cxn>
                <a:cxn ang="0">
                  <a:pos x="131" y="257"/>
                </a:cxn>
                <a:cxn ang="0">
                  <a:pos x="109" y="279"/>
                </a:cxn>
                <a:cxn ang="0">
                  <a:pos x="0" y="293"/>
                </a:cxn>
              </a:cxnLst>
              <a:rect l="0" t="0" r="r" b="b"/>
              <a:pathLst>
                <a:path w="529" h="404">
                  <a:moveTo>
                    <a:pt x="0" y="293"/>
                  </a:moveTo>
                  <a:lnTo>
                    <a:pt x="7" y="326"/>
                  </a:lnTo>
                  <a:lnTo>
                    <a:pt x="72" y="396"/>
                  </a:lnTo>
                  <a:lnTo>
                    <a:pt x="88" y="381"/>
                  </a:lnTo>
                  <a:lnTo>
                    <a:pt x="114" y="404"/>
                  </a:lnTo>
                  <a:lnTo>
                    <a:pt x="154" y="334"/>
                  </a:lnTo>
                  <a:lnTo>
                    <a:pt x="305" y="370"/>
                  </a:lnTo>
                  <a:lnTo>
                    <a:pt x="436" y="333"/>
                  </a:lnTo>
                  <a:lnTo>
                    <a:pt x="440" y="315"/>
                  </a:lnTo>
                  <a:lnTo>
                    <a:pt x="509" y="227"/>
                  </a:lnTo>
                  <a:lnTo>
                    <a:pt x="529" y="107"/>
                  </a:lnTo>
                  <a:lnTo>
                    <a:pt x="495" y="70"/>
                  </a:lnTo>
                  <a:lnTo>
                    <a:pt x="495" y="16"/>
                  </a:lnTo>
                  <a:lnTo>
                    <a:pt x="384" y="0"/>
                  </a:lnTo>
                  <a:lnTo>
                    <a:pt x="182" y="139"/>
                  </a:lnTo>
                  <a:lnTo>
                    <a:pt x="129" y="152"/>
                  </a:lnTo>
                  <a:lnTo>
                    <a:pt x="131" y="257"/>
                  </a:lnTo>
                  <a:lnTo>
                    <a:pt x="109" y="279"/>
                  </a:lnTo>
                  <a:lnTo>
                    <a:pt x="0" y="293"/>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16" name="30620367.375379.7518.12521.8755">
              <a:extLst>
                <a:ext uri="{FF2B5EF4-FFF2-40B4-BE49-F238E27FC236}">
                  <a16:creationId xmlns:a16="http://schemas.microsoft.com/office/drawing/2014/main" id="{31E86728-BF81-4233-82A8-A910FB596941}"/>
                </a:ext>
              </a:extLst>
            </p:cNvPr>
            <p:cNvSpPr>
              <a:spLocks noChangeAspect="1"/>
            </p:cNvSpPr>
            <p:nvPr/>
          </p:nvSpPr>
          <p:spPr bwMode="gray">
            <a:xfrm>
              <a:off x="5759190" y="4248584"/>
              <a:ext cx="351869" cy="294349"/>
            </a:xfrm>
            <a:custGeom>
              <a:avLst/>
              <a:gdLst/>
              <a:ahLst/>
              <a:cxnLst>
                <a:cxn ang="0">
                  <a:pos x="0" y="251"/>
                </a:cxn>
                <a:cxn ang="0">
                  <a:pos x="26" y="71"/>
                </a:cxn>
                <a:cxn ang="0">
                  <a:pos x="66" y="1"/>
                </a:cxn>
                <a:cxn ang="0">
                  <a:pos x="217" y="37"/>
                </a:cxn>
                <a:cxn ang="0">
                  <a:pos x="348" y="0"/>
                </a:cxn>
                <a:cxn ang="0">
                  <a:pos x="374" y="42"/>
                </a:cxn>
                <a:cxn ang="0">
                  <a:pos x="388" y="71"/>
                </a:cxn>
                <a:cxn ang="0">
                  <a:pos x="353" y="97"/>
                </a:cxn>
                <a:cxn ang="0">
                  <a:pos x="285" y="243"/>
                </a:cxn>
                <a:cxn ang="0">
                  <a:pos x="221" y="233"/>
                </a:cxn>
                <a:cxn ang="0">
                  <a:pos x="186" y="304"/>
                </a:cxn>
                <a:cxn ang="0">
                  <a:pos x="111" y="323"/>
                </a:cxn>
                <a:cxn ang="0">
                  <a:pos x="66" y="260"/>
                </a:cxn>
                <a:cxn ang="0">
                  <a:pos x="0" y="251"/>
                </a:cxn>
              </a:cxnLst>
              <a:rect l="0" t="0" r="r" b="b"/>
              <a:pathLst>
                <a:path w="388" h="323">
                  <a:moveTo>
                    <a:pt x="0" y="251"/>
                  </a:moveTo>
                  <a:lnTo>
                    <a:pt x="26" y="71"/>
                  </a:lnTo>
                  <a:lnTo>
                    <a:pt x="66" y="1"/>
                  </a:lnTo>
                  <a:lnTo>
                    <a:pt x="217" y="37"/>
                  </a:lnTo>
                  <a:lnTo>
                    <a:pt x="348" y="0"/>
                  </a:lnTo>
                  <a:lnTo>
                    <a:pt x="374" y="42"/>
                  </a:lnTo>
                  <a:lnTo>
                    <a:pt x="388" y="71"/>
                  </a:lnTo>
                  <a:lnTo>
                    <a:pt x="353" y="97"/>
                  </a:lnTo>
                  <a:lnTo>
                    <a:pt x="285" y="243"/>
                  </a:lnTo>
                  <a:lnTo>
                    <a:pt x="221" y="233"/>
                  </a:lnTo>
                  <a:lnTo>
                    <a:pt x="186" y="304"/>
                  </a:lnTo>
                  <a:lnTo>
                    <a:pt x="111" y="323"/>
                  </a:lnTo>
                  <a:lnTo>
                    <a:pt x="66" y="260"/>
                  </a:lnTo>
                  <a:lnTo>
                    <a:pt x="0" y="251"/>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17" name="30621369.5342.8753.3755.6255">
              <a:extLst>
                <a:ext uri="{FF2B5EF4-FFF2-40B4-BE49-F238E27FC236}">
                  <a16:creationId xmlns:a16="http://schemas.microsoft.com/office/drawing/2014/main" id="{4DF3EEB6-443C-4CA5-A295-0B1769079224}"/>
                </a:ext>
              </a:extLst>
            </p:cNvPr>
            <p:cNvSpPr>
              <a:spLocks noChangeAspect="1"/>
            </p:cNvSpPr>
            <p:nvPr/>
          </p:nvSpPr>
          <p:spPr bwMode="gray">
            <a:xfrm>
              <a:off x="5171470" y="4283907"/>
              <a:ext cx="87493" cy="53825"/>
            </a:xfrm>
            <a:custGeom>
              <a:avLst/>
              <a:gdLst/>
              <a:ahLst/>
              <a:cxnLst>
                <a:cxn ang="0">
                  <a:pos x="0" y="7"/>
                </a:cxn>
                <a:cxn ang="0">
                  <a:pos x="29" y="33"/>
                </a:cxn>
                <a:cxn ang="0">
                  <a:pos x="62" y="25"/>
                </a:cxn>
                <a:cxn ang="0">
                  <a:pos x="43" y="33"/>
                </a:cxn>
                <a:cxn ang="0">
                  <a:pos x="58" y="59"/>
                </a:cxn>
                <a:cxn ang="0">
                  <a:pos x="99" y="33"/>
                </a:cxn>
                <a:cxn ang="0">
                  <a:pos x="101" y="0"/>
                </a:cxn>
                <a:cxn ang="0">
                  <a:pos x="0" y="7"/>
                </a:cxn>
              </a:cxnLst>
              <a:rect l="0" t="0" r="r" b="b"/>
              <a:pathLst>
                <a:path w="101" h="59">
                  <a:moveTo>
                    <a:pt x="0" y="7"/>
                  </a:moveTo>
                  <a:lnTo>
                    <a:pt x="29" y="33"/>
                  </a:lnTo>
                  <a:lnTo>
                    <a:pt x="62" y="25"/>
                  </a:lnTo>
                  <a:lnTo>
                    <a:pt x="43" y="33"/>
                  </a:lnTo>
                  <a:lnTo>
                    <a:pt x="58" y="59"/>
                  </a:lnTo>
                  <a:lnTo>
                    <a:pt x="99" y="33"/>
                  </a:lnTo>
                  <a:lnTo>
                    <a:pt x="101" y="0"/>
                  </a:lnTo>
                  <a:lnTo>
                    <a:pt x="0" y="7"/>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18" name="30622343.5470.125315">
              <a:extLst>
                <a:ext uri="{FF2B5EF4-FFF2-40B4-BE49-F238E27FC236}">
                  <a16:creationId xmlns:a16="http://schemas.microsoft.com/office/drawing/2014/main" id="{7EEEE252-3685-4510-B17A-8176E050C471}"/>
                </a:ext>
              </a:extLst>
            </p:cNvPr>
            <p:cNvSpPr>
              <a:spLocks noChangeAspect="1"/>
            </p:cNvSpPr>
            <p:nvPr/>
          </p:nvSpPr>
          <p:spPr bwMode="gray">
            <a:xfrm>
              <a:off x="7208520" y="3861726"/>
              <a:ext cx="17117" cy="48776"/>
            </a:xfrm>
            <a:custGeom>
              <a:avLst/>
              <a:gdLst/>
              <a:ahLst/>
              <a:cxnLst>
                <a:cxn ang="0">
                  <a:pos x="0" y="45"/>
                </a:cxn>
                <a:cxn ang="0">
                  <a:pos x="10" y="55"/>
                </a:cxn>
                <a:cxn ang="0">
                  <a:pos x="19" y="52"/>
                </a:cxn>
                <a:cxn ang="0">
                  <a:pos x="11" y="0"/>
                </a:cxn>
                <a:cxn ang="0">
                  <a:pos x="0" y="45"/>
                </a:cxn>
              </a:cxnLst>
              <a:rect l="0" t="0" r="r" b="b"/>
              <a:pathLst>
                <a:path w="19" h="55">
                  <a:moveTo>
                    <a:pt x="0" y="45"/>
                  </a:moveTo>
                  <a:lnTo>
                    <a:pt x="10" y="55"/>
                  </a:lnTo>
                  <a:lnTo>
                    <a:pt x="19" y="52"/>
                  </a:lnTo>
                  <a:lnTo>
                    <a:pt x="11" y="0"/>
                  </a:lnTo>
                  <a:lnTo>
                    <a:pt x="0" y="4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19" name="30623395.25429.12533.1255">
              <a:extLst>
                <a:ext uri="{FF2B5EF4-FFF2-40B4-BE49-F238E27FC236}">
                  <a16:creationId xmlns:a16="http://schemas.microsoft.com/office/drawing/2014/main" id="{BDEAF15C-BCAF-4AA1-BFC8-0E2C748BE5C0}"/>
                </a:ext>
              </a:extLst>
            </p:cNvPr>
            <p:cNvSpPr>
              <a:spLocks noChangeAspect="1"/>
            </p:cNvSpPr>
            <p:nvPr/>
          </p:nvSpPr>
          <p:spPr bwMode="gray">
            <a:xfrm>
              <a:off x="6550428" y="4701039"/>
              <a:ext cx="51355" cy="47095"/>
            </a:xfrm>
            <a:custGeom>
              <a:avLst/>
              <a:gdLst/>
              <a:ahLst/>
              <a:cxnLst>
                <a:cxn ang="0">
                  <a:pos x="0" y="53"/>
                </a:cxn>
                <a:cxn ang="0">
                  <a:pos x="22" y="9"/>
                </a:cxn>
                <a:cxn ang="0">
                  <a:pos x="48" y="0"/>
                </a:cxn>
                <a:cxn ang="0">
                  <a:pos x="55" y="44"/>
                </a:cxn>
                <a:cxn ang="0">
                  <a:pos x="0" y="53"/>
                </a:cxn>
              </a:cxnLst>
              <a:rect l="0" t="0" r="r" b="b"/>
              <a:pathLst>
                <a:path w="55" h="53">
                  <a:moveTo>
                    <a:pt x="0" y="53"/>
                  </a:moveTo>
                  <a:lnTo>
                    <a:pt x="22" y="9"/>
                  </a:lnTo>
                  <a:lnTo>
                    <a:pt x="48" y="0"/>
                  </a:lnTo>
                  <a:lnTo>
                    <a:pt x="55" y="44"/>
                  </a:lnTo>
                  <a:lnTo>
                    <a:pt x="0" y="53"/>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20" name="30624361.875341.5811.6255">
              <a:extLst>
                <a:ext uri="{FF2B5EF4-FFF2-40B4-BE49-F238E27FC236}">
                  <a16:creationId xmlns:a16="http://schemas.microsoft.com/office/drawing/2014/main" id="{B9A0BDE0-1384-4C76-87E2-BB938BFFDA94}"/>
                </a:ext>
              </a:extLst>
            </p:cNvPr>
            <p:cNvSpPr>
              <a:spLocks noChangeAspect="1"/>
            </p:cNvSpPr>
            <p:nvPr/>
          </p:nvSpPr>
          <p:spPr bwMode="gray">
            <a:xfrm>
              <a:off x="5148647" y="4159440"/>
              <a:ext cx="186397" cy="131197"/>
            </a:xfrm>
            <a:custGeom>
              <a:avLst/>
              <a:gdLst/>
              <a:ahLst/>
              <a:cxnLst>
                <a:cxn ang="0">
                  <a:pos x="0" y="62"/>
                </a:cxn>
                <a:cxn ang="0">
                  <a:pos x="30" y="101"/>
                </a:cxn>
                <a:cxn ang="0">
                  <a:pos x="125" y="108"/>
                </a:cxn>
                <a:cxn ang="0">
                  <a:pos x="26" y="121"/>
                </a:cxn>
                <a:cxn ang="0">
                  <a:pos x="26" y="140"/>
                </a:cxn>
                <a:cxn ang="0">
                  <a:pos x="127" y="133"/>
                </a:cxn>
                <a:cxn ang="0">
                  <a:pos x="206" y="140"/>
                </a:cxn>
                <a:cxn ang="0">
                  <a:pos x="182" y="62"/>
                </a:cxn>
                <a:cxn ang="0">
                  <a:pos x="106" y="0"/>
                </a:cxn>
                <a:cxn ang="0">
                  <a:pos x="30" y="18"/>
                </a:cxn>
                <a:cxn ang="0">
                  <a:pos x="0" y="62"/>
                </a:cxn>
              </a:cxnLst>
              <a:rect l="0" t="0" r="r" b="b"/>
              <a:pathLst>
                <a:path w="206" h="140">
                  <a:moveTo>
                    <a:pt x="0" y="62"/>
                  </a:moveTo>
                  <a:lnTo>
                    <a:pt x="30" y="101"/>
                  </a:lnTo>
                  <a:lnTo>
                    <a:pt x="125" y="108"/>
                  </a:lnTo>
                  <a:lnTo>
                    <a:pt x="26" y="121"/>
                  </a:lnTo>
                  <a:lnTo>
                    <a:pt x="26" y="140"/>
                  </a:lnTo>
                  <a:lnTo>
                    <a:pt x="127" y="133"/>
                  </a:lnTo>
                  <a:lnTo>
                    <a:pt x="206" y="140"/>
                  </a:lnTo>
                  <a:lnTo>
                    <a:pt x="182" y="62"/>
                  </a:lnTo>
                  <a:lnTo>
                    <a:pt x="106" y="0"/>
                  </a:lnTo>
                  <a:lnTo>
                    <a:pt x="30" y="18"/>
                  </a:lnTo>
                  <a:lnTo>
                    <a:pt x="0" y="62"/>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21" name="30625374.625349.3755.755.8755">
              <a:extLst>
                <a:ext uri="{FF2B5EF4-FFF2-40B4-BE49-F238E27FC236}">
                  <a16:creationId xmlns:a16="http://schemas.microsoft.com/office/drawing/2014/main" id="{C1EA7348-1245-42D0-980C-254C3DBC5D02}"/>
                </a:ext>
              </a:extLst>
            </p:cNvPr>
            <p:cNvSpPr>
              <a:spLocks noChangeAspect="1"/>
            </p:cNvSpPr>
            <p:nvPr/>
          </p:nvSpPr>
          <p:spPr bwMode="gray">
            <a:xfrm>
              <a:off x="5276083" y="4364641"/>
              <a:ext cx="91298" cy="94190"/>
            </a:xfrm>
            <a:custGeom>
              <a:avLst/>
              <a:gdLst/>
              <a:ahLst/>
              <a:cxnLst>
                <a:cxn ang="0">
                  <a:pos x="0" y="29"/>
                </a:cxn>
                <a:cxn ang="0">
                  <a:pos x="11" y="69"/>
                </a:cxn>
                <a:cxn ang="0">
                  <a:pos x="62" y="101"/>
                </a:cxn>
                <a:cxn ang="0">
                  <a:pos x="103" y="51"/>
                </a:cxn>
                <a:cxn ang="0">
                  <a:pos x="70" y="0"/>
                </a:cxn>
                <a:cxn ang="0">
                  <a:pos x="0" y="29"/>
                </a:cxn>
              </a:cxnLst>
              <a:rect l="0" t="0" r="r" b="b"/>
              <a:pathLst>
                <a:path w="103" h="101">
                  <a:moveTo>
                    <a:pt x="0" y="29"/>
                  </a:moveTo>
                  <a:lnTo>
                    <a:pt x="11" y="69"/>
                  </a:lnTo>
                  <a:lnTo>
                    <a:pt x="62" y="101"/>
                  </a:lnTo>
                  <a:lnTo>
                    <a:pt x="103" y="51"/>
                  </a:lnTo>
                  <a:lnTo>
                    <a:pt x="70" y="0"/>
                  </a:lnTo>
                  <a:lnTo>
                    <a:pt x="0" y="2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22" name="30626371451.7525.519.255">
              <a:extLst>
                <a:ext uri="{FF2B5EF4-FFF2-40B4-BE49-F238E27FC236}">
                  <a16:creationId xmlns:a16="http://schemas.microsoft.com/office/drawing/2014/main" id="{4B01ED80-F7D1-482E-960E-6D3A5915C9B7}"/>
                </a:ext>
              </a:extLst>
            </p:cNvPr>
            <p:cNvSpPr>
              <a:spLocks noChangeAspect="1"/>
            </p:cNvSpPr>
            <p:nvPr/>
          </p:nvSpPr>
          <p:spPr bwMode="gray">
            <a:xfrm>
              <a:off x="6915612" y="4307455"/>
              <a:ext cx="310025" cy="413770"/>
            </a:xfrm>
            <a:custGeom>
              <a:avLst/>
              <a:gdLst/>
              <a:ahLst/>
              <a:cxnLst>
                <a:cxn ang="0">
                  <a:pos x="0" y="425"/>
                </a:cxn>
                <a:cxn ang="0">
                  <a:pos x="0" y="303"/>
                </a:cxn>
                <a:cxn ang="0">
                  <a:pos x="27" y="267"/>
                </a:cxn>
                <a:cxn ang="0">
                  <a:pos x="132" y="230"/>
                </a:cxn>
                <a:cxn ang="0">
                  <a:pos x="233" y="130"/>
                </a:cxn>
                <a:cxn ang="0">
                  <a:pos x="101" y="96"/>
                </a:cxn>
                <a:cxn ang="0">
                  <a:pos x="60" y="36"/>
                </a:cxn>
                <a:cxn ang="0">
                  <a:pos x="75" y="17"/>
                </a:cxn>
                <a:cxn ang="0">
                  <a:pos x="128" y="52"/>
                </a:cxn>
                <a:cxn ang="0">
                  <a:pos x="325" y="0"/>
                </a:cxn>
                <a:cxn ang="0">
                  <a:pos x="341" y="52"/>
                </a:cxn>
                <a:cxn ang="0">
                  <a:pos x="221" y="264"/>
                </a:cxn>
                <a:cxn ang="0">
                  <a:pos x="16" y="453"/>
                </a:cxn>
                <a:cxn ang="0">
                  <a:pos x="0" y="425"/>
                </a:cxn>
              </a:cxnLst>
              <a:rect l="0" t="0" r="r" b="b"/>
              <a:pathLst>
                <a:path w="341" h="453">
                  <a:moveTo>
                    <a:pt x="0" y="425"/>
                  </a:moveTo>
                  <a:lnTo>
                    <a:pt x="0" y="303"/>
                  </a:lnTo>
                  <a:lnTo>
                    <a:pt x="27" y="267"/>
                  </a:lnTo>
                  <a:lnTo>
                    <a:pt x="132" y="230"/>
                  </a:lnTo>
                  <a:lnTo>
                    <a:pt x="233" y="130"/>
                  </a:lnTo>
                  <a:lnTo>
                    <a:pt x="101" y="96"/>
                  </a:lnTo>
                  <a:lnTo>
                    <a:pt x="60" y="36"/>
                  </a:lnTo>
                  <a:lnTo>
                    <a:pt x="75" y="17"/>
                  </a:lnTo>
                  <a:lnTo>
                    <a:pt x="128" y="52"/>
                  </a:lnTo>
                  <a:lnTo>
                    <a:pt x="325" y="0"/>
                  </a:lnTo>
                  <a:lnTo>
                    <a:pt x="341" y="52"/>
                  </a:lnTo>
                  <a:lnTo>
                    <a:pt x="221" y="264"/>
                  </a:lnTo>
                  <a:lnTo>
                    <a:pt x="16" y="453"/>
                  </a:lnTo>
                  <a:lnTo>
                    <a:pt x="0" y="42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23" name="30627422.875421.62513.514.8755">
              <a:extLst>
                <a:ext uri="{FF2B5EF4-FFF2-40B4-BE49-F238E27FC236}">
                  <a16:creationId xmlns:a16="http://schemas.microsoft.com/office/drawing/2014/main" id="{42AFBC15-7D6D-421E-BE56-48583E15DD69}"/>
                </a:ext>
              </a:extLst>
            </p:cNvPr>
            <p:cNvSpPr>
              <a:spLocks noChangeAspect="1"/>
            </p:cNvSpPr>
            <p:nvPr/>
          </p:nvSpPr>
          <p:spPr bwMode="gray">
            <a:xfrm>
              <a:off x="6430598" y="5146768"/>
              <a:ext cx="241557" cy="218661"/>
            </a:xfrm>
            <a:custGeom>
              <a:avLst/>
              <a:gdLst/>
              <a:ahLst/>
              <a:cxnLst>
                <a:cxn ang="0">
                  <a:pos x="0" y="74"/>
                </a:cxn>
                <a:cxn ang="0">
                  <a:pos x="59" y="76"/>
                </a:cxn>
                <a:cxn ang="0">
                  <a:pos x="118" y="32"/>
                </a:cxn>
                <a:cxn ang="0">
                  <a:pos x="121" y="12"/>
                </a:cxn>
                <a:cxn ang="0">
                  <a:pos x="171" y="0"/>
                </a:cxn>
                <a:cxn ang="0">
                  <a:pos x="254" y="26"/>
                </a:cxn>
                <a:cxn ang="0">
                  <a:pos x="262" y="61"/>
                </a:cxn>
                <a:cxn ang="0">
                  <a:pos x="258" y="149"/>
                </a:cxn>
                <a:cxn ang="0">
                  <a:pos x="214" y="241"/>
                </a:cxn>
                <a:cxn ang="0">
                  <a:pos x="138" y="224"/>
                </a:cxn>
                <a:cxn ang="0">
                  <a:pos x="93" y="202"/>
                </a:cxn>
                <a:cxn ang="0">
                  <a:pos x="0" y="74"/>
                </a:cxn>
              </a:cxnLst>
              <a:rect l="0" t="0" r="r" b="b"/>
              <a:pathLst>
                <a:path w="262" h="241">
                  <a:moveTo>
                    <a:pt x="0" y="74"/>
                  </a:moveTo>
                  <a:lnTo>
                    <a:pt x="59" y="76"/>
                  </a:lnTo>
                  <a:lnTo>
                    <a:pt x="118" y="32"/>
                  </a:lnTo>
                  <a:lnTo>
                    <a:pt x="121" y="12"/>
                  </a:lnTo>
                  <a:lnTo>
                    <a:pt x="171" y="0"/>
                  </a:lnTo>
                  <a:lnTo>
                    <a:pt x="254" y="26"/>
                  </a:lnTo>
                  <a:lnTo>
                    <a:pt x="262" y="61"/>
                  </a:lnTo>
                  <a:lnTo>
                    <a:pt x="258" y="149"/>
                  </a:lnTo>
                  <a:lnTo>
                    <a:pt x="214" y="241"/>
                  </a:lnTo>
                  <a:lnTo>
                    <a:pt x="138" y="224"/>
                  </a:lnTo>
                  <a:lnTo>
                    <a:pt x="93" y="202"/>
                  </a:lnTo>
                  <a:lnTo>
                    <a:pt x="0" y="7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24" name="30628425.375396.12523.87525.55">
              <a:extLst>
                <a:ext uri="{FF2B5EF4-FFF2-40B4-BE49-F238E27FC236}">
                  <a16:creationId xmlns:a16="http://schemas.microsoft.com/office/drawing/2014/main" id="{CBB5058F-AFC4-43C0-BEF9-B77D841A398E}"/>
                </a:ext>
              </a:extLst>
            </p:cNvPr>
            <p:cNvSpPr>
              <a:spLocks noChangeAspect="1"/>
            </p:cNvSpPr>
            <p:nvPr/>
          </p:nvSpPr>
          <p:spPr bwMode="gray">
            <a:xfrm>
              <a:off x="6021669" y="5187137"/>
              <a:ext cx="408929" cy="386858"/>
            </a:xfrm>
            <a:custGeom>
              <a:avLst/>
              <a:gdLst/>
              <a:ahLst/>
              <a:cxnLst>
                <a:cxn ang="0">
                  <a:pos x="0" y="14"/>
                </a:cxn>
                <a:cxn ang="0">
                  <a:pos x="55" y="0"/>
                </a:cxn>
                <a:cxn ang="0">
                  <a:pos x="328" y="40"/>
                </a:cxn>
                <a:cxn ang="0">
                  <a:pos x="389" y="22"/>
                </a:cxn>
                <a:cxn ang="0">
                  <a:pos x="453" y="30"/>
                </a:cxn>
                <a:cxn ang="0">
                  <a:pos x="398" y="61"/>
                </a:cxn>
                <a:cxn ang="0">
                  <a:pos x="377" y="40"/>
                </a:cxn>
                <a:cxn ang="0">
                  <a:pos x="312" y="54"/>
                </a:cxn>
                <a:cxn ang="0">
                  <a:pos x="312" y="173"/>
                </a:cxn>
                <a:cxn ang="0">
                  <a:pos x="278" y="175"/>
                </a:cxn>
                <a:cxn ang="0">
                  <a:pos x="278" y="268"/>
                </a:cxn>
                <a:cxn ang="0">
                  <a:pos x="278" y="404"/>
                </a:cxn>
                <a:cxn ang="0">
                  <a:pos x="249" y="425"/>
                </a:cxn>
                <a:cxn ang="0">
                  <a:pos x="207" y="425"/>
                </a:cxn>
                <a:cxn ang="0">
                  <a:pos x="183" y="396"/>
                </a:cxn>
                <a:cxn ang="0">
                  <a:pos x="164" y="411"/>
                </a:cxn>
                <a:cxn ang="0">
                  <a:pos x="120" y="365"/>
                </a:cxn>
                <a:cxn ang="0">
                  <a:pos x="97" y="216"/>
                </a:cxn>
                <a:cxn ang="0">
                  <a:pos x="97" y="198"/>
                </a:cxn>
                <a:cxn ang="0">
                  <a:pos x="0" y="14"/>
                </a:cxn>
              </a:cxnLst>
              <a:rect l="0" t="0" r="r" b="b"/>
              <a:pathLst>
                <a:path w="453" h="425">
                  <a:moveTo>
                    <a:pt x="0" y="14"/>
                  </a:moveTo>
                  <a:lnTo>
                    <a:pt x="55" y="0"/>
                  </a:lnTo>
                  <a:lnTo>
                    <a:pt x="328" y="40"/>
                  </a:lnTo>
                  <a:lnTo>
                    <a:pt x="389" y="22"/>
                  </a:lnTo>
                  <a:lnTo>
                    <a:pt x="453" y="30"/>
                  </a:lnTo>
                  <a:lnTo>
                    <a:pt x="398" y="61"/>
                  </a:lnTo>
                  <a:lnTo>
                    <a:pt x="377" y="40"/>
                  </a:lnTo>
                  <a:lnTo>
                    <a:pt x="312" y="54"/>
                  </a:lnTo>
                  <a:lnTo>
                    <a:pt x="312" y="173"/>
                  </a:lnTo>
                  <a:lnTo>
                    <a:pt x="278" y="175"/>
                  </a:lnTo>
                  <a:lnTo>
                    <a:pt x="278" y="268"/>
                  </a:lnTo>
                  <a:lnTo>
                    <a:pt x="278" y="404"/>
                  </a:lnTo>
                  <a:lnTo>
                    <a:pt x="249" y="425"/>
                  </a:lnTo>
                  <a:lnTo>
                    <a:pt x="207" y="425"/>
                  </a:lnTo>
                  <a:lnTo>
                    <a:pt x="183" y="396"/>
                  </a:lnTo>
                  <a:lnTo>
                    <a:pt x="164" y="411"/>
                  </a:lnTo>
                  <a:lnTo>
                    <a:pt x="120" y="365"/>
                  </a:lnTo>
                  <a:lnTo>
                    <a:pt x="97" y="216"/>
                  </a:lnTo>
                  <a:lnTo>
                    <a:pt x="97" y="198"/>
                  </a:lnTo>
                  <a:lnTo>
                    <a:pt x="0" y="1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25" name="30629340.25342.513.12515.755">
              <a:extLst>
                <a:ext uri="{FF2B5EF4-FFF2-40B4-BE49-F238E27FC236}">
                  <a16:creationId xmlns:a16="http://schemas.microsoft.com/office/drawing/2014/main" id="{5367D058-7D1E-4766-A7CC-3DC891B5DCC9}"/>
                </a:ext>
              </a:extLst>
            </p:cNvPr>
            <p:cNvSpPr>
              <a:spLocks noChangeAspect="1"/>
            </p:cNvSpPr>
            <p:nvPr/>
          </p:nvSpPr>
          <p:spPr bwMode="gray">
            <a:xfrm>
              <a:off x="5163863" y="3807902"/>
              <a:ext cx="251064" cy="215296"/>
            </a:xfrm>
            <a:custGeom>
              <a:avLst/>
              <a:gdLst/>
              <a:ahLst/>
              <a:cxnLst>
                <a:cxn ang="0">
                  <a:pos x="0" y="234"/>
                </a:cxn>
                <a:cxn ang="0">
                  <a:pos x="132" y="0"/>
                </a:cxn>
                <a:cxn ang="0">
                  <a:pos x="278" y="4"/>
                </a:cxn>
                <a:cxn ang="0">
                  <a:pos x="281" y="17"/>
                </a:cxn>
                <a:cxn ang="0">
                  <a:pos x="278" y="61"/>
                </a:cxn>
                <a:cxn ang="0">
                  <a:pos x="171" y="58"/>
                </a:cxn>
                <a:cxn ang="0">
                  <a:pos x="169" y="149"/>
                </a:cxn>
                <a:cxn ang="0">
                  <a:pos x="131" y="165"/>
                </a:cxn>
                <a:cxn ang="0">
                  <a:pos x="134" y="220"/>
                </a:cxn>
                <a:cxn ang="0">
                  <a:pos x="0" y="234"/>
                </a:cxn>
              </a:cxnLst>
              <a:rect l="0" t="0" r="r" b="b"/>
              <a:pathLst>
                <a:path w="281" h="234">
                  <a:moveTo>
                    <a:pt x="0" y="234"/>
                  </a:moveTo>
                  <a:lnTo>
                    <a:pt x="132" y="0"/>
                  </a:lnTo>
                  <a:lnTo>
                    <a:pt x="278" y="4"/>
                  </a:lnTo>
                  <a:lnTo>
                    <a:pt x="281" y="17"/>
                  </a:lnTo>
                  <a:lnTo>
                    <a:pt x="278" y="61"/>
                  </a:lnTo>
                  <a:lnTo>
                    <a:pt x="171" y="58"/>
                  </a:lnTo>
                  <a:lnTo>
                    <a:pt x="169" y="149"/>
                  </a:lnTo>
                  <a:lnTo>
                    <a:pt x="131" y="165"/>
                  </a:lnTo>
                  <a:lnTo>
                    <a:pt x="134" y="220"/>
                  </a:lnTo>
                  <a:lnTo>
                    <a:pt x="0" y="23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26" name="30630349.375415.7537.12531.255">
              <a:extLst>
                <a:ext uri="{FF2B5EF4-FFF2-40B4-BE49-F238E27FC236}">
                  <a16:creationId xmlns:a16="http://schemas.microsoft.com/office/drawing/2014/main" id="{21A467A6-FB92-43AC-A7AC-833FBBD03BEC}"/>
                </a:ext>
              </a:extLst>
            </p:cNvPr>
            <p:cNvSpPr>
              <a:spLocks noChangeAspect="1"/>
            </p:cNvSpPr>
            <p:nvPr/>
          </p:nvSpPr>
          <p:spPr bwMode="gray">
            <a:xfrm>
              <a:off x="6339304" y="3957601"/>
              <a:ext cx="500227" cy="600473"/>
            </a:xfrm>
            <a:custGeom>
              <a:avLst/>
              <a:gdLst/>
              <a:ahLst/>
              <a:cxnLst>
                <a:cxn ang="0">
                  <a:pos x="0" y="348"/>
                </a:cxn>
                <a:cxn ang="0">
                  <a:pos x="26" y="414"/>
                </a:cxn>
                <a:cxn ang="0">
                  <a:pos x="51" y="485"/>
                </a:cxn>
                <a:cxn ang="0">
                  <a:pos x="107" y="512"/>
                </a:cxn>
                <a:cxn ang="0">
                  <a:pos x="188" y="609"/>
                </a:cxn>
                <a:cxn ang="0">
                  <a:pos x="299" y="659"/>
                </a:cxn>
                <a:cxn ang="0">
                  <a:pos x="402" y="646"/>
                </a:cxn>
                <a:cxn ang="0">
                  <a:pos x="464" y="627"/>
                </a:cxn>
                <a:cxn ang="0">
                  <a:pos x="427" y="557"/>
                </a:cxn>
                <a:cxn ang="0">
                  <a:pos x="368" y="517"/>
                </a:cxn>
                <a:cxn ang="0">
                  <a:pos x="407" y="491"/>
                </a:cxn>
                <a:cxn ang="0">
                  <a:pos x="411" y="430"/>
                </a:cxn>
                <a:cxn ang="0">
                  <a:pos x="477" y="349"/>
                </a:cxn>
                <a:cxn ang="0">
                  <a:pos x="503" y="206"/>
                </a:cxn>
                <a:cxn ang="0">
                  <a:pos x="554" y="175"/>
                </a:cxn>
                <a:cxn ang="0">
                  <a:pos x="514" y="144"/>
                </a:cxn>
                <a:cxn ang="0">
                  <a:pos x="499" y="38"/>
                </a:cxn>
                <a:cxn ang="0">
                  <a:pos x="455" y="0"/>
                </a:cxn>
                <a:cxn ang="0">
                  <a:pos x="402" y="45"/>
                </a:cxn>
                <a:cxn ang="0">
                  <a:pos x="101" y="37"/>
                </a:cxn>
                <a:cxn ang="0">
                  <a:pos x="101" y="104"/>
                </a:cxn>
                <a:cxn ang="0">
                  <a:pos x="71" y="106"/>
                </a:cxn>
                <a:cxn ang="0">
                  <a:pos x="71" y="125"/>
                </a:cxn>
                <a:cxn ang="0">
                  <a:pos x="70" y="252"/>
                </a:cxn>
                <a:cxn ang="0">
                  <a:pos x="35" y="258"/>
                </a:cxn>
                <a:cxn ang="0">
                  <a:pos x="0" y="348"/>
                </a:cxn>
              </a:cxnLst>
              <a:rect l="0" t="0" r="r" b="b"/>
              <a:pathLst>
                <a:path w="554" h="659">
                  <a:moveTo>
                    <a:pt x="0" y="348"/>
                  </a:moveTo>
                  <a:lnTo>
                    <a:pt x="26" y="414"/>
                  </a:lnTo>
                  <a:lnTo>
                    <a:pt x="51" y="485"/>
                  </a:lnTo>
                  <a:lnTo>
                    <a:pt x="107" y="512"/>
                  </a:lnTo>
                  <a:lnTo>
                    <a:pt x="188" y="609"/>
                  </a:lnTo>
                  <a:lnTo>
                    <a:pt x="299" y="659"/>
                  </a:lnTo>
                  <a:lnTo>
                    <a:pt x="402" y="646"/>
                  </a:lnTo>
                  <a:lnTo>
                    <a:pt x="464" y="627"/>
                  </a:lnTo>
                  <a:lnTo>
                    <a:pt x="427" y="557"/>
                  </a:lnTo>
                  <a:lnTo>
                    <a:pt x="368" y="517"/>
                  </a:lnTo>
                  <a:lnTo>
                    <a:pt x="407" y="491"/>
                  </a:lnTo>
                  <a:lnTo>
                    <a:pt x="411" y="430"/>
                  </a:lnTo>
                  <a:lnTo>
                    <a:pt x="477" y="349"/>
                  </a:lnTo>
                  <a:lnTo>
                    <a:pt x="503" y="206"/>
                  </a:lnTo>
                  <a:lnTo>
                    <a:pt x="554" y="175"/>
                  </a:lnTo>
                  <a:lnTo>
                    <a:pt x="514" y="144"/>
                  </a:lnTo>
                  <a:lnTo>
                    <a:pt x="499" y="38"/>
                  </a:lnTo>
                  <a:lnTo>
                    <a:pt x="455" y="0"/>
                  </a:lnTo>
                  <a:lnTo>
                    <a:pt x="402" y="45"/>
                  </a:lnTo>
                  <a:lnTo>
                    <a:pt x="101" y="37"/>
                  </a:lnTo>
                  <a:lnTo>
                    <a:pt x="101" y="104"/>
                  </a:lnTo>
                  <a:lnTo>
                    <a:pt x="71" y="106"/>
                  </a:lnTo>
                  <a:lnTo>
                    <a:pt x="71" y="125"/>
                  </a:lnTo>
                  <a:lnTo>
                    <a:pt x="70" y="252"/>
                  </a:lnTo>
                  <a:lnTo>
                    <a:pt x="35" y="258"/>
                  </a:lnTo>
                  <a:lnTo>
                    <a:pt x="0" y="348"/>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27" name="30631442.5432.37532.255">
              <a:extLst>
                <a:ext uri="{FF2B5EF4-FFF2-40B4-BE49-F238E27FC236}">
                  <a16:creationId xmlns:a16="http://schemas.microsoft.com/office/drawing/2014/main" id="{AA2CFE64-85DF-4F0E-A2DE-CAA37D15B316}"/>
                </a:ext>
              </a:extLst>
            </p:cNvPr>
            <p:cNvSpPr>
              <a:spLocks noChangeAspect="1"/>
            </p:cNvSpPr>
            <p:nvPr/>
          </p:nvSpPr>
          <p:spPr bwMode="gray">
            <a:xfrm>
              <a:off x="6605584" y="5464664"/>
              <a:ext cx="34238" cy="50460"/>
            </a:xfrm>
            <a:custGeom>
              <a:avLst/>
              <a:gdLst/>
              <a:ahLst/>
              <a:cxnLst>
                <a:cxn ang="0">
                  <a:pos x="0" y="31"/>
                </a:cxn>
                <a:cxn ang="0">
                  <a:pos x="22" y="54"/>
                </a:cxn>
                <a:cxn ang="0">
                  <a:pos x="39" y="35"/>
                </a:cxn>
                <a:cxn ang="0">
                  <a:pos x="35" y="0"/>
                </a:cxn>
                <a:cxn ang="0">
                  <a:pos x="0" y="31"/>
                </a:cxn>
              </a:cxnLst>
              <a:rect l="0" t="0" r="r" b="b"/>
              <a:pathLst>
                <a:path w="39" h="54">
                  <a:moveTo>
                    <a:pt x="0" y="31"/>
                  </a:moveTo>
                  <a:lnTo>
                    <a:pt x="22" y="54"/>
                  </a:lnTo>
                  <a:lnTo>
                    <a:pt x="39" y="35"/>
                  </a:lnTo>
                  <a:lnTo>
                    <a:pt x="35" y="0"/>
                  </a:lnTo>
                  <a:lnTo>
                    <a:pt x="0" y="31"/>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28" name="30632395.125430.37520.12520.255">
              <a:extLst>
                <a:ext uri="{FF2B5EF4-FFF2-40B4-BE49-F238E27FC236}">
                  <a16:creationId xmlns:a16="http://schemas.microsoft.com/office/drawing/2014/main" id="{176F8B72-A84F-490B-A428-174557A55884}"/>
                </a:ext>
              </a:extLst>
            </p:cNvPr>
            <p:cNvSpPr>
              <a:spLocks noChangeAspect="1"/>
            </p:cNvSpPr>
            <p:nvPr/>
          </p:nvSpPr>
          <p:spPr bwMode="gray">
            <a:xfrm>
              <a:off x="6573251" y="4697678"/>
              <a:ext cx="323341" cy="326307"/>
            </a:xfrm>
            <a:custGeom>
              <a:avLst/>
              <a:gdLst/>
              <a:ahLst/>
              <a:cxnLst>
                <a:cxn ang="0">
                  <a:pos x="0" y="113"/>
                </a:cxn>
                <a:cxn ang="0">
                  <a:pos x="3" y="182"/>
                </a:cxn>
                <a:cxn ang="0">
                  <a:pos x="47" y="252"/>
                </a:cxn>
                <a:cxn ang="0">
                  <a:pos x="109" y="282"/>
                </a:cxn>
                <a:cxn ang="0">
                  <a:pos x="142" y="289"/>
                </a:cxn>
                <a:cxn ang="0">
                  <a:pos x="178" y="356"/>
                </a:cxn>
                <a:cxn ang="0">
                  <a:pos x="311" y="348"/>
                </a:cxn>
                <a:cxn ang="0">
                  <a:pos x="361" y="318"/>
                </a:cxn>
                <a:cxn ang="0">
                  <a:pos x="310" y="177"/>
                </a:cxn>
                <a:cxn ang="0">
                  <a:pos x="323" y="124"/>
                </a:cxn>
                <a:cxn ang="0">
                  <a:pos x="152" y="0"/>
                </a:cxn>
                <a:cxn ang="0">
                  <a:pos x="106" y="62"/>
                </a:cxn>
                <a:cxn ang="0">
                  <a:pos x="87" y="45"/>
                </a:cxn>
                <a:cxn ang="0">
                  <a:pos x="73" y="59"/>
                </a:cxn>
                <a:cxn ang="0">
                  <a:pos x="72" y="0"/>
                </a:cxn>
                <a:cxn ang="0">
                  <a:pos x="28" y="3"/>
                </a:cxn>
                <a:cxn ang="0">
                  <a:pos x="35" y="47"/>
                </a:cxn>
                <a:cxn ang="0">
                  <a:pos x="38" y="74"/>
                </a:cxn>
                <a:cxn ang="0">
                  <a:pos x="0" y="113"/>
                </a:cxn>
              </a:cxnLst>
              <a:rect l="0" t="0" r="r" b="b"/>
              <a:pathLst>
                <a:path w="361" h="356">
                  <a:moveTo>
                    <a:pt x="0" y="113"/>
                  </a:moveTo>
                  <a:lnTo>
                    <a:pt x="3" y="182"/>
                  </a:lnTo>
                  <a:lnTo>
                    <a:pt x="47" y="252"/>
                  </a:lnTo>
                  <a:lnTo>
                    <a:pt x="109" y="282"/>
                  </a:lnTo>
                  <a:lnTo>
                    <a:pt x="142" y="289"/>
                  </a:lnTo>
                  <a:lnTo>
                    <a:pt x="178" y="356"/>
                  </a:lnTo>
                  <a:lnTo>
                    <a:pt x="311" y="348"/>
                  </a:lnTo>
                  <a:lnTo>
                    <a:pt x="361" y="318"/>
                  </a:lnTo>
                  <a:lnTo>
                    <a:pt x="310" y="177"/>
                  </a:lnTo>
                  <a:lnTo>
                    <a:pt x="323" y="124"/>
                  </a:lnTo>
                  <a:lnTo>
                    <a:pt x="152" y="0"/>
                  </a:lnTo>
                  <a:lnTo>
                    <a:pt x="106" y="62"/>
                  </a:lnTo>
                  <a:lnTo>
                    <a:pt x="87" y="45"/>
                  </a:lnTo>
                  <a:lnTo>
                    <a:pt x="73" y="59"/>
                  </a:lnTo>
                  <a:lnTo>
                    <a:pt x="72" y="0"/>
                  </a:lnTo>
                  <a:lnTo>
                    <a:pt x="28" y="3"/>
                  </a:lnTo>
                  <a:lnTo>
                    <a:pt x="35" y="47"/>
                  </a:lnTo>
                  <a:lnTo>
                    <a:pt x="38" y="74"/>
                  </a:lnTo>
                  <a:lnTo>
                    <a:pt x="0" y="113"/>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29" name="30633372.253749.754.1255">
              <a:extLst>
                <a:ext uri="{FF2B5EF4-FFF2-40B4-BE49-F238E27FC236}">
                  <a16:creationId xmlns:a16="http://schemas.microsoft.com/office/drawing/2014/main" id="{13A2441D-38F0-426A-A519-C3F9B42E521C}"/>
                </a:ext>
              </a:extLst>
            </p:cNvPr>
            <p:cNvSpPr>
              <a:spLocks noChangeAspect="1"/>
            </p:cNvSpPr>
            <p:nvPr/>
          </p:nvSpPr>
          <p:spPr bwMode="gray">
            <a:xfrm>
              <a:off x="5667896" y="4329322"/>
              <a:ext cx="66571" cy="156425"/>
            </a:xfrm>
            <a:custGeom>
              <a:avLst/>
              <a:gdLst/>
              <a:ahLst/>
              <a:cxnLst>
                <a:cxn ang="0">
                  <a:pos x="0" y="0"/>
                </a:cxn>
                <a:cxn ang="0">
                  <a:pos x="35" y="8"/>
                </a:cxn>
                <a:cxn ang="0">
                  <a:pos x="71" y="164"/>
                </a:cxn>
                <a:cxn ang="0">
                  <a:pos x="46" y="171"/>
                </a:cxn>
                <a:cxn ang="0">
                  <a:pos x="0" y="0"/>
                </a:cxn>
              </a:cxnLst>
              <a:rect l="0" t="0" r="r" b="b"/>
              <a:pathLst>
                <a:path w="71" h="171">
                  <a:moveTo>
                    <a:pt x="0" y="0"/>
                  </a:moveTo>
                  <a:lnTo>
                    <a:pt x="35" y="8"/>
                  </a:lnTo>
                  <a:lnTo>
                    <a:pt x="71" y="164"/>
                  </a:lnTo>
                  <a:lnTo>
                    <a:pt x="46" y="171"/>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30" name="30634385.875430.3759.875105">
              <a:extLst>
                <a:ext uri="{FF2B5EF4-FFF2-40B4-BE49-F238E27FC236}">
                  <a16:creationId xmlns:a16="http://schemas.microsoft.com/office/drawing/2014/main" id="{E916D70C-9B06-4368-AD74-B245033B3E21}"/>
                </a:ext>
              </a:extLst>
            </p:cNvPr>
            <p:cNvSpPr>
              <a:spLocks noChangeAspect="1"/>
            </p:cNvSpPr>
            <p:nvPr/>
          </p:nvSpPr>
          <p:spPr bwMode="gray">
            <a:xfrm>
              <a:off x="6573251" y="4547979"/>
              <a:ext cx="157865" cy="161471"/>
            </a:xfrm>
            <a:custGeom>
              <a:avLst/>
              <a:gdLst/>
              <a:ahLst/>
              <a:cxnLst>
                <a:cxn ang="0">
                  <a:pos x="0" y="176"/>
                </a:cxn>
                <a:cxn ang="0">
                  <a:pos x="26" y="167"/>
                </a:cxn>
                <a:cxn ang="0">
                  <a:pos x="70" y="164"/>
                </a:cxn>
                <a:cxn ang="0">
                  <a:pos x="71" y="139"/>
                </a:cxn>
                <a:cxn ang="0">
                  <a:pos x="141" y="125"/>
                </a:cxn>
                <a:cxn ang="0">
                  <a:pos x="177" y="65"/>
                </a:cxn>
                <a:cxn ang="0">
                  <a:pos x="141" y="0"/>
                </a:cxn>
                <a:cxn ang="0">
                  <a:pos x="38" y="13"/>
                </a:cxn>
                <a:cxn ang="0">
                  <a:pos x="51" y="61"/>
                </a:cxn>
                <a:cxn ang="0">
                  <a:pos x="29" y="92"/>
                </a:cxn>
                <a:cxn ang="0">
                  <a:pos x="0" y="176"/>
                </a:cxn>
              </a:cxnLst>
              <a:rect l="0" t="0" r="r" b="b"/>
              <a:pathLst>
                <a:path w="177" h="176">
                  <a:moveTo>
                    <a:pt x="0" y="176"/>
                  </a:moveTo>
                  <a:lnTo>
                    <a:pt x="26" y="167"/>
                  </a:lnTo>
                  <a:lnTo>
                    <a:pt x="70" y="164"/>
                  </a:lnTo>
                  <a:lnTo>
                    <a:pt x="71" y="139"/>
                  </a:lnTo>
                  <a:lnTo>
                    <a:pt x="141" y="125"/>
                  </a:lnTo>
                  <a:lnTo>
                    <a:pt x="177" y="65"/>
                  </a:lnTo>
                  <a:lnTo>
                    <a:pt x="141" y="0"/>
                  </a:lnTo>
                  <a:lnTo>
                    <a:pt x="38" y="13"/>
                  </a:lnTo>
                  <a:lnTo>
                    <a:pt x="51" y="61"/>
                  </a:lnTo>
                  <a:lnTo>
                    <a:pt x="29" y="92"/>
                  </a:lnTo>
                  <a:lnTo>
                    <a:pt x="0" y="176"/>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31" name="30635332.25420.519.7521.1255">
              <a:extLst>
                <a:ext uri="{FF2B5EF4-FFF2-40B4-BE49-F238E27FC236}">
                  <a16:creationId xmlns:a16="http://schemas.microsoft.com/office/drawing/2014/main" id="{37833FBF-566E-474B-BC00-DD511B8C1114}"/>
                </a:ext>
              </a:extLst>
            </p:cNvPr>
            <p:cNvSpPr>
              <a:spLocks noChangeAspect="1"/>
            </p:cNvSpPr>
            <p:nvPr/>
          </p:nvSpPr>
          <p:spPr bwMode="gray">
            <a:xfrm>
              <a:off x="6415381" y="3680073"/>
              <a:ext cx="338557" cy="319577"/>
            </a:xfrm>
            <a:custGeom>
              <a:avLst/>
              <a:gdLst/>
              <a:ahLst/>
              <a:cxnLst>
                <a:cxn ang="0">
                  <a:pos x="0" y="58"/>
                </a:cxn>
                <a:cxn ang="0">
                  <a:pos x="15" y="343"/>
                </a:cxn>
                <a:cxn ang="0">
                  <a:pos x="316" y="351"/>
                </a:cxn>
                <a:cxn ang="0">
                  <a:pos x="369" y="306"/>
                </a:cxn>
                <a:cxn ang="0">
                  <a:pos x="374" y="276"/>
                </a:cxn>
                <a:cxn ang="0">
                  <a:pos x="261" y="75"/>
                </a:cxn>
                <a:cxn ang="0">
                  <a:pos x="316" y="139"/>
                </a:cxn>
                <a:cxn ang="0">
                  <a:pos x="344" y="84"/>
                </a:cxn>
                <a:cxn ang="0">
                  <a:pos x="316" y="13"/>
                </a:cxn>
                <a:cxn ang="0">
                  <a:pos x="246" y="24"/>
                </a:cxn>
                <a:cxn ang="0">
                  <a:pos x="245" y="5"/>
                </a:cxn>
                <a:cxn ang="0">
                  <a:pos x="208" y="5"/>
                </a:cxn>
                <a:cxn ang="0">
                  <a:pos x="146" y="31"/>
                </a:cxn>
                <a:cxn ang="0">
                  <a:pos x="15" y="0"/>
                </a:cxn>
                <a:cxn ang="0">
                  <a:pos x="0" y="58"/>
                </a:cxn>
              </a:cxnLst>
              <a:rect l="0" t="0" r="r" b="b"/>
              <a:pathLst>
                <a:path w="374" h="351">
                  <a:moveTo>
                    <a:pt x="0" y="58"/>
                  </a:moveTo>
                  <a:lnTo>
                    <a:pt x="15" y="343"/>
                  </a:lnTo>
                  <a:lnTo>
                    <a:pt x="316" y="351"/>
                  </a:lnTo>
                  <a:lnTo>
                    <a:pt x="369" y="306"/>
                  </a:lnTo>
                  <a:lnTo>
                    <a:pt x="374" y="276"/>
                  </a:lnTo>
                  <a:lnTo>
                    <a:pt x="261" y="75"/>
                  </a:lnTo>
                  <a:lnTo>
                    <a:pt x="316" y="139"/>
                  </a:lnTo>
                  <a:lnTo>
                    <a:pt x="344" y="84"/>
                  </a:lnTo>
                  <a:lnTo>
                    <a:pt x="316" y="13"/>
                  </a:lnTo>
                  <a:lnTo>
                    <a:pt x="246" y="24"/>
                  </a:lnTo>
                  <a:lnTo>
                    <a:pt x="245" y="5"/>
                  </a:lnTo>
                  <a:lnTo>
                    <a:pt x="208" y="5"/>
                  </a:lnTo>
                  <a:lnTo>
                    <a:pt x="146" y="31"/>
                  </a:lnTo>
                  <a:lnTo>
                    <a:pt x="15" y="0"/>
                  </a:lnTo>
                  <a:lnTo>
                    <a:pt x="0" y="58"/>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32" name="30636365.125364.62510.37514.1255">
              <a:extLst>
                <a:ext uri="{FF2B5EF4-FFF2-40B4-BE49-F238E27FC236}">
                  <a16:creationId xmlns:a16="http://schemas.microsoft.com/office/drawing/2014/main" id="{BD9C390D-263A-4F48-8AE3-F9399D1455A8}"/>
                </a:ext>
              </a:extLst>
            </p:cNvPr>
            <p:cNvSpPr>
              <a:spLocks noChangeAspect="1"/>
            </p:cNvSpPr>
            <p:nvPr/>
          </p:nvSpPr>
          <p:spPr bwMode="gray">
            <a:xfrm>
              <a:off x="5519537" y="4213262"/>
              <a:ext cx="224436" cy="166517"/>
            </a:xfrm>
            <a:custGeom>
              <a:avLst/>
              <a:gdLst/>
              <a:ahLst/>
              <a:cxnLst>
                <a:cxn ang="0">
                  <a:pos x="0" y="156"/>
                </a:cxn>
                <a:cxn ang="0">
                  <a:pos x="18" y="177"/>
                </a:cxn>
                <a:cxn ang="0">
                  <a:pos x="85" y="184"/>
                </a:cxn>
                <a:cxn ang="0">
                  <a:pos x="78" y="137"/>
                </a:cxn>
                <a:cxn ang="0">
                  <a:pos x="168" y="129"/>
                </a:cxn>
                <a:cxn ang="0">
                  <a:pos x="203" y="137"/>
                </a:cxn>
                <a:cxn ang="0">
                  <a:pos x="252" y="103"/>
                </a:cxn>
                <a:cxn ang="0">
                  <a:pos x="187" y="33"/>
                </a:cxn>
                <a:cxn ang="0">
                  <a:pos x="180" y="0"/>
                </a:cxn>
                <a:cxn ang="0">
                  <a:pos x="43" y="60"/>
                </a:cxn>
                <a:cxn ang="0">
                  <a:pos x="0" y="156"/>
                </a:cxn>
              </a:cxnLst>
              <a:rect l="0" t="0" r="r" b="b"/>
              <a:pathLst>
                <a:path w="252" h="184">
                  <a:moveTo>
                    <a:pt x="0" y="156"/>
                  </a:moveTo>
                  <a:lnTo>
                    <a:pt x="18" y="177"/>
                  </a:lnTo>
                  <a:lnTo>
                    <a:pt x="85" y="184"/>
                  </a:lnTo>
                  <a:lnTo>
                    <a:pt x="78" y="137"/>
                  </a:lnTo>
                  <a:lnTo>
                    <a:pt x="168" y="129"/>
                  </a:lnTo>
                  <a:lnTo>
                    <a:pt x="203" y="137"/>
                  </a:lnTo>
                  <a:lnTo>
                    <a:pt x="252" y="103"/>
                  </a:lnTo>
                  <a:lnTo>
                    <a:pt x="187" y="33"/>
                  </a:lnTo>
                  <a:lnTo>
                    <a:pt x="180" y="0"/>
                  </a:lnTo>
                  <a:lnTo>
                    <a:pt x="43" y="60"/>
                  </a:lnTo>
                  <a:lnTo>
                    <a:pt x="0" y="156"/>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33" name="30637408.625415.7518.37522.1255">
              <a:extLst>
                <a:ext uri="{FF2B5EF4-FFF2-40B4-BE49-F238E27FC236}">
                  <a16:creationId xmlns:a16="http://schemas.microsoft.com/office/drawing/2014/main" id="{38A67A98-4B4B-4B7D-90A2-4BB934F8D8F4}"/>
                </a:ext>
              </a:extLst>
            </p:cNvPr>
            <p:cNvSpPr>
              <a:spLocks noChangeAspect="1"/>
            </p:cNvSpPr>
            <p:nvPr/>
          </p:nvSpPr>
          <p:spPr bwMode="gray">
            <a:xfrm>
              <a:off x="6339304" y="4918019"/>
              <a:ext cx="353773" cy="296030"/>
            </a:xfrm>
            <a:custGeom>
              <a:avLst/>
              <a:gdLst/>
              <a:ahLst/>
              <a:cxnLst>
                <a:cxn ang="0">
                  <a:pos x="0" y="159"/>
                </a:cxn>
                <a:cxn ang="0">
                  <a:pos x="0" y="284"/>
                </a:cxn>
                <a:cxn ang="0">
                  <a:pos x="41" y="316"/>
                </a:cxn>
                <a:cxn ang="0">
                  <a:pos x="105" y="324"/>
                </a:cxn>
                <a:cxn ang="0">
                  <a:pos x="164" y="326"/>
                </a:cxn>
                <a:cxn ang="0">
                  <a:pos x="223" y="282"/>
                </a:cxn>
                <a:cxn ang="0">
                  <a:pos x="226" y="262"/>
                </a:cxn>
                <a:cxn ang="0">
                  <a:pos x="276" y="250"/>
                </a:cxn>
                <a:cxn ang="0">
                  <a:pos x="267" y="232"/>
                </a:cxn>
                <a:cxn ang="0">
                  <a:pos x="374" y="199"/>
                </a:cxn>
                <a:cxn ang="0">
                  <a:pos x="360" y="183"/>
                </a:cxn>
                <a:cxn ang="0">
                  <a:pos x="393" y="84"/>
                </a:cxn>
                <a:cxn ang="0">
                  <a:pos x="367" y="41"/>
                </a:cxn>
                <a:cxn ang="0">
                  <a:pos x="305" y="11"/>
                </a:cxn>
                <a:cxn ang="0">
                  <a:pos x="289" y="0"/>
                </a:cxn>
                <a:cxn ang="0">
                  <a:pos x="228" y="30"/>
                </a:cxn>
                <a:cxn ang="0">
                  <a:pos x="221" y="117"/>
                </a:cxn>
                <a:cxn ang="0">
                  <a:pos x="258" y="133"/>
                </a:cxn>
                <a:cxn ang="0">
                  <a:pos x="260" y="169"/>
                </a:cxn>
                <a:cxn ang="0">
                  <a:pos x="69" y="90"/>
                </a:cxn>
                <a:cxn ang="0">
                  <a:pos x="74" y="159"/>
                </a:cxn>
                <a:cxn ang="0">
                  <a:pos x="0" y="159"/>
                </a:cxn>
              </a:cxnLst>
              <a:rect l="0" t="0" r="r" b="b"/>
              <a:pathLst>
                <a:path w="393" h="326">
                  <a:moveTo>
                    <a:pt x="0" y="159"/>
                  </a:moveTo>
                  <a:lnTo>
                    <a:pt x="0" y="284"/>
                  </a:lnTo>
                  <a:lnTo>
                    <a:pt x="41" y="316"/>
                  </a:lnTo>
                  <a:lnTo>
                    <a:pt x="105" y="324"/>
                  </a:lnTo>
                  <a:lnTo>
                    <a:pt x="164" y="326"/>
                  </a:lnTo>
                  <a:lnTo>
                    <a:pt x="223" y="282"/>
                  </a:lnTo>
                  <a:lnTo>
                    <a:pt x="226" y="262"/>
                  </a:lnTo>
                  <a:lnTo>
                    <a:pt x="276" y="250"/>
                  </a:lnTo>
                  <a:lnTo>
                    <a:pt x="267" y="232"/>
                  </a:lnTo>
                  <a:lnTo>
                    <a:pt x="374" y="199"/>
                  </a:lnTo>
                  <a:lnTo>
                    <a:pt x="360" y="183"/>
                  </a:lnTo>
                  <a:lnTo>
                    <a:pt x="393" y="84"/>
                  </a:lnTo>
                  <a:lnTo>
                    <a:pt x="367" y="41"/>
                  </a:lnTo>
                  <a:lnTo>
                    <a:pt x="305" y="11"/>
                  </a:lnTo>
                  <a:lnTo>
                    <a:pt x="289" y="0"/>
                  </a:lnTo>
                  <a:lnTo>
                    <a:pt x="228" y="30"/>
                  </a:lnTo>
                  <a:lnTo>
                    <a:pt x="221" y="117"/>
                  </a:lnTo>
                  <a:lnTo>
                    <a:pt x="258" y="133"/>
                  </a:lnTo>
                  <a:lnTo>
                    <a:pt x="260" y="169"/>
                  </a:lnTo>
                  <a:lnTo>
                    <a:pt x="69" y="90"/>
                  </a:lnTo>
                  <a:lnTo>
                    <a:pt x="74" y="159"/>
                  </a:lnTo>
                  <a:lnTo>
                    <a:pt x="0" y="15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34" name="30639277.125418.12511.625155">
              <a:extLst>
                <a:ext uri="{FF2B5EF4-FFF2-40B4-BE49-F238E27FC236}">
                  <a16:creationId xmlns:a16="http://schemas.microsoft.com/office/drawing/2014/main" id="{6B8156B5-BE2D-49A8-99F3-8AEA974ADC2F}"/>
                </a:ext>
              </a:extLst>
            </p:cNvPr>
            <p:cNvSpPr>
              <a:spLocks noChangeAspect="1"/>
            </p:cNvSpPr>
            <p:nvPr/>
          </p:nvSpPr>
          <p:spPr bwMode="gray">
            <a:xfrm>
              <a:off x="6377343" y="2785251"/>
              <a:ext cx="239653" cy="191748"/>
            </a:xfrm>
            <a:custGeom>
              <a:avLst/>
              <a:gdLst/>
              <a:ahLst/>
              <a:cxnLst>
                <a:cxn ang="0">
                  <a:pos x="86" y="0"/>
                </a:cxn>
                <a:cxn ang="0">
                  <a:pos x="108" y="5"/>
                </a:cxn>
                <a:cxn ang="0">
                  <a:pos x="130" y="20"/>
                </a:cxn>
                <a:cxn ang="0">
                  <a:pos x="166" y="20"/>
                </a:cxn>
                <a:cxn ang="0">
                  <a:pos x="203" y="25"/>
                </a:cxn>
                <a:cxn ang="0">
                  <a:pos x="221" y="50"/>
                </a:cxn>
                <a:cxn ang="0">
                  <a:pos x="236" y="84"/>
                </a:cxn>
                <a:cxn ang="0">
                  <a:pos x="242" y="97"/>
                </a:cxn>
                <a:cxn ang="0">
                  <a:pos x="255" y="108"/>
                </a:cxn>
                <a:cxn ang="0">
                  <a:pos x="265" y="117"/>
                </a:cxn>
                <a:cxn ang="0">
                  <a:pos x="265" y="130"/>
                </a:cxn>
                <a:cxn ang="0">
                  <a:pos x="248" y="130"/>
                </a:cxn>
                <a:cxn ang="0">
                  <a:pos x="225" y="130"/>
                </a:cxn>
                <a:cxn ang="0">
                  <a:pos x="236" y="144"/>
                </a:cxn>
                <a:cxn ang="0">
                  <a:pos x="244" y="152"/>
                </a:cxn>
                <a:cxn ang="0">
                  <a:pos x="248" y="170"/>
                </a:cxn>
                <a:cxn ang="0">
                  <a:pos x="236" y="178"/>
                </a:cxn>
                <a:cxn ang="0">
                  <a:pos x="215" y="178"/>
                </a:cxn>
                <a:cxn ang="0">
                  <a:pos x="213" y="178"/>
                </a:cxn>
                <a:cxn ang="0">
                  <a:pos x="203" y="186"/>
                </a:cxn>
                <a:cxn ang="0">
                  <a:pos x="203" y="203"/>
                </a:cxn>
                <a:cxn ang="0">
                  <a:pos x="189" y="207"/>
                </a:cxn>
                <a:cxn ang="0">
                  <a:pos x="176" y="199"/>
                </a:cxn>
                <a:cxn ang="0">
                  <a:pos x="155" y="194"/>
                </a:cxn>
                <a:cxn ang="0">
                  <a:pos x="136" y="186"/>
                </a:cxn>
                <a:cxn ang="0">
                  <a:pos x="118" y="190"/>
                </a:cxn>
                <a:cxn ang="0">
                  <a:pos x="63" y="170"/>
                </a:cxn>
                <a:cxn ang="0">
                  <a:pos x="41" y="174"/>
                </a:cxn>
                <a:cxn ang="0">
                  <a:pos x="22" y="170"/>
                </a:cxn>
                <a:cxn ang="0">
                  <a:pos x="12" y="186"/>
                </a:cxn>
                <a:cxn ang="0">
                  <a:pos x="0" y="150"/>
                </a:cxn>
                <a:cxn ang="0">
                  <a:pos x="23" y="128"/>
                </a:cxn>
                <a:cxn ang="0">
                  <a:pos x="7" y="84"/>
                </a:cxn>
                <a:cxn ang="0">
                  <a:pos x="22" y="90"/>
                </a:cxn>
                <a:cxn ang="0">
                  <a:pos x="24" y="80"/>
                </a:cxn>
                <a:cxn ang="0">
                  <a:pos x="29" y="64"/>
                </a:cxn>
                <a:cxn ang="0">
                  <a:pos x="38" y="56"/>
                </a:cxn>
                <a:cxn ang="0">
                  <a:pos x="41" y="36"/>
                </a:cxn>
                <a:cxn ang="0">
                  <a:pos x="59" y="17"/>
                </a:cxn>
                <a:cxn ang="0">
                  <a:pos x="71" y="0"/>
                </a:cxn>
                <a:cxn ang="0">
                  <a:pos x="86" y="0"/>
                </a:cxn>
              </a:cxnLst>
              <a:rect l="0" t="0" r="r" b="b"/>
              <a:pathLst>
                <a:path w="265" h="207">
                  <a:moveTo>
                    <a:pt x="86" y="0"/>
                  </a:moveTo>
                  <a:lnTo>
                    <a:pt x="108" y="5"/>
                  </a:lnTo>
                  <a:lnTo>
                    <a:pt x="130" y="20"/>
                  </a:lnTo>
                  <a:lnTo>
                    <a:pt x="166" y="20"/>
                  </a:lnTo>
                  <a:lnTo>
                    <a:pt x="203" y="25"/>
                  </a:lnTo>
                  <a:lnTo>
                    <a:pt x="221" y="50"/>
                  </a:lnTo>
                  <a:lnTo>
                    <a:pt x="236" y="84"/>
                  </a:lnTo>
                  <a:lnTo>
                    <a:pt x="242" y="97"/>
                  </a:lnTo>
                  <a:lnTo>
                    <a:pt x="255" y="108"/>
                  </a:lnTo>
                  <a:lnTo>
                    <a:pt x="265" y="117"/>
                  </a:lnTo>
                  <a:lnTo>
                    <a:pt x="265" y="130"/>
                  </a:lnTo>
                  <a:lnTo>
                    <a:pt x="248" y="130"/>
                  </a:lnTo>
                  <a:lnTo>
                    <a:pt x="225" y="130"/>
                  </a:lnTo>
                  <a:lnTo>
                    <a:pt x="236" y="144"/>
                  </a:lnTo>
                  <a:lnTo>
                    <a:pt x="244" y="152"/>
                  </a:lnTo>
                  <a:lnTo>
                    <a:pt x="248" y="170"/>
                  </a:lnTo>
                  <a:lnTo>
                    <a:pt x="236" y="178"/>
                  </a:lnTo>
                  <a:lnTo>
                    <a:pt x="215" y="178"/>
                  </a:lnTo>
                  <a:lnTo>
                    <a:pt x="213" y="178"/>
                  </a:lnTo>
                  <a:lnTo>
                    <a:pt x="203" y="186"/>
                  </a:lnTo>
                  <a:lnTo>
                    <a:pt x="203" y="203"/>
                  </a:lnTo>
                  <a:lnTo>
                    <a:pt x="189" y="207"/>
                  </a:lnTo>
                  <a:lnTo>
                    <a:pt x="176" y="199"/>
                  </a:lnTo>
                  <a:lnTo>
                    <a:pt x="155" y="194"/>
                  </a:lnTo>
                  <a:lnTo>
                    <a:pt x="136" y="186"/>
                  </a:lnTo>
                  <a:lnTo>
                    <a:pt x="118" y="190"/>
                  </a:lnTo>
                  <a:lnTo>
                    <a:pt x="63" y="170"/>
                  </a:lnTo>
                  <a:lnTo>
                    <a:pt x="41" y="174"/>
                  </a:lnTo>
                  <a:lnTo>
                    <a:pt x="22" y="170"/>
                  </a:lnTo>
                  <a:lnTo>
                    <a:pt x="12" y="186"/>
                  </a:lnTo>
                  <a:lnTo>
                    <a:pt x="0" y="150"/>
                  </a:lnTo>
                  <a:lnTo>
                    <a:pt x="23" y="128"/>
                  </a:lnTo>
                  <a:lnTo>
                    <a:pt x="7" y="84"/>
                  </a:lnTo>
                  <a:lnTo>
                    <a:pt x="22" y="90"/>
                  </a:lnTo>
                  <a:lnTo>
                    <a:pt x="24" y="80"/>
                  </a:lnTo>
                  <a:lnTo>
                    <a:pt x="29" y="64"/>
                  </a:lnTo>
                  <a:lnTo>
                    <a:pt x="38" y="56"/>
                  </a:lnTo>
                  <a:lnTo>
                    <a:pt x="41" y="36"/>
                  </a:lnTo>
                  <a:lnTo>
                    <a:pt x="59" y="17"/>
                  </a:lnTo>
                  <a:lnTo>
                    <a:pt x="71" y="0"/>
                  </a:lnTo>
                  <a:lnTo>
                    <a:pt x="86"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35" name="30640285.37541619.12533.1255">
              <a:extLst>
                <a:ext uri="{FF2B5EF4-FFF2-40B4-BE49-F238E27FC236}">
                  <a16:creationId xmlns:a16="http://schemas.microsoft.com/office/drawing/2014/main" id="{13CD13BB-4575-4FCA-B5B9-2E80D0AC1200}"/>
                </a:ext>
              </a:extLst>
            </p:cNvPr>
            <p:cNvSpPr>
              <a:spLocks noChangeAspect="1"/>
            </p:cNvSpPr>
            <p:nvPr/>
          </p:nvSpPr>
          <p:spPr bwMode="gray">
            <a:xfrm>
              <a:off x="6341204" y="2919809"/>
              <a:ext cx="532560" cy="309486"/>
            </a:xfrm>
            <a:custGeom>
              <a:avLst/>
              <a:gdLst/>
              <a:ahLst/>
              <a:cxnLst>
                <a:cxn ang="0">
                  <a:pos x="301" y="13"/>
                </a:cxn>
                <a:cxn ang="0">
                  <a:pos x="330" y="0"/>
                </a:cxn>
                <a:cxn ang="0">
                  <a:pos x="366" y="22"/>
                </a:cxn>
                <a:cxn ang="0">
                  <a:pos x="380" y="49"/>
                </a:cxn>
                <a:cxn ang="0">
                  <a:pos x="422" y="73"/>
                </a:cxn>
                <a:cxn ang="0">
                  <a:pos x="477" y="110"/>
                </a:cxn>
                <a:cxn ang="0">
                  <a:pos x="516" y="110"/>
                </a:cxn>
                <a:cxn ang="0">
                  <a:pos x="571" y="125"/>
                </a:cxn>
                <a:cxn ang="0">
                  <a:pos x="557" y="184"/>
                </a:cxn>
                <a:cxn ang="0">
                  <a:pos x="507" y="235"/>
                </a:cxn>
                <a:cxn ang="0">
                  <a:pos x="432" y="276"/>
                </a:cxn>
                <a:cxn ang="0">
                  <a:pos x="435" y="298"/>
                </a:cxn>
                <a:cxn ang="0">
                  <a:pos x="397" y="338"/>
                </a:cxn>
                <a:cxn ang="0">
                  <a:pos x="389" y="271"/>
                </a:cxn>
                <a:cxn ang="0">
                  <a:pos x="327" y="264"/>
                </a:cxn>
                <a:cxn ang="0">
                  <a:pos x="326" y="242"/>
                </a:cxn>
                <a:cxn ang="0">
                  <a:pos x="250" y="300"/>
                </a:cxn>
                <a:cxn ang="0">
                  <a:pos x="224" y="267"/>
                </a:cxn>
                <a:cxn ang="0">
                  <a:pos x="246" y="246"/>
                </a:cxn>
                <a:cxn ang="0">
                  <a:pos x="260" y="228"/>
                </a:cxn>
                <a:cxn ang="0">
                  <a:pos x="231" y="192"/>
                </a:cxn>
                <a:cxn ang="0">
                  <a:pos x="179" y="173"/>
                </a:cxn>
                <a:cxn ang="0">
                  <a:pos x="90" y="184"/>
                </a:cxn>
                <a:cxn ang="0">
                  <a:pos x="22" y="189"/>
                </a:cxn>
                <a:cxn ang="0">
                  <a:pos x="14" y="140"/>
                </a:cxn>
                <a:cxn ang="0">
                  <a:pos x="63" y="75"/>
                </a:cxn>
                <a:cxn ang="0">
                  <a:pos x="52" y="30"/>
                </a:cxn>
                <a:cxn ang="0">
                  <a:pos x="80" y="26"/>
                </a:cxn>
                <a:cxn ang="0">
                  <a:pos x="128" y="31"/>
                </a:cxn>
                <a:cxn ang="0">
                  <a:pos x="175" y="37"/>
                </a:cxn>
                <a:cxn ang="0">
                  <a:pos x="215" y="51"/>
                </a:cxn>
                <a:cxn ang="0">
                  <a:pos x="242" y="55"/>
                </a:cxn>
                <a:cxn ang="0">
                  <a:pos x="252" y="30"/>
                </a:cxn>
                <a:cxn ang="0">
                  <a:pos x="283" y="26"/>
                </a:cxn>
              </a:cxnLst>
              <a:rect l="0" t="0" r="r" b="b"/>
              <a:pathLst>
                <a:path w="587" h="338">
                  <a:moveTo>
                    <a:pt x="292" y="16"/>
                  </a:moveTo>
                  <a:lnTo>
                    <a:pt x="301" y="13"/>
                  </a:lnTo>
                  <a:lnTo>
                    <a:pt x="318" y="4"/>
                  </a:lnTo>
                  <a:lnTo>
                    <a:pt x="330" y="0"/>
                  </a:lnTo>
                  <a:lnTo>
                    <a:pt x="356" y="4"/>
                  </a:lnTo>
                  <a:lnTo>
                    <a:pt x="366" y="22"/>
                  </a:lnTo>
                  <a:lnTo>
                    <a:pt x="371" y="42"/>
                  </a:lnTo>
                  <a:lnTo>
                    <a:pt x="380" y="49"/>
                  </a:lnTo>
                  <a:lnTo>
                    <a:pt x="393" y="45"/>
                  </a:lnTo>
                  <a:lnTo>
                    <a:pt x="422" y="73"/>
                  </a:lnTo>
                  <a:lnTo>
                    <a:pt x="437" y="95"/>
                  </a:lnTo>
                  <a:lnTo>
                    <a:pt x="477" y="110"/>
                  </a:lnTo>
                  <a:lnTo>
                    <a:pt x="503" y="114"/>
                  </a:lnTo>
                  <a:lnTo>
                    <a:pt x="516" y="110"/>
                  </a:lnTo>
                  <a:lnTo>
                    <a:pt x="540" y="121"/>
                  </a:lnTo>
                  <a:lnTo>
                    <a:pt x="571" y="125"/>
                  </a:lnTo>
                  <a:lnTo>
                    <a:pt x="587" y="177"/>
                  </a:lnTo>
                  <a:lnTo>
                    <a:pt x="557" y="184"/>
                  </a:lnTo>
                  <a:lnTo>
                    <a:pt x="551" y="209"/>
                  </a:lnTo>
                  <a:lnTo>
                    <a:pt x="507" y="235"/>
                  </a:lnTo>
                  <a:lnTo>
                    <a:pt x="439" y="253"/>
                  </a:lnTo>
                  <a:lnTo>
                    <a:pt x="432" y="276"/>
                  </a:lnTo>
                  <a:lnTo>
                    <a:pt x="403" y="267"/>
                  </a:lnTo>
                  <a:lnTo>
                    <a:pt x="435" y="298"/>
                  </a:lnTo>
                  <a:lnTo>
                    <a:pt x="473" y="302"/>
                  </a:lnTo>
                  <a:lnTo>
                    <a:pt x="397" y="338"/>
                  </a:lnTo>
                  <a:lnTo>
                    <a:pt x="352" y="300"/>
                  </a:lnTo>
                  <a:lnTo>
                    <a:pt x="389" y="271"/>
                  </a:lnTo>
                  <a:lnTo>
                    <a:pt x="352" y="264"/>
                  </a:lnTo>
                  <a:lnTo>
                    <a:pt x="327" y="264"/>
                  </a:lnTo>
                  <a:lnTo>
                    <a:pt x="333" y="239"/>
                  </a:lnTo>
                  <a:lnTo>
                    <a:pt x="326" y="242"/>
                  </a:lnTo>
                  <a:lnTo>
                    <a:pt x="271" y="256"/>
                  </a:lnTo>
                  <a:lnTo>
                    <a:pt x="250" y="300"/>
                  </a:lnTo>
                  <a:lnTo>
                    <a:pt x="215" y="297"/>
                  </a:lnTo>
                  <a:lnTo>
                    <a:pt x="224" y="267"/>
                  </a:lnTo>
                  <a:lnTo>
                    <a:pt x="226" y="253"/>
                  </a:lnTo>
                  <a:lnTo>
                    <a:pt x="246" y="246"/>
                  </a:lnTo>
                  <a:lnTo>
                    <a:pt x="257" y="236"/>
                  </a:lnTo>
                  <a:lnTo>
                    <a:pt x="260" y="228"/>
                  </a:lnTo>
                  <a:lnTo>
                    <a:pt x="246" y="224"/>
                  </a:lnTo>
                  <a:lnTo>
                    <a:pt x="231" y="192"/>
                  </a:lnTo>
                  <a:lnTo>
                    <a:pt x="208" y="173"/>
                  </a:lnTo>
                  <a:lnTo>
                    <a:pt x="179" y="173"/>
                  </a:lnTo>
                  <a:lnTo>
                    <a:pt x="142" y="181"/>
                  </a:lnTo>
                  <a:lnTo>
                    <a:pt x="90" y="184"/>
                  </a:lnTo>
                  <a:lnTo>
                    <a:pt x="62" y="189"/>
                  </a:lnTo>
                  <a:lnTo>
                    <a:pt x="22" y="189"/>
                  </a:lnTo>
                  <a:lnTo>
                    <a:pt x="0" y="170"/>
                  </a:lnTo>
                  <a:lnTo>
                    <a:pt x="14" y="140"/>
                  </a:lnTo>
                  <a:lnTo>
                    <a:pt x="37" y="108"/>
                  </a:lnTo>
                  <a:lnTo>
                    <a:pt x="63" y="75"/>
                  </a:lnTo>
                  <a:lnTo>
                    <a:pt x="51" y="37"/>
                  </a:lnTo>
                  <a:lnTo>
                    <a:pt x="52" y="30"/>
                  </a:lnTo>
                  <a:lnTo>
                    <a:pt x="61" y="22"/>
                  </a:lnTo>
                  <a:lnTo>
                    <a:pt x="80" y="26"/>
                  </a:lnTo>
                  <a:lnTo>
                    <a:pt x="102" y="22"/>
                  </a:lnTo>
                  <a:lnTo>
                    <a:pt x="128" y="31"/>
                  </a:lnTo>
                  <a:lnTo>
                    <a:pt x="156" y="42"/>
                  </a:lnTo>
                  <a:lnTo>
                    <a:pt x="175" y="37"/>
                  </a:lnTo>
                  <a:lnTo>
                    <a:pt x="194" y="46"/>
                  </a:lnTo>
                  <a:lnTo>
                    <a:pt x="215" y="51"/>
                  </a:lnTo>
                  <a:lnTo>
                    <a:pt x="228" y="59"/>
                  </a:lnTo>
                  <a:lnTo>
                    <a:pt x="242" y="55"/>
                  </a:lnTo>
                  <a:lnTo>
                    <a:pt x="243" y="38"/>
                  </a:lnTo>
                  <a:lnTo>
                    <a:pt x="252" y="30"/>
                  </a:lnTo>
                  <a:lnTo>
                    <a:pt x="275" y="30"/>
                  </a:lnTo>
                  <a:lnTo>
                    <a:pt x="283" y="26"/>
                  </a:lnTo>
                  <a:lnTo>
                    <a:pt x="292" y="16"/>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36" name="30641295.125424.576.255">
              <a:extLst>
                <a:ext uri="{FF2B5EF4-FFF2-40B4-BE49-F238E27FC236}">
                  <a16:creationId xmlns:a16="http://schemas.microsoft.com/office/drawing/2014/main" id="{55EC15B3-090C-4B25-8E1B-992C3E49B958}"/>
                </a:ext>
              </a:extLst>
            </p:cNvPr>
            <p:cNvSpPr>
              <a:spLocks noChangeAspect="1"/>
            </p:cNvSpPr>
            <p:nvPr/>
          </p:nvSpPr>
          <p:spPr bwMode="gray">
            <a:xfrm>
              <a:off x="6478151" y="3077919"/>
              <a:ext cx="100805" cy="116057"/>
            </a:xfrm>
            <a:custGeom>
              <a:avLst/>
              <a:gdLst/>
              <a:ahLst/>
              <a:cxnLst>
                <a:cxn ang="0">
                  <a:pos x="25" y="33"/>
                </a:cxn>
                <a:cxn ang="0">
                  <a:pos x="39" y="51"/>
                </a:cxn>
                <a:cxn ang="0">
                  <a:pos x="46" y="65"/>
                </a:cxn>
                <a:cxn ang="0">
                  <a:pos x="53" y="121"/>
                </a:cxn>
                <a:cxn ang="0">
                  <a:pos x="64" y="122"/>
                </a:cxn>
                <a:cxn ang="0">
                  <a:pos x="73" y="94"/>
                </a:cxn>
                <a:cxn ang="0">
                  <a:pos x="75" y="78"/>
                </a:cxn>
                <a:cxn ang="0">
                  <a:pos x="103" y="69"/>
                </a:cxn>
                <a:cxn ang="0">
                  <a:pos x="110" y="56"/>
                </a:cxn>
                <a:cxn ang="0">
                  <a:pos x="97" y="52"/>
                </a:cxn>
                <a:cxn ang="0">
                  <a:pos x="81" y="21"/>
                </a:cxn>
                <a:cxn ang="0">
                  <a:pos x="58" y="1"/>
                </a:cxn>
                <a:cxn ang="0">
                  <a:pos x="28" y="0"/>
                </a:cxn>
                <a:cxn ang="0">
                  <a:pos x="0" y="4"/>
                </a:cxn>
                <a:cxn ang="0">
                  <a:pos x="25" y="33"/>
                </a:cxn>
              </a:cxnLst>
              <a:rect l="0" t="0" r="r" b="b"/>
              <a:pathLst>
                <a:path w="110" h="122">
                  <a:moveTo>
                    <a:pt x="25" y="33"/>
                  </a:moveTo>
                  <a:lnTo>
                    <a:pt x="39" y="51"/>
                  </a:lnTo>
                  <a:lnTo>
                    <a:pt x="46" y="65"/>
                  </a:lnTo>
                  <a:lnTo>
                    <a:pt x="53" y="121"/>
                  </a:lnTo>
                  <a:lnTo>
                    <a:pt x="64" y="122"/>
                  </a:lnTo>
                  <a:lnTo>
                    <a:pt x="73" y="94"/>
                  </a:lnTo>
                  <a:lnTo>
                    <a:pt x="75" y="78"/>
                  </a:lnTo>
                  <a:lnTo>
                    <a:pt x="103" y="69"/>
                  </a:lnTo>
                  <a:lnTo>
                    <a:pt x="110" y="56"/>
                  </a:lnTo>
                  <a:lnTo>
                    <a:pt x="97" y="52"/>
                  </a:lnTo>
                  <a:lnTo>
                    <a:pt x="81" y="21"/>
                  </a:lnTo>
                  <a:lnTo>
                    <a:pt x="58" y="1"/>
                  </a:lnTo>
                  <a:lnTo>
                    <a:pt x="28" y="0"/>
                  </a:lnTo>
                  <a:lnTo>
                    <a:pt x="0" y="4"/>
                  </a:lnTo>
                  <a:lnTo>
                    <a:pt x="25" y="33"/>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37" name="30642304.625447.1256.25145">
              <a:extLst>
                <a:ext uri="{FF2B5EF4-FFF2-40B4-BE49-F238E27FC236}">
                  <a16:creationId xmlns:a16="http://schemas.microsoft.com/office/drawing/2014/main" id="{231E7686-D615-41DA-91CC-71BCB4B3288E}"/>
                </a:ext>
              </a:extLst>
            </p:cNvPr>
            <p:cNvSpPr>
              <a:spLocks noChangeAspect="1"/>
            </p:cNvSpPr>
            <p:nvPr/>
          </p:nvSpPr>
          <p:spPr bwMode="gray">
            <a:xfrm>
              <a:off x="6841431" y="3232660"/>
              <a:ext cx="226341" cy="100920"/>
            </a:xfrm>
            <a:custGeom>
              <a:avLst/>
              <a:gdLst/>
              <a:ahLst/>
              <a:cxnLst>
                <a:cxn ang="0">
                  <a:pos x="0" y="6"/>
                </a:cxn>
                <a:cxn ang="0">
                  <a:pos x="59" y="0"/>
                </a:cxn>
                <a:cxn ang="0">
                  <a:pos x="115" y="22"/>
                </a:cxn>
                <a:cxn ang="0">
                  <a:pos x="139" y="47"/>
                </a:cxn>
                <a:cxn ang="0">
                  <a:pos x="167" y="47"/>
                </a:cxn>
                <a:cxn ang="0">
                  <a:pos x="188" y="36"/>
                </a:cxn>
                <a:cxn ang="0">
                  <a:pos x="203" y="32"/>
                </a:cxn>
                <a:cxn ang="0">
                  <a:pos x="218" y="58"/>
                </a:cxn>
                <a:cxn ang="0">
                  <a:pos x="244" y="64"/>
                </a:cxn>
                <a:cxn ang="0">
                  <a:pos x="239" y="75"/>
                </a:cxn>
                <a:cxn ang="0">
                  <a:pos x="247" y="94"/>
                </a:cxn>
                <a:cxn ang="0">
                  <a:pos x="244" y="109"/>
                </a:cxn>
                <a:cxn ang="0">
                  <a:pos x="218" y="86"/>
                </a:cxn>
                <a:cxn ang="0">
                  <a:pos x="203" y="79"/>
                </a:cxn>
                <a:cxn ang="0">
                  <a:pos x="189" y="79"/>
                </a:cxn>
                <a:cxn ang="0">
                  <a:pos x="182" y="104"/>
                </a:cxn>
                <a:cxn ang="0">
                  <a:pos x="163" y="97"/>
                </a:cxn>
                <a:cxn ang="0">
                  <a:pos x="132" y="110"/>
                </a:cxn>
                <a:cxn ang="0">
                  <a:pos x="95" y="108"/>
                </a:cxn>
                <a:cxn ang="0">
                  <a:pos x="93" y="64"/>
                </a:cxn>
                <a:cxn ang="0">
                  <a:pos x="33" y="27"/>
                </a:cxn>
                <a:cxn ang="0">
                  <a:pos x="0" y="6"/>
                </a:cxn>
              </a:cxnLst>
              <a:rect l="0" t="0" r="r" b="b"/>
              <a:pathLst>
                <a:path w="247" h="110">
                  <a:moveTo>
                    <a:pt x="0" y="6"/>
                  </a:moveTo>
                  <a:lnTo>
                    <a:pt x="59" y="0"/>
                  </a:lnTo>
                  <a:lnTo>
                    <a:pt x="115" y="22"/>
                  </a:lnTo>
                  <a:lnTo>
                    <a:pt x="139" y="47"/>
                  </a:lnTo>
                  <a:lnTo>
                    <a:pt x="167" y="47"/>
                  </a:lnTo>
                  <a:lnTo>
                    <a:pt x="188" y="36"/>
                  </a:lnTo>
                  <a:lnTo>
                    <a:pt x="203" y="32"/>
                  </a:lnTo>
                  <a:lnTo>
                    <a:pt x="218" y="58"/>
                  </a:lnTo>
                  <a:lnTo>
                    <a:pt x="244" y="64"/>
                  </a:lnTo>
                  <a:lnTo>
                    <a:pt x="239" y="75"/>
                  </a:lnTo>
                  <a:lnTo>
                    <a:pt x="247" y="94"/>
                  </a:lnTo>
                  <a:lnTo>
                    <a:pt x="244" y="109"/>
                  </a:lnTo>
                  <a:lnTo>
                    <a:pt x="218" y="86"/>
                  </a:lnTo>
                  <a:lnTo>
                    <a:pt x="203" y="79"/>
                  </a:lnTo>
                  <a:lnTo>
                    <a:pt x="189" y="79"/>
                  </a:lnTo>
                  <a:lnTo>
                    <a:pt x="182" y="104"/>
                  </a:lnTo>
                  <a:lnTo>
                    <a:pt x="163" y="97"/>
                  </a:lnTo>
                  <a:lnTo>
                    <a:pt x="132" y="110"/>
                  </a:lnTo>
                  <a:lnTo>
                    <a:pt x="95" y="108"/>
                  </a:lnTo>
                  <a:lnTo>
                    <a:pt x="93" y="64"/>
                  </a:lnTo>
                  <a:lnTo>
                    <a:pt x="33" y="27"/>
                  </a:lnTo>
                  <a:lnTo>
                    <a:pt x="0" y="6"/>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38" name="30643308.125457.59.511.6255">
              <a:extLst>
                <a:ext uri="{FF2B5EF4-FFF2-40B4-BE49-F238E27FC236}">
                  <a16:creationId xmlns:a16="http://schemas.microsoft.com/office/drawing/2014/main" id="{93C4922D-38F2-4171-AAD4-327C34B88A99}"/>
                </a:ext>
              </a:extLst>
            </p:cNvPr>
            <p:cNvSpPr>
              <a:spLocks noChangeAspect="1"/>
            </p:cNvSpPr>
            <p:nvPr/>
          </p:nvSpPr>
          <p:spPr bwMode="gray">
            <a:xfrm>
              <a:off x="7006907" y="3288166"/>
              <a:ext cx="186397" cy="154745"/>
            </a:xfrm>
            <a:custGeom>
              <a:avLst/>
              <a:gdLst/>
              <a:ahLst/>
              <a:cxnLst>
                <a:cxn ang="0">
                  <a:pos x="77" y="7"/>
                </a:cxn>
                <a:cxn ang="0">
                  <a:pos x="88" y="7"/>
                </a:cxn>
                <a:cxn ang="0">
                  <a:pos x="119" y="15"/>
                </a:cxn>
                <a:cxn ang="0">
                  <a:pos x="149" y="37"/>
                </a:cxn>
                <a:cxn ang="0">
                  <a:pos x="167" y="63"/>
                </a:cxn>
                <a:cxn ang="0">
                  <a:pos x="205" y="95"/>
                </a:cxn>
                <a:cxn ang="0">
                  <a:pos x="185" y="101"/>
                </a:cxn>
                <a:cxn ang="0">
                  <a:pos x="171" y="121"/>
                </a:cxn>
                <a:cxn ang="0">
                  <a:pos x="168" y="130"/>
                </a:cxn>
                <a:cxn ang="0">
                  <a:pos x="160" y="166"/>
                </a:cxn>
                <a:cxn ang="0">
                  <a:pos x="132" y="156"/>
                </a:cxn>
                <a:cxn ang="0">
                  <a:pos x="126" y="125"/>
                </a:cxn>
                <a:cxn ang="0">
                  <a:pos x="98" y="137"/>
                </a:cxn>
                <a:cxn ang="0">
                  <a:pos x="69" y="155"/>
                </a:cxn>
                <a:cxn ang="0">
                  <a:pos x="53" y="151"/>
                </a:cxn>
                <a:cxn ang="0">
                  <a:pos x="38" y="136"/>
                </a:cxn>
                <a:cxn ang="0">
                  <a:pos x="28" y="121"/>
                </a:cxn>
                <a:cxn ang="0">
                  <a:pos x="40" y="106"/>
                </a:cxn>
                <a:cxn ang="0">
                  <a:pos x="49" y="118"/>
                </a:cxn>
                <a:cxn ang="0">
                  <a:pos x="84" y="134"/>
                </a:cxn>
                <a:cxn ang="0">
                  <a:pos x="91" y="119"/>
                </a:cxn>
                <a:cxn ang="0">
                  <a:pos x="58" y="93"/>
                </a:cxn>
                <a:cxn ang="0">
                  <a:pos x="47" y="71"/>
                </a:cxn>
                <a:cxn ang="0">
                  <a:pos x="36" y="63"/>
                </a:cxn>
                <a:cxn ang="0">
                  <a:pos x="36" y="51"/>
                </a:cxn>
                <a:cxn ang="0">
                  <a:pos x="21" y="45"/>
                </a:cxn>
                <a:cxn ang="0">
                  <a:pos x="0" y="41"/>
                </a:cxn>
                <a:cxn ang="0">
                  <a:pos x="6" y="24"/>
                </a:cxn>
                <a:cxn ang="0">
                  <a:pos x="9" y="15"/>
                </a:cxn>
                <a:cxn ang="0">
                  <a:pos x="25" y="15"/>
                </a:cxn>
                <a:cxn ang="0">
                  <a:pos x="36" y="22"/>
                </a:cxn>
                <a:cxn ang="0">
                  <a:pos x="62" y="45"/>
                </a:cxn>
                <a:cxn ang="0">
                  <a:pos x="65" y="30"/>
                </a:cxn>
                <a:cxn ang="0">
                  <a:pos x="57" y="12"/>
                </a:cxn>
                <a:cxn ang="0">
                  <a:pos x="62" y="0"/>
                </a:cxn>
                <a:cxn ang="0">
                  <a:pos x="77" y="7"/>
                </a:cxn>
              </a:cxnLst>
              <a:rect l="0" t="0" r="r" b="b"/>
              <a:pathLst>
                <a:path w="205" h="166">
                  <a:moveTo>
                    <a:pt x="77" y="7"/>
                  </a:moveTo>
                  <a:lnTo>
                    <a:pt x="88" y="7"/>
                  </a:lnTo>
                  <a:lnTo>
                    <a:pt x="119" y="15"/>
                  </a:lnTo>
                  <a:lnTo>
                    <a:pt x="149" y="37"/>
                  </a:lnTo>
                  <a:lnTo>
                    <a:pt x="167" y="63"/>
                  </a:lnTo>
                  <a:lnTo>
                    <a:pt x="205" y="95"/>
                  </a:lnTo>
                  <a:lnTo>
                    <a:pt x="185" y="101"/>
                  </a:lnTo>
                  <a:lnTo>
                    <a:pt x="171" y="121"/>
                  </a:lnTo>
                  <a:lnTo>
                    <a:pt x="168" y="130"/>
                  </a:lnTo>
                  <a:lnTo>
                    <a:pt x="160" y="166"/>
                  </a:lnTo>
                  <a:lnTo>
                    <a:pt x="132" y="156"/>
                  </a:lnTo>
                  <a:lnTo>
                    <a:pt x="126" y="125"/>
                  </a:lnTo>
                  <a:lnTo>
                    <a:pt x="98" y="137"/>
                  </a:lnTo>
                  <a:lnTo>
                    <a:pt x="69" y="155"/>
                  </a:lnTo>
                  <a:lnTo>
                    <a:pt x="53" y="151"/>
                  </a:lnTo>
                  <a:lnTo>
                    <a:pt x="38" y="136"/>
                  </a:lnTo>
                  <a:lnTo>
                    <a:pt x="28" y="121"/>
                  </a:lnTo>
                  <a:lnTo>
                    <a:pt x="40" y="106"/>
                  </a:lnTo>
                  <a:lnTo>
                    <a:pt x="49" y="118"/>
                  </a:lnTo>
                  <a:lnTo>
                    <a:pt x="84" y="134"/>
                  </a:lnTo>
                  <a:lnTo>
                    <a:pt x="91" y="119"/>
                  </a:lnTo>
                  <a:lnTo>
                    <a:pt x="58" y="93"/>
                  </a:lnTo>
                  <a:lnTo>
                    <a:pt x="47" y="71"/>
                  </a:lnTo>
                  <a:lnTo>
                    <a:pt x="36" y="63"/>
                  </a:lnTo>
                  <a:lnTo>
                    <a:pt x="36" y="51"/>
                  </a:lnTo>
                  <a:lnTo>
                    <a:pt x="21" y="45"/>
                  </a:lnTo>
                  <a:lnTo>
                    <a:pt x="0" y="41"/>
                  </a:lnTo>
                  <a:lnTo>
                    <a:pt x="6" y="24"/>
                  </a:lnTo>
                  <a:lnTo>
                    <a:pt x="9" y="15"/>
                  </a:lnTo>
                  <a:lnTo>
                    <a:pt x="25" y="15"/>
                  </a:lnTo>
                  <a:lnTo>
                    <a:pt x="36" y="22"/>
                  </a:lnTo>
                  <a:lnTo>
                    <a:pt x="62" y="45"/>
                  </a:lnTo>
                  <a:lnTo>
                    <a:pt x="65" y="30"/>
                  </a:lnTo>
                  <a:lnTo>
                    <a:pt x="57" y="12"/>
                  </a:lnTo>
                  <a:lnTo>
                    <a:pt x="62" y="0"/>
                  </a:lnTo>
                  <a:lnTo>
                    <a:pt x="77" y="7"/>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39" name="306443104555.757.6255">
              <a:extLst>
                <a:ext uri="{FF2B5EF4-FFF2-40B4-BE49-F238E27FC236}">
                  <a16:creationId xmlns:a16="http://schemas.microsoft.com/office/drawing/2014/main" id="{892C2775-973B-484C-933C-B0787EE0F71E}"/>
                </a:ext>
              </a:extLst>
            </p:cNvPr>
            <p:cNvSpPr>
              <a:spLocks noChangeAspect="1"/>
            </p:cNvSpPr>
            <p:nvPr/>
          </p:nvSpPr>
          <p:spPr bwMode="gray">
            <a:xfrm>
              <a:off x="6968868" y="3318443"/>
              <a:ext cx="119826" cy="94190"/>
            </a:xfrm>
            <a:custGeom>
              <a:avLst/>
              <a:gdLst/>
              <a:ahLst/>
              <a:cxnLst>
                <a:cxn ang="0">
                  <a:pos x="0" y="15"/>
                </a:cxn>
                <a:cxn ang="0">
                  <a:pos x="16" y="31"/>
                </a:cxn>
                <a:cxn ang="0">
                  <a:pos x="35" y="56"/>
                </a:cxn>
                <a:cxn ang="0">
                  <a:pos x="67" y="89"/>
                </a:cxn>
                <a:cxn ang="0">
                  <a:pos x="87" y="70"/>
                </a:cxn>
                <a:cxn ang="0">
                  <a:pos x="89" y="86"/>
                </a:cxn>
                <a:cxn ang="0">
                  <a:pos x="104" y="89"/>
                </a:cxn>
                <a:cxn ang="0">
                  <a:pos x="126" y="101"/>
                </a:cxn>
                <a:cxn ang="0">
                  <a:pos x="134" y="86"/>
                </a:cxn>
                <a:cxn ang="0">
                  <a:pos x="101" y="60"/>
                </a:cxn>
                <a:cxn ang="0">
                  <a:pos x="93" y="40"/>
                </a:cxn>
                <a:cxn ang="0">
                  <a:pos x="79" y="30"/>
                </a:cxn>
                <a:cxn ang="0">
                  <a:pos x="79" y="18"/>
                </a:cxn>
                <a:cxn ang="0">
                  <a:pos x="64" y="12"/>
                </a:cxn>
                <a:cxn ang="0">
                  <a:pos x="42" y="7"/>
                </a:cxn>
                <a:cxn ang="0">
                  <a:pos x="23" y="0"/>
                </a:cxn>
                <a:cxn ang="0">
                  <a:pos x="6" y="2"/>
                </a:cxn>
                <a:cxn ang="0">
                  <a:pos x="0" y="15"/>
                </a:cxn>
              </a:cxnLst>
              <a:rect l="0" t="0" r="r" b="b"/>
              <a:pathLst>
                <a:path w="134" h="101">
                  <a:moveTo>
                    <a:pt x="0" y="15"/>
                  </a:moveTo>
                  <a:lnTo>
                    <a:pt x="16" y="31"/>
                  </a:lnTo>
                  <a:lnTo>
                    <a:pt x="35" y="56"/>
                  </a:lnTo>
                  <a:lnTo>
                    <a:pt x="67" y="89"/>
                  </a:lnTo>
                  <a:lnTo>
                    <a:pt x="87" y="70"/>
                  </a:lnTo>
                  <a:lnTo>
                    <a:pt x="89" y="86"/>
                  </a:lnTo>
                  <a:lnTo>
                    <a:pt x="104" y="89"/>
                  </a:lnTo>
                  <a:lnTo>
                    <a:pt x="126" y="101"/>
                  </a:lnTo>
                  <a:lnTo>
                    <a:pt x="134" y="86"/>
                  </a:lnTo>
                  <a:lnTo>
                    <a:pt x="101" y="60"/>
                  </a:lnTo>
                  <a:lnTo>
                    <a:pt x="93" y="40"/>
                  </a:lnTo>
                  <a:lnTo>
                    <a:pt x="79" y="30"/>
                  </a:lnTo>
                  <a:lnTo>
                    <a:pt x="79" y="18"/>
                  </a:lnTo>
                  <a:lnTo>
                    <a:pt x="64" y="12"/>
                  </a:lnTo>
                  <a:lnTo>
                    <a:pt x="42" y="7"/>
                  </a:lnTo>
                  <a:lnTo>
                    <a:pt x="23" y="0"/>
                  </a:lnTo>
                  <a:lnTo>
                    <a:pt x="6" y="2"/>
                  </a:lnTo>
                  <a:lnTo>
                    <a:pt x="0" y="1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40" name="30645277.75459.37533.87578.8755">
              <a:extLst>
                <a:ext uri="{FF2B5EF4-FFF2-40B4-BE49-F238E27FC236}">
                  <a16:creationId xmlns:a16="http://schemas.microsoft.com/office/drawing/2014/main" id="{76A1207C-CE43-4D5F-B9BC-DE68D15CD613}"/>
                </a:ext>
              </a:extLst>
            </p:cNvPr>
            <p:cNvSpPr>
              <a:spLocks noChangeAspect="1"/>
            </p:cNvSpPr>
            <p:nvPr/>
          </p:nvSpPr>
          <p:spPr bwMode="gray">
            <a:xfrm>
              <a:off x="7039240" y="2798707"/>
              <a:ext cx="1262933" cy="546648"/>
            </a:xfrm>
            <a:custGeom>
              <a:avLst/>
              <a:gdLst/>
              <a:ahLst/>
              <a:cxnLst>
                <a:cxn ang="0">
                  <a:pos x="1326" y="247"/>
                </a:cxn>
                <a:cxn ang="0">
                  <a:pos x="1187" y="234"/>
                </a:cxn>
                <a:cxn ang="0">
                  <a:pos x="1135" y="186"/>
                </a:cxn>
                <a:cxn ang="0">
                  <a:pos x="1069" y="194"/>
                </a:cxn>
                <a:cxn ang="0">
                  <a:pos x="1006" y="173"/>
                </a:cxn>
                <a:cxn ang="0">
                  <a:pos x="889" y="100"/>
                </a:cxn>
                <a:cxn ang="0">
                  <a:pos x="745" y="73"/>
                </a:cxn>
                <a:cxn ang="0">
                  <a:pos x="644" y="44"/>
                </a:cxn>
                <a:cxn ang="0">
                  <a:pos x="544" y="23"/>
                </a:cxn>
                <a:cxn ang="0">
                  <a:pos x="449" y="51"/>
                </a:cxn>
                <a:cxn ang="0">
                  <a:pos x="342" y="51"/>
                </a:cxn>
                <a:cxn ang="0">
                  <a:pos x="342" y="120"/>
                </a:cxn>
                <a:cxn ang="0">
                  <a:pos x="383" y="153"/>
                </a:cxn>
                <a:cxn ang="0">
                  <a:pos x="383" y="198"/>
                </a:cxn>
                <a:cxn ang="0">
                  <a:pos x="342" y="202"/>
                </a:cxn>
                <a:cxn ang="0">
                  <a:pos x="280" y="177"/>
                </a:cxn>
                <a:cxn ang="0">
                  <a:pos x="239" y="186"/>
                </a:cxn>
                <a:cxn ang="0">
                  <a:pos x="191" y="169"/>
                </a:cxn>
                <a:cxn ang="0">
                  <a:pos x="73" y="166"/>
                </a:cxn>
                <a:cxn ang="0">
                  <a:pos x="47" y="191"/>
                </a:cxn>
                <a:cxn ang="0">
                  <a:pos x="44" y="224"/>
                </a:cxn>
                <a:cxn ang="0">
                  <a:pos x="5" y="208"/>
                </a:cxn>
                <a:cxn ang="0">
                  <a:pos x="0" y="275"/>
                </a:cxn>
                <a:cxn ang="0">
                  <a:pos x="18" y="320"/>
                </a:cxn>
                <a:cxn ang="0">
                  <a:pos x="62" y="318"/>
                </a:cxn>
                <a:cxn ang="0">
                  <a:pos x="104" y="385"/>
                </a:cxn>
                <a:cxn ang="0">
                  <a:pos x="253" y="359"/>
                </a:cxn>
                <a:cxn ang="0">
                  <a:pos x="240" y="430"/>
                </a:cxn>
                <a:cxn ang="0">
                  <a:pos x="166" y="468"/>
                </a:cxn>
                <a:cxn ang="0">
                  <a:pos x="249" y="535"/>
                </a:cxn>
                <a:cxn ang="0">
                  <a:pos x="308" y="545"/>
                </a:cxn>
                <a:cxn ang="0">
                  <a:pos x="353" y="554"/>
                </a:cxn>
                <a:cxn ang="0">
                  <a:pos x="352" y="418"/>
                </a:cxn>
                <a:cxn ang="0">
                  <a:pos x="409" y="377"/>
                </a:cxn>
                <a:cxn ang="0">
                  <a:pos x="430" y="359"/>
                </a:cxn>
                <a:cxn ang="0">
                  <a:pos x="459" y="371"/>
                </a:cxn>
                <a:cxn ang="0">
                  <a:pos x="474" y="382"/>
                </a:cxn>
                <a:cxn ang="0">
                  <a:pos x="511" y="439"/>
                </a:cxn>
                <a:cxn ang="0">
                  <a:pos x="541" y="474"/>
                </a:cxn>
                <a:cxn ang="0">
                  <a:pos x="624" y="474"/>
                </a:cxn>
                <a:cxn ang="0">
                  <a:pos x="655" y="568"/>
                </a:cxn>
                <a:cxn ang="0">
                  <a:pos x="688" y="600"/>
                </a:cxn>
                <a:cxn ang="0">
                  <a:pos x="769" y="584"/>
                </a:cxn>
                <a:cxn ang="0">
                  <a:pos x="866" y="586"/>
                </a:cxn>
                <a:cxn ang="0">
                  <a:pos x="860" y="546"/>
                </a:cxn>
                <a:cxn ang="0">
                  <a:pos x="877" y="525"/>
                </a:cxn>
                <a:cxn ang="0">
                  <a:pos x="936" y="534"/>
                </a:cxn>
                <a:cxn ang="0">
                  <a:pos x="1018" y="514"/>
                </a:cxn>
                <a:cxn ang="0">
                  <a:pos x="1160" y="542"/>
                </a:cxn>
                <a:cxn ang="0">
                  <a:pos x="1160" y="457"/>
                </a:cxn>
                <a:cxn ang="0">
                  <a:pos x="1264" y="359"/>
                </a:cxn>
              </a:cxnLst>
              <a:rect l="0" t="0" r="r" b="b"/>
              <a:pathLst>
                <a:path w="1396" h="600">
                  <a:moveTo>
                    <a:pt x="1362" y="308"/>
                  </a:moveTo>
                  <a:lnTo>
                    <a:pt x="1396" y="296"/>
                  </a:lnTo>
                  <a:lnTo>
                    <a:pt x="1326" y="247"/>
                  </a:lnTo>
                  <a:lnTo>
                    <a:pt x="1281" y="267"/>
                  </a:lnTo>
                  <a:lnTo>
                    <a:pt x="1216" y="249"/>
                  </a:lnTo>
                  <a:lnTo>
                    <a:pt x="1187" y="234"/>
                  </a:lnTo>
                  <a:lnTo>
                    <a:pt x="1160" y="234"/>
                  </a:lnTo>
                  <a:lnTo>
                    <a:pt x="1143" y="205"/>
                  </a:lnTo>
                  <a:lnTo>
                    <a:pt x="1135" y="186"/>
                  </a:lnTo>
                  <a:lnTo>
                    <a:pt x="1110" y="186"/>
                  </a:lnTo>
                  <a:lnTo>
                    <a:pt x="1090" y="186"/>
                  </a:lnTo>
                  <a:lnTo>
                    <a:pt x="1069" y="194"/>
                  </a:lnTo>
                  <a:lnTo>
                    <a:pt x="1036" y="161"/>
                  </a:lnTo>
                  <a:lnTo>
                    <a:pt x="1021" y="166"/>
                  </a:lnTo>
                  <a:lnTo>
                    <a:pt x="1006" y="173"/>
                  </a:lnTo>
                  <a:lnTo>
                    <a:pt x="987" y="180"/>
                  </a:lnTo>
                  <a:lnTo>
                    <a:pt x="958" y="155"/>
                  </a:lnTo>
                  <a:lnTo>
                    <a:pt x="889" y="100"/>
                  </a:lnTo>
                  <a:lnTo>
                    <a:pt x="835" y="67"/>
                  </a:lnTo>
                  <a:lnTo>
                    <a:pt x="802" y="37"/>
                  </a:lnTo>
                  <a:lnTo>
                    <a:pt x="745" y="73"/>
                  </a:lnTo>
                  <a:lnTo>
                    <a:pt x="735" y="47"/>
                  </a:lnTo>
                  <a:lnTo>
                    <a:pt x="654" y="44"/>
                  </a:lnTo>
                  <a:lnTo>
                    <a:pt x="644" y="44"/>
                  </a:lnTo>
                  <a:lnTo>
                    <a:pt x="609" y="0"/>
                  </a:lnTo>
                  <a:lnTo>
                    <a:pt x="569" y="5"/>
                  </a:lnTo>
                  <a:lnTo>
                    <a:pt x="544" y="23"/>
                  </a:lnTo>
                  <a:lnTo>
                    <a:pt x="493" y="34"/>
                  </a:lnTo>
                  <a:lnTo>
                    <a:pt x="477" y="25"/>
                  </a:lnTo>
                  <a:lnTo>
                    <a:pt x="449" y="51"/>
                  </a:lnTo>
                  <a:lnTo>
                    <a:pt x="430" y="47"/>
                  </a:lnTo>
                  <a:lnTo>
                    <a:pt x="357" y="54"/>
                  </a:lnTo>
                  <a:lnTo>
                    <a:pt x="342" y="51"/>
                  </a:lnTo>
                  <a:lnTo>
                    <a:pt x="332" y="56"/>
                  </a:lnTo>
                  <a:lnTo>
                    <a:pt x="363" y="89"/>
                  </a:lnTo>
                  <a:lnTo>
                    <a:pt x="342" y="120"/>
                  </a:lnTo>
                  <a:lnTo>
                    <a:pt x="345" y="142"/>
                  </a:lnTo>
                  <a:lnTo>
                    <a:pt x="345" y="153"/>
                  </a:lnTo>
                  <a:lnTo>
                    <a:pt x="383" y="153"/>
                  </a:lnTo>
                  <a:lnTo>
                    <a:pt x="396" y="173"/>
                  </a:lnTo>
                  <a:lnTo>
                    <a:pt x="396" y="194"/>
                  </a:lnTo>
                  <a:lnTo>
                    <a:pt x="383" y="198"/>
                  </a:lnTo>
                  <a:lnTo>
                    <a:pt x="368" y="186"/>
                  </a:lnTo>
                  <a:lnTo>
                    <a:pt x="352" y="194"/>
                  </a:lnTo>
                  <a:lnTo>
                    <a:pt x="342" y="202"/>
                  </a:lnTo>
                  <a:lnTo>
                    <a:pt x="315" y="186"/>
                  </a:lnTo>
                  <a:lnTo>
                    <a:pt x="306" y="169"/>
                  </a:lnTo>
                  <a:lnTo>
                    <a:pt x="280" y="177"/>
                  </a:lnTo>
                  <a:lnTo>
                    <a:pt x="280" y="183"/>
                  </a:lnTo>
                  <a:lnTo>
                    <a:pt x="262" y="169"/>
                  </a:lnTo>
                  <a:lnTo>
                    <a:pt x="239" y="186"/>
                  </a:lnTo>
                  <a:lnTo>
                    <a:pt x="209" y="194"/>
                  </a:lnTo>
                  <a:lnTo>
                    <a:pt x="199" y="186"/>
                  </a:lnTo>
                  <a:lnTo>
                    <a:pt x="191" y="169"/>
                  </a:lnTo>
                  <a:lnTo>
                    <a:pt x="152" y="166"/>
                  </a:lnTo>
                  <a:lnTo>
                    <a:pt x="88" y="162"/>
                  </a:lnTo>
                  <a:lnTo>
                    <a:pt x="73" y="166"/>
                  </a:lnTo>
                  <a:lnTo>
                    <a:pt x="67" y="177"/>
                  </a:lnTo>
                  <a:lnTo>
                    <a:pt x="56" y="173"/>
                  </a:lnTo>
                  <a:lnTo>
                    <a:pt x="47" y="191"/>
                  </a:lnTo>
                  <a:lnTo>
                    <a:pt x="37" y="205"/>
                  </a:lnTo>
                  <a:lnTo>
                    <a:pt x="37" y="212"/>
                  </a:lnTo>
                  <a:lnTo>
                    <a:pt x="44" y="224"/>
                  </a:lnTo>
                  <a:lnTo>
                    <a:pt x="33" y="228"/>
                  </a:lnTo>
                  <a:lnTo>
                    <a:pt x="22" y="205"/>
                  </a:lnTo>
                  <a:lnTo>
                    <a:pt x="5" y="208"/>
                  </a:lnTo>
                  <a:lnTo>
                    <a:pt x="0" y="239"/>
                  </a:lnTo>
                  <a:lnTo>
                    <a:pt x="0" y="258"/>
                  </a:lnTo>
                  <a:lnTo>
                    <a:pt x="0" y="275"/>
                  </a:lnTo>
                  <a:lnTo>
                    <a:pt x="8" y="290"/>
                  </a:lnTo>
                  <a:lnTo>
                    <a:pt x="18" y="301"/>
                  </a:lnTo>
                  <a:lnTo>
                    <a:pt x="18" y="320"/>
                  </a:lnTo>
                  <a:lnTo>
                    <a:pt x="33" y="318"/>
                  </a:lnTo>
                  <a:lnTo>
                    <a:pt x="52" y="304"/>
                  </a:lnTo>
                  <a:lnTo>
                    <a:pt x="62" y="318"/>
                  </a:lnTo>
                  <a:lnTo>
                    <a:pt x="77" y="335"/>
                  </a:lnTo>
                  <a:lnTo>
                    <a:pt x="89" y="352"/>
                  </a:lnTo>
                  <a:lnTo>
                    <a:pt x="104" y="385"/>
                  </a:lnTo>
                  <a:lnTo>
                    <a:pt x="133" y="377"/>
                  </a:lnTo>
                  <a:lnTo>
                    <a:pt x="180" y="368"/>
                  </a:lnTo>
                  <a:lnTo>
                    <a:pt x="253" y="359"/>
                  </a:lnTo>
                  <a:lnTo>
                    <a:pt x="271" y="381"/>
                  </a:lnTo>
                  <a:lnTo>
                    <a:pt x="273" y="422"/>
                  </a:lnTo>
                  <a:lnTo>
                    <a:pt x="240" y="430"/>
                  </a:lnTo>
                  <a:lnTo>
                    <a:pt x="209" y="439"/>
                  </a:lnTo>
                  <a:lnTo>
                    <a:pt x="213" y="468"/>
                  </a:lnTo>
                  <a:lnTo>
                    <a:pt x="166" y="468"/>
                  </a:lnTo>
                  <a:lnTo>
                    <a:pt x="209" y="527"/>
                  </a:lnTo>
                  <a:lnTo>
                    <a:pt x="228" y="531"/>
                  </a:lnTo>
                  <a:lnTo>
                    <a:pt x="249" y="535"/>
                  </a:lnTo>
                  <a:lnTo>
                    <a:pt x="258" y="560"/>
                  </a:lnTo>
                  <a:lnTo>
                    <a:pt x="269" y="550"/>
                  </a:lnTo>
                  <a:lnTo>
                    <a:pt x="308" y="545"/>
                  </a:lnTo>
                  <a:lnTo>
                    <a:pt x="328" y="554"/>
                  </a:lnTo>
                  <a:lnTo>
                    <a:pt x="342" y="567"/>
                  </a:lnTo>
                  <a:lnTo>
                    <a:pt x="353" y="554"/>
                  </a:lnTo>
                  <a:lnTo>
                    <a:pt x="378" y="557"/>
                  </a:lnTo>
                  <a:lnTo>
                    <a:pt x="335" y="425"/>
                  </a:lnTo>
                  <a:lnTo>
                    <a:pt x="352" y="418"/>
                  </a:lnTo>
                  <a:lnTo>
                    <a:pt x="408" y="389"/>
                  </a:lnTo>
                  <a:lnTo>
                    <a:pt x="418" y="388"/>
                  </a:lnTo>
                  <a:lnTo>
                    <a:pt x="409" y="377"/>
                  </a:lnTo>
                  <a:lnTo>
                    <a:pt x="422" y="382"/>
                  </a:lnTo>
                  <a:lnTo>
                    <a:pt x="422" y="368"/>
                  </a:lnTo>
                  <a:lnTo>
                    <a:pt x="430" y="359"/>
                  </a:lnTo>
                  <a:lnTo>
                    <a:pt x="434" y="363"/>
                  </a:lnTo>
                  <a:lnTo>
                    <a:pt x="446" y="363"/>
                  </a:lnTo>
                  <a:lnTo>
                    <a:pt x="459" y="371"/>
                  </a:lnTo>
                  <a:lnTo>
                    <a:pt x="475" y="355"/>
                  </a:lnTo>
                  <a:lnTo>
                    <a:pt x="485" y="359"/>
                  </a:lnTo>
                  <a:lnTo>
                    <a:pt x="474" y="382"/>
                  </a:lnTo>
                  <a:lnTo>
                    <a:pt x="482" y="414"/>
                  </a:lnTo>
                  <a:lnTo>
                    <a:pt x="511" y="432"/>
                  </a:lnTo>
                  <a:lnTo>
                    <a:pt x="511" y="439"/>
                  </a:lnTo>
                  <a:lnTo>
                    <a:pt x="501" y="454"/>
                  </a:lnTo>
                  <a:lnTo>
                    <a:pt x="506" y="461"/>
                  </a:lnTo>
                  <a:lnTo>
                    <a:pt x="541" y="474"/>
                  </a:lnTo>
                  <a:lnTo>
                    <a:pt x="552" y="494"/>
                  </a:lnTo>
                  <a:lnTo>
                    <a:pt x="587" y="483"/>
                  </a:lnTo>
                  <a:lnTo>
                    <a:pt x="624" y="474"/>
                  </a:lnTo>
                  <a:lnTo>
                    <a:pt x="654" y="534"/>
                  </a:lnTo>
                  <a:lnTo>
                    <a:pt x="665" y="561"/>
                  </a:lnTo>
                  <a:lnTo>
                    <a:pt x="655" y="568"/>
                  </a:lnTo>
                  <a:lnTo>
                    <a:pt x="650" y="578"/>
                  </a:lnTo>
                  <a:lnTo>
                    <a:pt x="679" y="587"/>
                  </a:lnTo>
                  <a:lnTo>
                    <a:pt x="688" y="600"/>
                  </a:lnTo>
                  <a:lnTo>
                    <a:pt x="728" y="587"/>
                  </a:lnTo>
                  <a:lnTo>
                    <a:pt x="742" y="600"/>
                  </a:lnTo>
                  <a:lnTo>
                    <a:pt x="769" y="584"/>
                  </a:lnTo>
                  <a:lnTo>
                    <a:pt x="789" y="582"/>
                  </a:lnTo>
                  <a:lnTo>
                    <a:pt x="813" y="586"/>
                  </a:lnTo>
                  <a:lnTo>
                    <a:pt x="866" y="586"/>
                  </a:lnTo>
                  <a:lnTo>
                    <a:pt x="852" y="575"/>
                  </a:lnTo>
                  <a:lnTo>
                    <a:pt x="852" y="557"/>
                  </a:lnTo>
                  <a:lnTo>
                    <a:pt x="860" y="546"/>
                  </a:lnTo>
                  <a:lnTo>
                    <a:pt x="860" y="536"/>
                  </a:lnTo>
                  <a:lnTo>
                    <a:pt x="844" y="528"/>
                  </a:lnTo>
                  <a:lnTo>
                    <a:pt x="877" y="525"/>
                  </a:lnTo>
                  <a:lnTo>
                    <a:pt x="906" y="528"/>
                  </a:lnTo>
                  <a:lnTo>
                    <a:pt x="912" y="536"/>
                  </a:lnTo>
                  <a:lnTo>
                    <a:pt x="936" y="534"/>
                  </a:lnTo>
                  <a:lnTo>
                    <a:pt x="919" y="507"/>
                  </a:lnTo>
                  <a:lnTo>
                    <a:pt x="937" y="503"/>
                  </a:lnTo>
                  <a:lnTo>
                    <a:pt x="1018" y="514"/>
                  </a:lnTo>
                  <a:lnTo>
                    <a:pt x="1086" y="520"/>
                  </a:lnTo>
                  <a:lnTo>
                    <a:pt x="1135" y="542"/>
                  </a:lnTo>
                  <a:lnTo>
                    <a:pt x="1160" y="542"/>
                  </a:lnTo>
                  <a:lnTo>
                    <a:pt x="1168" y="567"/>
                  </a:lnTo>
                  <a:lnTo>
                    <a:pt x="1187" y="514"/>
                  </a:lnTo>
                  <a:lnTo>
                    <a:pt x="1160" y="457"/>
                  </a:lnTo>
                  <a:lnTo>
                    <a:pt x="1242" y="437"/>
                  </a:lnTo>
                  <a:lnTo>
                    <a:pt x="1252" y="406"/>
                  </a:lnTo>
                  <a:lnTo>
                    <a:pt x="1264" y="359"/>
                  </a:lnTo>
                  <a:lnTo>
                    <a:pt x="1349" y="363"/>
                  </a:lnTo>
                  <a:lnTo>
                    <a:pt x="1362" y="308"/>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41" name="30646299.625478.3752134.255">
              <a:extLst>
                <a:ext uri="{FF2B5EF4-FFF2-40B4-BE49-F238E27FC236}">
                  <a16:creationId xmlns:a16="http://schemas.microsoft.com/office/drawing/2014/main" id="{51B43021-77E4-4A79-9583-B41D4A4B2CF5}"/>
                </a:ext>
              </a:extLst>
            </p:cNvPr>
            <p:cNvSpPr>
              <a:spLocks noChangeAspect="1"/>
            </p:cNvSpPr>
            <p:nvPr/>
          </p:nvSpPr>
          <p:spPr bwMode="gray">
            <a:xfrm>
              <a:off x="7341662" y="3151926"/>
              <a:ext cx="547777" cy="338079"/>
            </a:xfrm>
            <a:custGeom>
              <a:avLst/>
              <a:gdLst/>
              <a:ahLst/>
              <a:cxnLst>
                <a:cxn ang="0">
                  <a:pos x="58" y="166"/>
                </a:cxn>
                <a:cxn ang="0">
                  <a:pos x="69" y="139"/>
                </a:cxn>
                <a:cxn ang="0">
                  <a:pos x="83" y="126"/>
                </a:cxn>
                <a:cxn ang="0">
                  <a:pos x="109" y="132"/>
                </a:cxn>
                <a:cxn ang="0">
                  <a:pos x="139" y="140"/>
                </a:cxn>
                <a:cxn ang="0">
                  <a:pos x="147" y="148"/>
                </a:cxn>
                <a:cxn ang="0">
                  <a:pos x="166" y="166"/>
                </a:cxn>
                <a:cxn ang="0">
                  <a:pos x="180" y="209"/>
                </a:cxn>
                <a:cxn ang="0">
                  <a:pos x="204" y="205"/>
                </a:cxn>
                <a:cxn ang="0">
                  <a:pos x="237" y="209"/>
                </a:cxn>
                <a:cxn ang="0">
                  <a:pos x="285" y="258"/>
                </a:cxn>
                <a:cxn ang="0">
                  <a:pos x="337" y="289"/>
                </a:cxn>
                <a:cxn ang="0">
                  <a:pos x="385" y="319"/>
                </a:cxn>
                <a:cxn ang="0">
                  <a:pos x="404" y="371"/>
                </a:cxn>
                <a:cxn ang="0">
                  <a:pos x="436" y="330"/>
                </a:cxn>
                <a:cxn ang="0">
                  <a:pos x="439" y="291"/>
                </a:cxn>
                <a:cxn ang="0">
                  <a:pos x="421" y="236"/>
                </a:cxn>
                <a:cxn ang="0">
                  <a:pos x="461" y="224"/>
                </a:cxn>
                <a:cxn ang="0">
                  <a:pos x="513" y="235"/>
                </a:cxn>
                <a:cxn ang="0">
                  <a:pos x="595" y="229"/>
                </a:cxn>
                <a:cxn ang="0">
                  <a:pos x="595" y="196"/>
                </a:cxn>
                <a:cxn ang="0">
                  <a:pos x="496" y="196"/>
                </a:cxn>
                <a:cxn ang="0">
                  <a:pos x="447" y="192"/>
                </a:cxn>
                <a:cxn ang="0">
                  <a:pos x="403" y="209"/>
                </a:cxn>
                <a:cxn ang="0">
                  <a:pos x="373" y="205"/>
                </a:cxn>
                <a:cxn ang="0">
                  <a:pos x="349" y="207"/>
                </a:cxn>
                <a:cxn ang="0">
                  <a:pos x="320" y="192"/>
                </a:cxn>
                <a:cxn ang="0">
                  <a:pos x="319" y="180"/>
                </a:cxn>
                <a:cxn ang="0">
                  <a:pos x="315" y="137"/>
                </a:cxn>
                <a:cxn ang="0">
                  <a:pos x="219" y="103"/>
                </a:cxn>
                <a:cxn ang="0">
                  <a:pos x="171" y="73"/>
                </a:cxn>
                <a:cxn ang="0">
                  <a:pos x="110" y="88"/>
                </a:cxn>
                <a:cxn ang="0">
                  <a:pos x="72" y="38"/>
                </a:cxn>
                <a:cxn ang="0">
                  <a:pos x="73" y="0"/>
                </a:cxn>
                <a:cxn ang="0">
                  <a:pos x="43" y="169"/>
                </a:cxn>
              </a:cxnLst>
              <a:rect l="0" t="0" r="r" b="b"/>
              <a:pathLst>
                <a:path w="609" h="371">
                  <a:moveTo>
                    <a:pt x="43" y="169"/>
                  </a:moveTo>
                  <a:lnTo>
                    <a:pt x="58" y="166"/>
                  </a:lnTo>
                  <a:lnTo>
                    <a:pt x="63" y="151"/>
                  </a:lnTo>
                  <a:lnTo>
                    <a:pt x="69" y="139"/>
                  </a:lnTo>
                  <a:lnTo>
                    <a:pt x="87" y="146"/>
                  </a:lnTo>
                  <a:lnTo>
                    <a:pt x="83" y="126"/>
                  </a:lnTo>
                  <a:lnTo>
                    <a:pt x="99" y="119"/>
                  </a:lnTo>
                  <a:lnTo>
                    <a:pt x="109" y="132"/>
                  </a:lnTo>
                  <a:lnTo>
                    <a:pt x="124" y="132"/>
                  </a:lnTo>
                  <a:lnTo>
                    <a:pt x="139" y="140"/>
                  </a:lnTo>
                  <a:lnTo>
                    <a:pt x="147" y="146"/>
                  </a:lnTo>
                  <a:lnTo>
                    <a:pt x="147" y="148"/>
                  </a:lnTo>
                  <a:lnTo>
                    <a:pt x="149" y="161"/>
                  </a:lnTo>
                  <a:lnTo>
                    <a:pt x="166" y="166"/>
                  </a:lnTo>
                  <a:lnTo>
                    <a:pt x="166" y="183"/>
                  </a:lnTo>
                  <a:lnTo>
                    <a:pt x="180" y="209"/>
                  </a:lnTo>
                  <a:lnTo>
                    <a:pt x="197" y="212"/>
                  </a:lnTo>
                  <a:lnTo>
                    <a:pt x="204" y="205"/>
                  </a:lnTo>
                  <a:lnTo>
                    <a:pt x="221" y="195"/>
                  </a:lnTo>
                  <a:lnTo>
                    <a:pt x="237" y="209"/>
                  </a:lnTo>
                  <a:lnTo>
                    <a:pt x="256" y="229"/>
                  </a:lnTo>
                  <a:lnTo>
                    <a:pt x="285" y="258"/>
                  </a:lnTo>
                  <a:lnTo>
                    <a:pt x="335" y="271"/>
                  </a:lnTo>
                  <a:lnTo>
                    <a:pt x="337" y="289"/>
                  </a:lnTo>
                  <a:lnTo>
                    <a:pt x="370" y="301"/>
                  </a:lnTo>
                  <a:lnTo>
                    <a:pt x="385" y="319"/>
                  </a:lnTo>
                  <a:lnTo>
                    <a:pt x="374" y="370"/>
                  </a:lnTo>
                  <a:lnTo>
                    <a:pt x="404" y="371"/>
                  </a:lnTo>
                  <a:lnTo>
                    <a:pt x="423" y="345"/>
                  </a:lnTo>
                  <a:lnTo>
                    <a:pt x="436" y="330"/>
                  </a:lnTo>
                  <a:lnTo>
                    <a:pt x="444" y="316"/>
                  </a:lnTo>
                  <a:lnTo>
                    <a:pt x="439" y="291"/>
                  </a:lnTo>
                  <a:lnTo>
                    <a:pt x="415" y="282"/>
                  </a:lnTo>
                  <a:lnTo>
                    <a:pt x="421" y="236"/>
                  </a:lnTo>
                  <a:lnTo>
                    <a:pt x="443" y="218"/>
                  </a:lnTo>
                  <a:lnTo>
                    <a:pt x="461" y="224"/>
                  </a:lnTo>
                  <a:lnTo>
                    <a:pt x="506" y="216"/>
                  </a:lnTo>
                  <a:lnTo>
                    <a:pt x="513" y="235"/>
                  </a:lnTo>
                  <a:lnTo>
                    <a:pt x="539" y="234"/>
                  </a:lnTo>
                  <a:lnTo>
                    <a:pt x="595" y="229"/>
                  </a:lnTo>
                  <a:lnTo>
                    <a:pt x="609" y="209"/>
                  </a:lnTo>
                  <a:lnTo>
                    <a:pt x="595" y="196"/>
                  </a:lnTo>
                  <a:lnTo>
                    <a:pt x="560" y="196"/>
                  </a:lnTo>
                  <a:lnTo>
                    <a:pt x="496" y="196"/>
                  </a:lnTo>
                  <a:lnTo>
                    <a:pt x="472" y="196"/>
                  </a:lnTo>
                  <a:lnTo>
                    <a:pt x="447" y="192"/>
                  </a:lnTo>
                  <a:lnTo>
                    <a:pt x="407" y="212"/>
                  </a:lnTo>
                  <a:lnTo>
                    <a:pt x="403" y="209"/>
                  </a:lnTo>
                  <a:lnTo>
                    <a:pt x="393" y="199"/>
                  </a:lnTo>
                  <a:lnTo>
                    <a:pt x="373" y="205"/>
                  </a:lnTo>
                  <a:lnTo>
                    <a:pt x="353" y="212"/>
                  </a:lnTo>
                  <a:lnTo>
                    <a:pt x="349" y="207"/>
                  </a:lnTo>
                  <a:lnTo>
                    <a:pt x="345" y="199"/>
                  </a:lnTo>
                  <a:lnTo>
                    <a:pt x="320" y="192"/>
                  </a:lnTo>
                  <a:lnTo>
                    <a:pt x="315" y="190"/>
                  </a:lnTo>
                  <a:lnTo>
                    <a:pt x="319" y="180"/>
                  </a:lnTo>
                  <a:lnTo>
                    <a:pt x="331" y="173"/>
                  </a:lnTo>
                  <a:lnTo>
                    <a:pt x="315" y="137"/>
                  </a:lnTo>
                  <a:lnTo>
                    <a:pt x="289" y="86"/>
                  </a:lnTo>
                  <a:lnTo>
                    <a:pt x="219" y="103"/>
                  </a:lnTo>
                  <a:lnTo>
                    <a:pt x="204" y="86"/>
                  </a:lnTo>
                  <a:lnTo>
                    <a:pt x="171" y="73"/>
                  </a:lnTo>
                  <a:lnTo>
                    <a:pt x="140" y="93"/>
                  </a:lnTo>
                  <a:lnTo>
                    <a:pt x="110" y="88"/>
                  </a:lnTo>
                  <a:lnTo>
                    <a:pt x="77" y="66"/>
                  </a:lnTo>
                  <a:lnTo>
                    <a:pt x="72" y="38"/>
                  </a:lnTo>
                  <a:lnTo>
                    <a:pt x="74" y="19"/>
                  </a:lnTo>
                  <a:lnTo>
                    <a:pt x="73" y="0"/>
                  </a:lnTo>
                  <a:lnTo>
                    <a:pt x="0" y="38"/>
                  </a:lnTo>
                  <a:lnTo>
                    <a:pt x="43" y="16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42" name="30647306.375473.7518.37526.3755">
              <a:extLst>
                <a:ext uri="{FF2B5EF4-FFF2-40B4-BE49-F238E27FC236}">
                  <a16:creationId xmlns:a16="http://schemas.microsoft.com/office/drawing/2014/main" id="{EABFDA01-1AB4-48BD-848B-CCFFDC41C9F8}"/>
                </a:ext>
              </a:extLst>
            </p:cNvPr>
            <p:cNvSpPr>
              <a:spLocks noChangeAspect="1"/>
            </p:cNvSpPr>
            <p:nvPr/>
          </p:nvSpPr>
          <p:spPr bwMode="gray">
            <a:xfrm>
              <a:off x="7269386" y="3261253"/>
              <a:ext cx="420344" cy="297714"/>
            </a:xfrm>
            <a:custGeom>
              <a:avLst/>
              <a:gdLst/>
              <a:ahLst/>
              <a:cxnLst>
                <a:cxn ang="0">
                  <a:pos x="0" y="47"/>
                </a:cxn>
                <a:cxn ang="0">
                  <a:pos x="3" y="90"/>
                </a:cxn>
                <a:cxn ang="0">
                  <a:pos x="29" y="64"/>
                </a:cxn>
                <a:cxn ang="0">
                  <a:pos x="64" y="97"/>
                </a:cxn>
                <a:cxn ang="0">
                  <a:pos x="49" y="117"/>
                </a:cxn>
                <a:cxn ang="0">
                  <a:pos x="6" y="98"/>
                </a:cxn>
                <a:cxn ang="0">
                  <a:pos x="2" y="127"/>
                </a:cxn>
                <a:cxn ang="0">
                  <a:pos x="6" y="143"/>
                </a:cxn>
                <a:cxn ang="0">
                  <a:pos x="29" y="148"/>
                </a:cxn>
                <a:cxn ang="0">
                  <a:pos x="18" y="165"/>
                </a:cxn>
                <a:cxn ang="0">
                  <a:pos x="39" y="179"/>
                </a:cxn>
                <a:cxn ang="0">
                  <a:pos x="39" y="237"/>
                </a:cxn>
                <a:cxn ang="0">
                  <a:pos x="102" y="220"/>
                </a:cxn>
                <a:cxn ang="0">
                  <a:pos x="138" y="203"/>
                </a:cxn>
                <a:cxn ang="0">
                  <a:pos x="220" y="241"/>
                </a:cxn>
                <a:cxn ang="0">
                  <a:pos x="271" y="265"/>
                </a:cxn>
                <a:cxn ang="0">
                  <a:pos x="282" y="276"/>
                </a:cxn>
                <a:cxn ang="0">
                  <a:pos x="288" y="304"/>
                </a:cxn>
                <a:cxn ang="0">
                  <a:pos x="336" y="325"/>
                </a:cxn>
                <a:cxn ang="0">
                  <a:pos x="407" y="248"/>
                </a:cxn>
                <a:cxn ang="0">
                  <a:pos x="454" y="248"/>
                </a:cxn>
                <a:cxn ang="0">
                  <a:pos x="461" y="215"/>
                </a:cxn>
                <a:cxn ang="0">
                  <a:pos x="466" y="201"/>
                </a:cxn>
                <a:cxn ang="0">
                  <a:pos x="451" y="181"/>
                </a:cxn>
                <a:cxn ang="0">
                  <a:pos x="417" y="168"/>
                </a:cxn>
                <a:cxn ang="0">
                  <a:pos x="414" y="152"/>
                </a:cxn>
                <a:cxn ang="0">
                  <a:pos x="365" y="139"/>
                </a:cxn>
                <a:cxn ang="0">
                  <a:pos x="336" y="110"/>
                </a:cxn>
                <a:cxn ang="0">
                  <a:pos x="325" y="93"/>
                </a:cxn>
                <a:cxn ang="0">
                  <a:pos x="301" y="75"/>
                </a:cxn>
                <a:cxn ang="0">
                  <a:pos x="286" y="84"/>
                </a:cxn>
                <a:cxn ang="0">
                  <a:pos x="277" y="93"/>
                </a:cxn>
                <a:cxn ang="0">
                  <a:pos x="260" y="90"/>
                </a:cxn>
                <a:cxn ang="0">
                  <a:pos x="246" y="64"/>
                </a:cxn>
                <a:cxn ang="0">
                  <a:pos x="245" y="47"/>
                </a:cxn>
                <a:cxn ang="0">
                  <a:pos x="229" y="42"/>
                </a:cxn>
                <a:cxn ang="0">
                  <a:pos x="224" y="27"/>
                </a:cxn>
                <a:cxn ang="0">
                  <a:pos x="204" y="13"/>
                </a:cxn>
                <a:cxn ang="0">
                  <a:pos x="189" y="13"/>
                </a:cxn>
                <a:cxn ang="0">
                  <a:pos x="179" y="0"/>
                </a:cxn>
                <a:cxn ang="0">
                  <a:pos x="163" y="7"/>
                </a:cxn>
                <a:cxn ang="0">
                  <a:pos x="168" y="27"/>
                </a:cxn>
                <a:cxn ang="0">
                  <a:pos x="160" y="22"/>
                </a:cxn>
                <a:cxn ang="0">
                  <a:pos x="149" y="20"/>
                </a:cxn>
                <a:cxn ang="0">
                  <a:pos x="138" y="47"/>
                </a:cxn>
                <a:cxn ang="0">
                  <a:pos x="120" y="50"/>
                </a:cxn>
                <a:cxn ang="0">
                  <a:pos x="102" y="46"/>
                </a:cxn>
                <a:cxn ang="0">
                  <a:pos x="87" y="60"/>
                </a:cxn>
                <a:cxn ang="0">
                  <a:pos x="73" y="47"/>
                </a:cxn>
                <a:cxn ang="0">
                  <a:pos x="51" y="35"/>
                </a:cxn>
                <a:cxn ang="0">
                  <a:pos x="0" y="47"/>
                </a:cxn>
              </a:cxnLst>
              <a:rect l="0" t="0" r="r" b="b"/>
              <a:pathLst>
                <a:path w="466" h="325">
                  <a:moveTo>
                    <a:pt x="0" y="47"/>
                  </a:moveTo>
                  <a:lnTo>
                    <a:pt x="3" y="90"/>
                  </a:lnTo>
                  <a:lnTo>
                    <a:pt x="29" y="64"/>
                  </a:lnTo>
                  <a:lnTo>
                    <a:pt x="64" y="97"/>
                  </a:lnTo>
                  <a:lnTo>
                    <a:pt x="49" y="117"/>
                  </a:lnTo>
                  <a:lnTo>
                    <a:pt x="6" y="98"/>
                  </a:lnTo>
                  <a:lnTo>
                    <a:pt x="2" y="127"/>
                  </a:lnTo>
                  <a:lnTo>
                    <a:pt x="6" y="143"/>
                  </a:lnTo>
                  <a:lnTo>
                    <a:pt x="29" y="148"/>
                  </a:lnTo>
                  <a:lnTo>
                    <a:pt x="18" y="165"/>
                  </a:lnTo>
                  <a:lnTo>
                    <a:pt x="39" y="179"/>
                  </a:lnTo>
                  <a:lnTo>
                    <a:pt x="39" y="237"/>
                  </a:lnTo>
                  <a:lnTo>
                    <a:pt x="102" y="220"/>
                  </a:lnTo>
                  <a:lnTo>
                    <a:pt x="138" y="203"/>
                  </a:lnTo>
                  <a:lnTo>
                    <a:pt x="220" y="241"/>
                  </a:lnTo>
                  <a:lnTo>
                    <a:pt x="271" y="265"/>
                  </a:lnTo>
                  <a:lnTo>
                    <a:pt x="282" y="276"/>
                  </a:lnTo>
                  <a:lnTo>
                    <a:pt x="288" y="304"/>
                  </a:lnTo>
                  <a:lnTo>
                    <a:pt x="336" y="325"/>
                  </a:lnTo>
                  <a:lnTo>
                    <a:pt x="407" y="248"/>
                  </a:lnTo>
                  <a:lnTo>
                    <a:pt x="454" y="248"/>
                  </a:lnTo>
                  <a:lnTo>
                    <a:pt x="461" y="215"/>
                  </a:lnTo>
                  <a:lnTo>
                    <a:pt x="466" y="201"/>
                  </a:lnTo>
                  <a:lnTo>
                    <a:pt x="451" y="181"/>
                  </a:lnTo>
                  <a:lnTo>
                    <a:pt x="417" y="168"/>
                  </a:lnTo>
                  <a:lnTo>
                    <a:pt x="414" y="152"/>
                  </a:lnTo>
                  <a:lnTo>
                    <a:pt x="365" y="139"/>
                  </a:lnTo>
                  <a:lnTo>
                    <a:pt x="336" y="110"/>
                  </a:lnTo>
                  <a:lnTo>
                    <a:pt x="325" y="93"/>
                  </a:lnTo>
                  <a:lnTo>
                    <a:pt x="301" y="75"/>
                  </a:lnTo>
                  <a:lnTo>
                    <a:pt x="286" y="84"/>
                  </a:lnTo>
                  <a:lnTo>
                    <a:pt x="277" y="93"/>
                  </a:lnTo>
                  <a:lnTo>
                    <a:pt x="260" y="90"/>
                  </a:lnTo>
                  <a:lnTo>
                    <a:pt x="246" y="64"/>
                  </a:lnTo>
                  <a:lnTo>
                    <a:pt x="245" y="47"/>
                  </a:lnTo>
                  <a:lnTo>
                    <a:pt x="229" y="42"/>
                  </a:lnTo>
                  <a:lnTo>
                    <a:pt x="224" y="27"/>
                  </a:lnTo>
                  <a:lnTo>
                    <a:pt x="204" y="13"/>
                  </a:lnTo>
                  <a:lnTo>
                    <a:pt x="189" y="13"/>
                  </a:lnTo>
                  <a:lnTo>
                    <a:pt x="179" y="0"/>
                  </a:lnTo>
                  <a:lnTo>
                    <a:pt x="163" y="7"/>
                  </a:lnTo>
                  <a:lnTo>
                    <a:pt x="168" y="27"/>
                  </a:lnTo>
                  <a:lnTo>
                    <a:pt x="160" y="22"/>
                  </a:lnTo>
                  <a:lnTo>
                    <a:pt x="149" y="20"/>
                  </a:lnTo>
                  <a:lnTo>
                    <a:pt x="138" y="47"/>
                  </a:lnTo>
                  <a:lnTo>
                    <a:pt x="120" y="50"/>
                  </a:lnTo>
                  <a:lnTo>
                    <a:pt x="102" y="46"/>
                  </a:lnTo>
                  <a:lnTo>
                    <a:pt x="87" y="60"/>
                  </a:lnTo>
                  <a:lnTo>
                    <a:pt x="73" y="47"/>
                  </a:lnTo>
                  <a:lnTo>
                    <a:pt x="51" y="35"/>
                  </a:lnTo>
                  <a:lnTo>
                    <a:pt x="0" y="47"/>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43" name="30648306.125503.259.375225">
              <a:extLst>
                <a:ext uri="{FF2B5EF4-FFF2-40B4-BE49-F238E27FC236}">
                  <a16:creationId xmlns:a16="http://schemas.microsoft.com/office/drawing/2014/main" id="{EB1CF4CF-CDAE-46B3-93A0-5EB872D46F07}"/>
                </a:ext>
              </a:extLst>
            </p:cNvPr>
            <p:cNvSpPr>
              <a:spLocks noChangeAspect="1"/>
            </p:cNvSpPr>
            <p:nvPr/>
          </p:nvSpPr>
          <p:spPr bwMode="gray">
            <a:xfrm>
              <a:off x="7741081" y="3256208"/>
              <a:ext cx="351869" cy="151380"/>
            </a:xfrm>
            <a:custGeom>
              <a:avLst/>
              <a:gdLst/>
              <a:ahLst/>
              <a:cxnLst>
                <a:cxn ang="0">
                  <a:pos x="99" y="119"/>
                </a:cxn>
                <a:cxn ang="0">
                  <a:pos x="70" y="119"/>
                </a:cxn>
                <a:cxn ang="0">
                  <a:pos x="13" y="125"/>
                </a:cxn>
                <a:cxn ang="0">
                  <a:pos x="0" y="143"/>
                </a:cxn>
                <a:cxn ang="0">
                  <a:pos x="13" y="152"/>
                </a:cxn>
                <a:cxn ang="0">
                  <a:pos x="26" y="157"/>
                </a:cxn>
                <a:cxn ang="0">
                  <a:pos x="104" y="156"/>
                </a:cxn>
                <a:cxn ang="0">
                  <a:pos x="156" y="156"/>
                </a:cxn>
                <a:cxn ang="0">
                  <a:pos x="180" y="167"/>
                </a:cxn>
                <a:cxn ang="0">
                  <a:pos x="188" y="146"/>
                </a:cxn>
                <a:cxn ang="0">
                  <a:pos x="210" y="143"/>
                </a:cxn>
                <a:cxn ang="0">
                  <a:pos x="242" y="136"/>
                </a:cxn>
                <a:cxn ang="0">
                  <a:pos x="269" y="131"/>
                </a:cxn>
                <a:cxn ang="0">
                  <a:pos x="319" y="103"/>
                </a:cxn>
                <a:cxn ang="0">
                  <a:pos x="371" y="77"/>
                </a:cxn>
                <a:cxn ang="0">
                  <a:pos x="389" y="64"/>
                </a:cxn>
                <a:cxn ang="0">
                  <a:pos x="382" y="39"/>
                </a:cxn>
                <a:cxn ang="0">
                  <a:pos x="357" y="39"/>
                </a:cxn>
                <a:cxn ang="0">
                  <a:pos x="332" y="26"/>
                </a:cxn>
                <a:cxn ang="0">
                  <a:pos x="306" y="17"/>
                </a:cxn>
                <a:cxn ang="0">
                  <a:pos x="240" y="11"/>
                </a:cxn>
                <a:cxn ang="0">
                  <a:pos x="159" y="0"/>
                </a:cxn>
                <a:cxn ang="0">
                  <a:pos x="143" y="4"/>
                </a:cxn>
                <a:cxn ang="0">
                  <a:pos x="148" y="17"/>
                </a:cxn>
                <a:cxn ang="0">
                  <a:pos x="158" y="31"/>
                </a:cxn>
                <a:cxn ang="0">
                  <a:pos x="134" y="33"/>
                </a:cxn>
                <a:cxn ang="0">
                  <a:pos x="128" y="25"/>
                </a:cxn>
                <a:cxn ang="0">
                  <a:pos x="101" y="22"/>
                </a:cxn>
                <a:cxn ang="0">
                  <a:pos x="66" y="25"/>
                </a:cxn>
                <a:cxn ang="0">
                  <a:pos x="82" y="33"/>
                </a:cxn>
                <a:cxn ang="0">
                  <a:pos x="85" y="43"/>
                </a:cxn>
                <a:cxn ang="0">
                  <a:pos x="74" y="54"/>
                </a:cxn>
                <a:cxn ang="0">
                  <a:pos x="74" y="72"/>
                </a:cxn>
                <a:cxn ang="0">
                  <a:pos x="88" y="83"/>
                </a:cxn>
                <a:cxn ang="0">
                  <a:pos x="134" y="83"/>
                </a:cxn>
                <a:cxn ang="0">
                  <a:pos x="151" y="81"/>
                </a:cxn>
                <a:cxn ang="0">
                  <a:pos x="166" y="97"/>
                </a:cxn>
                <a:cxn ang="0">
                  <a:pos x="149" y="116"/>
                </a:cxn>
                <a:cxn ang="0">
                  <a:pos x="133" y="116"/>
                </a:cxn>
                <a:cxn ang="0">
                  <a:pos x="117" y="114"/>
                </a:cxn>
                <a:cxn ang="0">
                  <a:pos x="108" y="116"/>
                </a:cxn>
                <a:cxn ang="0">
                  <a:pos x="99" y="119"/>
                </a:cxn>
              </a:cxnLst>
              <a:rect l="0" t="0" r="r" b="b"/>
              <a:pathLst>
                <a:path w="389" h="167">
                  <a:moveTo>
                    <a:pt x="99" y="119"/>
                  </a:moveTo>
                  <a:lnTo>
                    <a:pt x="70" y="119"/>
                  </a:lnTo>
                  <a:lnTo>
                    <a:pt x="13" y="125"/>
                  </a:lnTo>
                  <a:lnTo>
                    <a:pt x="0" y="143"/>
                  </a:lnTo>
                  <a:lnTo>
                    <a:pt x="13" y="152"/>
                  </a:lnTo>
                  <a:lnTo>
                    <a:pt x="26" y="157"/>
                  </a:lnTo>
                  <a:lnTo>
                    <a:pt x="104" y="156"/>
                  </a:lnTo>
                  <a:lnTo>
                    <a:pt x="156" y="156"/>
                  </a:lnTo>
                  <a:lnTo>
                    <a:pt x="180" y="167"/>
                  </a:lnTo>
                  <a:lnTo>
                    <a:pt x="188" y="146"/>
                  </a:lnTo>
                  <a:lnTo>
                    <a:pt x="210" y="143"/>
                  </a:lnTo>
                  <a:lnTo>
                    <a:pt x="242" y="136"/>
                  </a:lnTo>
                  <a:lnTo>
                    <a:pt x="269" y="131"/>
                  </a:lnTo>
                  <a:lnTo>
                    <a:pt x="319" y="103"/>
                  </a:lnTo>
                  <a:lnTo>
                    <a:pt x="371" y="77"/>
                  </a:lnTo>
                  <a:lnTo>
                    <a:pt x="389" y="64"/>
                  </a:lnTo>
                  <a:lnTo>
                    <a:pt x="382" y="39"/>
                  </a:lnTo>
                  <a:lnTo>
                    <a:pt x="357" y="39"/>
                  </a:lnTo>
                  <a:lnTo>
                    <a:pt x="332" y="26"/>
                  </a:lnTo>
                  <a:lnTo>
                    <a:pt x="306" y="17"/>
                  </a:lnTo>
                  <a:lnTo>
                    <a:pt x="240" y="11"/>
                  </a:lnTo>
                  <a:lnTo>
                    <a:pt x="159" y="0"/>
                  </a:lnTo>
                  <a:lnTo>
                    <a:pt x="143" y="4"/>
                  </a:lnTo>
                  <a:lnTo>
                    <a:pt x="148" y="17"/>
                  </a:lnTo>
                  <a:lnTo>
                    <a:pt x="158" y="31"/>
                  </a:lnTo>
                  <a:lnTo>
                    <a:pt x="134" y="33"/>
                  </a:lnTo>
                  <a:lnTo>
                    <a:pt x="128" y="25"/>
                  </a:lnTo>
                  <a:lnTo>
                    <a:pt x="101" y="22"/>
                  </a:lnTo>
                  <a:lnTo>
                    <a:pt x="66" y="25"/>
                  </a:lnTo>
                  <a:lnTo>
                    <a:pt x="82" y="33"/>
                  </a:lnTo>
                  <a:lnTo>
                    <a:pt x="85" y="43"/>
                  </a:lnTo>
                  <a:lnTo>
                    <a:pt x="74" y="54"/>
                  </a:lnTo>
                  <a:lnTo>
                    <a:pt x="74" y="72"/>
                  </a:lnTo>
                  <a:lnTo>
                    <a:pt x="88" y="83"/>
                  </a:lnTo>
                  <a:lnTo>
                    <a:pt x="134" y="83"/>
                  </a:lnTo>
                  <a:lnTo>
                    <a:pt x="151" y="81"/>
                  </a:lnTo>
                  <a:lnTo>
                    <a:pt x="166" y="97"/>
                  </a:lnTo>
                  <a:lnTo>
                    <a:pt x="149" y="116"/>
                  </a:lnTo>
                  <a:lnTo>
                    <a:pt x="133" y="116"/>
                  </a:lnTo>
                  <a:lnTo>
                    <a:pt x="117" y="114"/>
                  </a:lnTo>
                  <a:lnTo>
                    <a:pt x="108" y="116"/>
                  </a:lnTo>
                  <a:lnTo>
                    <a:pt x="99" y="11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44" name="30649311.875501.259.625145">
              <a:extLst>
                <a:ext uri="{FF2B5EF4-FFF2-40B4-BE49-F238E27FC236}">
                  <a16:creationId xmlns:a16="http://schemas.microsoft.com/office/drawing/2014/main" id="{7F0C51E8-791C-40E2-A15E-474D21051F00}"/>
                </a:ext>
              </a:extLst>
            </p:cNvPr>
            <p:cNvSpPr>
              <a:spLocks noChangeAspect="1"/>
            </p:cNvSpPr>
            <p:nvPr/>
          </p:nvSpPr>
          <p:spPr bwMode="gray">
            <a:xfrm>
              <a:off x="7708747" y="3350401"/>
              <a:ext cx="224436" cy="154745"/>
            </a:xfrm>
            <a:custGeom>
              <a:avLst/>
              <a:gdLst/>
              <a:ahLst/>
              <a:cxnLst>
                <a:cxn ang="0">
                  <a:pos x="0" y="146"/>
                </a:cxn>
                <a:cxn ang="0">
                  <a:pos x="3" y="152"/>
                </a:cxn>
                <a:cxn ang="0">
                  <a:pos x="21" y="155"/>
                </a:cxn>
                <a:cxn ang="0">
                  <a:pos x="65" y="157"/>
                </a:cxn>
                <a:cxn ang="0">
                  <a:pos x="117" y="103"/>
                </a:cxn>
                <a:cxn ang="0">
                  <a:pos x="129" y="137"/>
                </a:cxn>
                <a:cxn ang="0">
                  <a:pos x="144" y="172"/>
                </a:cxn>
                <a:cxn ang="0">
                  <a:pos x="176" y="158"/>
                </a:cxn>
                <a:cxn ang="0">
                  <a:pos x="210" y="144"/>
                </a:cxn>
                <a:cxn ang="0">
                  <a:pos x="245" y="155"/>
                </a:cxn>
                <a:cxn ang="0">
                  <a:pos x="247" y="104"/>
                </a:cxn>
                <a:cxn ang="0">
                  <a:pos x="223" y="95"/>
                </a:cxn>
                <a:cxn ang="0">
                  <a:pos x="209" y="96"/>
                </a:cxn>
                <a:cxn ang="0">
                  <a:pos x="218" y="64"/>
                </a:cxn>
                <a:cxn ang="0">
                  <a:pos x="190" y="57"/>
                </a:cxn>
                <a:cxn ang="0">
                  <a:pos x="165" y="55"/>
                </a:cxn>
                <a:cxn ang="0">
                  <a:pos x="131" y="55"/>
                </a:cxn>
                <a:cxn ang="0">
                  <a:pos x="103" y="55"/>
                </a:cxn>
                <a:cxn ang="0">
                  <a:pos x="70" y="55"/>
                </a:cxn>
                <a:cxn ang="0">
                  <a:pos x="41" y="49"/>
                </a:cxn>
                <a:cxn ang="0">
                  <a:pos x="37" y="45"/>
                </a:cxn>
                <a:cxn ang="0">
                  <a:pos x="43" y="33"/>
                </a:cxn>
                <a:cxn ang="0">
                  <a:pos x="55" y="24"/>
                </a:cxn>
                <a:cxn ang="0">
                  <a:pos x="102" y="16"/>
                </a:cxn>
                <a:cxn ang="0">
                  <a:pos x="99" y="0"/>
                </a:cxn>
                <a:cxn ang="0">
                  <a:pos x="63" y="5"/>
                </a:cxn>
                <a:cxn ang="0">
                  <a:pos x="33" y="4"/>
                </a:cxn>
                <a:cxn ang="0">
                  <a:pos x="14" y="20"/>
                </a:cxn>
                <a:cxn ang="0">
                  <a:pos x="7" y="55"/>
                </a:cxn>
                <a:cxn ang="0">
                  <a:pos x="8" y="63"/>
                </a:cxn>
                <a:cxn ang="0">
                  <a:pos x="5" y="66"/>
                </a:cxn>
                <a:cxn ang="0">
                  <a:pos x="27" y="73"/>
                </a:cxn>
                <a:cxn ang="0">
                  <a:pos x="38" y="92"/>
                </a:cxn>
                <a:cxn ang="0">
                  <a:pos x="32" y="114"/>
                </a:cxn>
                <a:cxn ang="0">
                  <a:pos x="26" y="117"/>
                </a:cxn>
                <a:cxn ang="0">
                  <a:pos x="18" y="126"/>
                </a:cxn>
                <a:cxn ang="0">
                  <a:pos x="0" y="146"/>
                </a:cxn>
              </a:cxnLst>
              <a:rect l="0" t="0" r="r" b="b"/>
              <a:pathLst>
                <a:path w="247" h="172">
                  <a:moveTo>
                    <a:pt x="0" y="146"/>
                  </a:moveTo>
                  <a:lnTo>
                    <a:pt x="3" y="152"/>
                  </a:lnTo>
                  <a:lnTo>
                    <a:pt x="21" y="155"/>
                  </a:lnTo>
                  <a:lnTo>
                    <a:pt x="65" y="157"/>
                  </a:lnTo>
                  <a:lnTo>
                    <a:pt x="117" y="103"/>
                  </a:lnTo>
                  <a:lnTo>
                    <a:pt x="129" y="137"/>
                  </a:lnTo>
                  <a:lnTo>
                    <a:pt x="144" y="172"/>
                  </a:lnTo>
                  <a:lnTo>
                    <a:pt x="176" y="158"/>
                  </a:lnTo>
                  <a:lnTo>
                    <a:pt x="210" y="144"/>
                  </a:lnTo>
                  <a:lnTo>
                    <a:pt x="245" y="155"/>
                  </a:lnTo>
                  <a:lnTo>
                    <a:pt x="247" y="104"/>
                  </a:lnTo>
                  <a:lnTo>
                    <a:pt x="223" y="95"/>
                  </a:lnTo>
                  <a:lnTo>
                    <a:pt x="209" y="96"/>
                  </a:lnTo>
                  <a:lnTo>
                    <a:pt x="218" y="64"/>
                  </a:lnTo>
                  <a:lnTo>
                    <a:pt x="190" y="57"/>
                  </a:lnTo>
                  <a:lnTo>
                    <a:pt x="165" y="55"/>
                  </a:lnTo>
                  <a:lnTo>
                    <a:pt x="131" y="55"/>
                  </a:lnTo>
                  <a:lnTo>
                    <a:pt x="103" y="55"/>
                  </a:lnTo>
                  <a:lnTo>
                    <a:pt x="70" y="55"/>
                  </a:lnTo>
                  <a:lnTo>
                    <a:pt x="41" y="49"/>
                  </a:lnTo>
                  <a:lnTo>
                    <a:pt x="37" y="45"/>
                  </a:lnTo>
                  <a:lnTo>
                    <a:pt x="43" y="33"/>
                  </a:lnTo>
                  <a:lnTo>
                    <a:pt x="55" y="24"/>
                  </a:lnTo>
                  <a:lnTo>
                    <a:pt x="102" y="16"/>
                  </a:lnTo>
                  <a:lnTo>
                    <a:pt x="99" y="0"/>
                  </a:lnTo>
                  <a:lnTo>
                    <a:pt x="63" y="5"/>
                  </a:lnTo>
                  <a:lnTo>
                    <a:pt x="33" y="4"/>
                  </a:lnTo>
                  <a:lnTo>
                    <a:pt x="14" y="20"/>
                  </a:lnTo>
                  <a:lnTo>
                    <a:pt x="7" y="55"/>
                  </a:lnTo>
                  <a:lnTo>
                    <a:pt x="8" y="63"/>
                  </a:lnTo>
                  <a:lnTo>
                    <a:pt x="5" y="66"/>
                  </a:lnTo>
                  <a:lnTo>
                    <a:pt x="27" y="73"/>
                  </a:lnTo>
                  <a:lnTo>
                    <a:pt x="38" y="92"/>
                  </a:lnTo>
                  <a:lnTo>
                    <a:pt x="32" y="114"/>
                  </a:lnTo>
                  <a:lnTo>
                    <a:pt x="26" y="117"/>
                  </a:lnTo>
                  <a:lnTo>
                    <a:pt x="18" y="126"/>
                  </a:lnTo>
                  <a:lnTo>
                    <a:pt x="0" y="146"/>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45" name="30650298.625400.12513.87517.6255">
              <a:extLst>
                <a:ext uri="{FF2B5EF4-FFF2-40B4-BE49-F238E27FC236}">
                  <a16:creationId xmlns:a16="http://schemas.microsoft.com/office/drawing/2014/main" id="{1C1F096B-11BB-4084-8887-9241EC0E29E3}"/>
                </a:ext>
              </a:extLst>
            </p:cNvPr>
            <p:cNvSpPr>
              <a:spLocks noChangeAspect="1"/>
            </p:cNvSpPr>
            <p:nvPr/>
          </p:nvSpPr>
          <p:spPr bwMode="gray">
            <a:xfrm>
              <a:off x="6088240" y="3133425"/>
              <a:ext cx="281497" cy="227071"/>
            </a:xfrm>
            <a:custGeom>
              <a:avLst/>
              <a:gdLst/>
              <a:ahLst/>
              <a:cxnLst>
                <a:cxn ang="0">
                  <a:pos x="0" y="58"/>
                </a:cxn>
                <a:cxn ang="0">
                  <a:pos x="0" y="18"/>
                </a:cxn>
                <a:cxn ang="0">
                  <a:pos x="79" y="0"/>
                </a:cxn>
                <a:cxn ang="0">
                  <a:pos x="144" y="48"/>
                </a:cxn>
                <a:cxn ang="0">
                  <a:pos x="217" y="34"/>
                </a:cxn>
                <a:cxn ang="0">
                  <a:pos x="303" y="111"/>
                </a:cxn>
                <a:cxn ang="0">
                  <a:pos x="291" y="191"/>
                </a:cxn>
                <a:cxn ang="0">
                  <a:pos x="311" y="227"/>
                </a:cxn>
                <a:cxn ang="0">
                  <a:pos x="246" y="245"/>
                </a:cxn>
                <a:cxn ang="0">
                  <a:pos x="215" y="177"/>
                </a:cxn>
                <a:cxn ang="0">
                  <a:pos x="188" y="205"/>
                </a:cxn>
                <a:cxn ang="0">
                  <a:pos x="79" y="139"/>
                </a:cxn>
                <a:cxn ang="0">
                  <a:pos x="28" y="69"/>
                </a:cxn>
                <a:cxn ang="0">
                  <a:pos x="2" y="84"/>
                </a:cxn>
                <a:cxn ang="0">
                  <a:pos x="0" y="58"/>
                </a:cxn>
              </a:cxnLst>
              <a:rect l="0" t="0" r="r" b="b"/>
              <a:pathLst>
                <a:path w="311" h="245">
                  <a:moveTo>
                    <a:pt x="0" y="58"/>
                  </a:moveTo>
                  <a:lnTo>
                    <a:pt x="0" y="18"/>
                  </a:lnTo>
                  <a:lnTo>
                    <a:pt x="79" y="0"/>
                  </a:lnTo>
                  <a:lnTo>
                    <a:pt x="144" y="48"/>
                  </a:lnTo>
                  <a:lnTo>
                    <a:pt x="217" y="34"/>
                  </a:lnTo>
                  <a:lnTo>
                    <a:pt x="303" y="111"/>
                  </a:lnTo>
                  <a:lnTo>
                    <a:pt x="291" y="191"/>
                  </a:lnTo>
                  <a:lnTo>
                    <a:pt x="311" y="227"/>
                  </a:lnTo>
                  <a:lnTo>
                    <a:pt x="246" y="245"/>
                  </a:lnTo>
                  <a:lnTo>
                    <a:pt x="215" y="177"/>
                  </a:lnTo>
                  <a:lnTo>
                    <a:pt x="188" y="205"/>
                  </a:lnTo>
                  <a:lnTo>
                    <a:pt x="79" y="139"/>
                  </a:lnTo>
                  <a:lnTo>
                    <a:pt x="28" y="69"/>
                  </a:lnTo>
                  <a:lnTo>
                    <a:pt x="2" y="84"/>
                  </a:lnTo>
                  <a:lnTo>
                    <a:pt x="0" y="58"/>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46" name="30654305416.56.62511.8755">
              <a:extLst>
                <a:ext uri="{FF2B5EF4-FFF2-40B4-BE49-F238E27FC236}">
                  <a16:creationId xmlns:a16="http://schemas.microsoft.com/office/drawing/2014/main" id="{B9733328-9E26-4712-A128-E2C50FA20391}"/>
                </a:ext>
              </a:extLst>
            </p:cNvPr>
            <p:cNvSpPr>
              <a:spLocks noChangeAspect="1"/>
            </p:cNvSpPr>
            <p:nvPr/>
          </p:nvSpPr>
          <p:spPr bwMode="gray">
            <a:xfrm>
              <a:off x="6350715" y="3237706"/>
              <a:ext cx="190202" cy="107646"/>
            </a:xfrm>
            <a:custGeom>
              <a:avLst/>
              <a:gdLst/>
              <a:ahLst/>
              <a:cxnLst>
                <a:cxn ang="0">
                  <a:pos x="0" y="80"/>
                </a:cxn>
                <a:cxn ang="0">
                  <a:pos x="12" y="0"/>
                </a:cxn>
                <a:cxn ang="0">
                  <a:pos x="209" y="18"/>
                </a:cxn>
                <a:cxn ang="0">
                  <a:pos x="172" y="68"/>
                </a:cxn>
                <a:cxn ang="0">
                  <a:pos x="187" y="94"/>
                </a:cxn>
                <a:cxn ang="0">
                  <a:pos x="135" y="97"/>
                </a:cxn>
                <a:cxn ang="0">
                  <a:pos x="103" y="117"/>
                </a:cxn>
                <a:cxn ang="0">
                  <a:pos x="20" y="116"/>
                </a:cxn>
                <a:cxn ang="0">
                  <a:pos x="0" y="80"/>
                </a:cxn>
              </a:cxnLst>
              <a:rect l="0" t="0" r="r" b="b"/>
              <a:pathLst>
                <a:path w="209" h="117">
                  <a:moveTo>
                    <a:pt x="0" y="80"/>
                  </a:moveTo>
                  <a:lnTo>
                    <a:pt x="12" y="0"/>
                  </a:lnTo>
                  <a:lnTo>
                    <a:pt x="209" y="18"/>
                  </a:lnTo>
                  <a:lnTo>
                    <a:pt x="172" y="68"/>
                  </a:lnTo>
                  <a:lnTo>
                    <a:pt x="187" y="94"/>
                  </a:lnTo>
                  <a:lnTo>
                    <a:pt x="135" y="97"/>
                  </a:lnTo>
                  <a:lnTo>
                    <a:pt x="103" y="117"/>
                  </a:lnTo>
                  <a:lnTo>
                    <a:pt x="20" y="116"/>
                  </a:lnTo>
                  <a:lnTo>
                    <a:pt x="0" y="8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47" name="30655294.75404.6256.7512.6255">
              <a:extLst>
                <a:ext uri="{FF2B5EF4-FFF2-40B4-BE49-F238E27FC236}">
                  <a16:creationId xmlns:a16="http://schemas.microsoft.com/office/drawing/2014/main" id="{BEEC4D5E-A858-44FB-826D-F5692F87A743}"/>
                </a:ext>
              </a:extLst>
            </p:cNvPr>
            <p:cNvSpPr>
              <a:spLocks noChangeAspect="1"/>
            </p:cNvSpPr>
            <p:nvPr/>
          </p:nvSpPr>
          <p:spPr bwMode="gray">
            <a:xfrm>
              <a:off x="6158612" y="3071189"/>
              <a:ext cx="201614" cy="111011"/>
            </a:xfrm>
            <a:custGeom>
              <a:avLst/>
              <a:gdLst/>
              <a:ahLst/>
              <a:cxnLst>
                <a:cxn ang="0">
                  <a:pos x="0" y="69"/>
                </a:cxn>
                <a:cxn ang="0">
                  <a:pos x="35" y="19"/>
                </a:cxn>
                <a:cxn ang="0">
                  <a:pos x="80" y="33"/>
                </a:cxn>
                <a:cxn ang="0">
                  <a:pos x="157" y="0"/>
                </a:cxn>
                <a:cxn ang="0">
                  <a:pos x="202" y="7"/>
                </a:cxn>
                <a:cxn ang="0">
                  <a:pos x="224" y="25"/>
                </a:cxn>
                <a:cxn ang="0">
                  <a:pos x="138" y="103"/>
                </a:cxn>
                <a:cxn ang="0">
                  <a:pos x="65" y="117"/>
                </a:cxn>
                <a:cxn ang="0">
                  <a:pos x="0" y="69"/>
                </a:cxn>
              </a:cxnLst>
              <a:rect l="0" t="0" r="r" b="b"/>
              <a:pathLst>
                <a:path w="224" h="117">
                  <a:moveTo>
                    <a:pt x="0" y="69"/>
                  </a:moveTo>
                  <a:lnTo>
                    <a:pt x="35" y="19"/>
                  </a:lnTo>
                  <a:lnTo>
                    <a:pt x="80" y="33"/>
                  </a:lnTo>
                  <a:lnTo>
                    <a:pt x="157" y="0"/>
                  </a:lnTo>
                  <a:lnTo>
                    <a:pt x="202" y="7"/>
                  </a:lnTo>
                  <a:lnTo>
                    <a:pt x="224" y="25"/>
                  </a:lnTo>
                  <a:lnTo>
                    <a:pt x="138" y="103"/>
                  </a:lnTo>
                  <a:lnTo>
                    <a:pt x="65" y="117"/>
                  </a:lnTo>
                  <a:lnTo>
                    <a:pt x="0" y="6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48" name="30656279.25400.87514.12518.755">
              <a:extLst>
                <a:ext uri="{FF2B5EF4-FFF2-40B4-BE49-F238E27FC236}">
                  <a16:creationId xmlns:a16="http://schemas.microsoft.com/office/drawing/2014/main" id="{505B6ED1-C094-45C6-8D0C-D1A5D3D03784}"/>
                </a:ext>
              </a:extLst>
            </p:cNvPr>
            <p:cNvSpPr>
              <a:spLocks noChangeAspect="1"/>
            </p:cNvSpPr>
            <p:nvPr/>
          </p:nvSpPr>
          <p:spPr bwMode="gray">
            <a:xfrm>
              <a:off x="6097750" y="2822255"/>
              <a:ext cx="300518" cy="228752"/>
            </a:xfrm>
            <a:custGeom>
              <a:avLst/>
              <a:gdLst/>
              <a:ahLst/>
              <a:cxnLst>
                <a:cxn ang="0">
                  <a:pos x="0" y="45"/>
                </a:cxn>
                <a:cxn ang="0">
                  <a:pos x="19" y="177"/>
                </a:cxn>
                <a:cxn ang="0">
                  <a:pos x="194" y="243"/>
                </a:cxn>
                <a:cxn ang="0">
                  <a:pos x="278" y="252"/>
                </a:cxn>
                <a:cxn ang="0">
                  <a:pos x="333" y="186"/>
                </a:cxn>
                <a:cxn ang="0">
                  <a:pos x="305" y="110"/>
                </a:cxn>
                <a:cxn ang="0">
                  <a:pos x="326" y="91"/>
                </a:cxn>
                <a:cxn ang="0">
                  <a:pos x="312" y="33"/>
                </a:cxn>
                <a:cxn ang="0">
                  <a:pos x="186" y="14"/>
                </a:cxn>
                <a:cxn ang="0">
                  <a:pos x="103" y="0"/>
                </a:cxn>
                <a:cxn ang="0">
                  <a:pos x="0" y="45"/>
                </a:cxn>
              </a:cxnLst>
              <a:rect l="0" t="0" r="r" b="b"/>
              <a:pathLst>
                <a:path w="333" h="252">
                  <a:moveTo>
                    <a:pt x="0" y="45"/>
                  </a:moveTo>
                  <a:lnTo>
                    <a:pt x="19" y="177"/>
                  </a:lnTo>
                  <a:lnTo>
                    <a:pt x="194" y="243"/>
                  </a:lnTo>
                  <a:lnTo>
                    <a:pt x="278" y="252"/>
                  </a:lnTo>
                  <a:lnTo>
                    <a:pt x="333" y="186"/>
                  </a:lnTo>
                  <a:lnTo>
                    <a:pt x="305" y="110"/>
                  </a:lnTo>
                  <a:lnTo>
                    <a:pt x="326" y="91"/>
                  </a:lnTo>
                  <a:lnTo>
                    <a:pt x="312" y="33"/>
                  </a:lnTo>
                  <a:lnTo>
                    <a:pt x="186" y="14"/>
                  </a:lnTo>
                  <a:lnTo>
                    <a:pt x="103" y="0"/>
                  </a:lnTo>
                  <a:lnTo>
                    <a:pt x="0" y="4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49" name="30657295.5412.2510.5185">
              <a:extLst>
                <a:ext uri="{FF2B5EF4-FFF2-40B4-BE49-F238E27FC236}">
                  <a16:creationId xmlns:a16="http://schemas.microsoft.com/office/drawing/2014/main" id="{486C15CA-DA48-45BC-8798-8B2253B65D7C}"/>
                </a:ext>
              </a:extLst>
            </p:cNvPr>
            <p:cNvSpPr>
              <a:spLocks noChangeAspect="1"/>
            </p:cNvSpPr>
            <p:nvPr/>
          </p:nvSpPr>
          <p:spPr bwMode="gray">
            <a:xfrm>
              <a:off x="6282243" y="3082965"/>
              <a:ext cx="287202" cy="173246"/>
            </a:xfrm>
            <a:custGeom>
              <a:avLst/>
              <a:gdLst/>
              <a:ahLst/>
              <a:cxnLst>
                <a:cxn ang="0">
                  <a:pos x="0" y="91"/>
                </a:cxn>
                <a:cxn ang="0">
                  <a:pos x="86" y="168"/>
                </a:cxn>
                <a:cxn ang="0">
                  <a:pos x="283" y="186"/>
                </a:cxn>
                <a:cxn ang="0">
                  <a:pos x="317" y="122"/>
                </a:cxn>
                <a:cxn ang="0">
                  <a:pos x="268" y="117"/>
                </a:cxn>
                <a:cxn ang="0">
                  <a:pos x="262" y="61"/>
                </a:cxn>
                <a:cxn ang="0">
                  <a:pos x="218" y="0"/>
                </a:cxn>
                <a:cxn ang="0">
                  <a:pos x="86" y="13"/>
                </a:cxn>
                <a:cxn ang="0">
                  <a:pos x="0" y="91"/>
                </a:cxn>
              </a:cxnLst>
              <a:rect l="0" t="0" r="r" b="b"/>
              <a:pathLst>
                <a:path w="317" h="186">
                  <a:moveTo>
                    <a:pt x="0" y="91"/>
                  </a:moveTo>
                  <a:lnTo>
                    <a:pt x="86" y="168"/>
                  </a:lnTo>
                  <a:lnTo>
                    <a:pt x="283" y="186"/>
                  </a:lnTo>
                  <a:lnTo>
                    <a:pt x="317" y="122"/>
                  </a:lnTo>
                  <a:lnTo>
                    <a:pt x="268" y="117"/>
                  </a:lnTo>
                  <a:lnTo>
                    <a:pt x="262" y="61"/>
                  </a:lnTo>
                  <a:lnTo>
                    <a:pt x="218" y="0"/>
                  </a:lnTo>
                  <a:lnTo>
                    <a:pt x="86" y="13"/>
                  </a:lnTo>
                  <a:lnTo>
                    <a:pt x="0" y="91"/>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50" name="30658288.5396.758.2519.755">
              <a:extLst>
                <a:ext uri="{FF2B5EF4-FFF2-40B4-BE49-F238E27FC236}">
                  <a16:creationId xmlns:a16="http://schemas.microsoft.com/office/drawing/2014/main" id="{11CF4CB8-5E32-44B0-9090-2AFF24EB9EC5}"/>
                </a:ext>
              </a:extLst>
            </p:cNvPr>
            <p:cNvSpPr>
              <a:spLocks noChangeAspect="1"/>
            </p:cNvSpPr>
            <p:nvPr/>
          </p:nvSpPr>
          <p:spPr bwMode="gray">
            <a:xfrm>
              <a:off x="6031179" y="2970269"/>
              <a:ext cx="319535" cy="134559"/>
            </a:xfrm>
            <a:custGeom>
              <a:avLst/>
              <a:gdLst/>
              <a:ahLst/>
              <a:cxnLst>
                <a:cxn ang="0">
                  <a:pos x="0" y="35"/>
                </a:cxn>
                <a:cxn ang="0">
                  <a:pos x="61" y="101"/>
                </a:cxn>
                <a:cxn ang="0">
                  <a:pos x="160" y="100"/>
                </a:cxn>
                <a:cxn ang="0">
                  <a:pos x="174" y="130"/>
                </a:cxn>
                <a:cxn ang="0">
                  <a:pos x="219" y="144"/>
                </a:cxn>
                <a:cxn ang="0">
                  <a:pos x="296" y="111"/>
                </a:cxn>
                <a:cxn ang="0">
                  <a:pos x="341" y="118"/>
                </a:cxn>
                <a:cxn ang="0">
                  <a:pos x="351" y="88"/>
                </a:cxn>
                <a:cxn ang="0">
                  <a:pos x="267" y="79"/>
                </a:cxn>
                <a:cxn ang="0">
                  <a:pos x="92" y="13"/>
                </a:cxn>
                <a:cxn ang="0">
                  <a:pos x="75" y="0"/>
                </a:cxn>
                <a:cxn ang="0">
                  <a:pos x="0" y="35"/>
                </a:cxn>
              </a:cxnLst>
              <a:rect l="0" t="0" r="r" b="b"/>
              <a:pathLst>
                <a:path w="351" h="144">
                  <a:moveTo>
                    <a:pt x="0" y="35"/>
                  </a:moveTo>
                  <a:lnTo>
                    <a:pt x="61" y="101"/>
                  </a:lnTo>
                  <a:lnTo>
                    <a:pt x="160" y="100"/>
                  </a:lnTo>
                  <a:lnTo>
                    <a:pt x="174" y="130"/>
                  </a:lnTo>
                  <a:lnTo>
                    <a:pt x="219" y="144"/>
                  </a:lnTo>
                  <a:lnTo>
                    <a:pt x="296" y="111"/>
                  </a:lnTo>
                  <a:lnTo>
                    <a:pt x="341" y="118"/>
                  </a:lnTo>
                  <a:lnTo>
                    <a:pt x="351" y="88"/>
                  </a:lnTo>
                  <a:lnTo>
                    <a:pt x="267" y="79"/>
                  </a:lnTo>
                  <a:lnTo>
                    <a:pt x="92" y="13"/>
                  </a:lnTo>
                  <a:lnTo>
                    <a:pt x="75" y="0"/>
                  </a:lnTo>
                  <a:lnTo>
                    <a:pt x="0" y="3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grpSp>
      <p:sp>
        <p:nvSpPr>
          <p:cNvPr id="2" name="Oval 1">
            <a:extLst>
              <a:ext uri="{FF2B5EF4-FFF2-40B4-BE49-F238E27FC236}">
                <a16:creationId xmlns:a16="http://schemas.microsoft.com/office/drawing/2014/main" id="{D2CFA306-8DAD-4D82-8B8A-ACE804408547}"/>
              </a:ext>
            </a:extLst>
          </p:cNvPr>
          <p:cNvSpPr/>
          <p:nvPr/>
        </p:nvSpPr>
        <p:spPr>
          <a:xfrm>
            <a:off x="7136243" y="3861972"/>
            <a:ext cx="454139" cy="454139"/>
          </a:xfrm>
          <a:prstGeom prst="ellipse">
            <a:avLst/>
          </a:prstGeom>
          <a:solidFill>
            <a:srgbClr val="B0F36D"/>
          </a:solidFill>
          <a:ln>
            <a:solidFill>
              <a:srgbClr val="B0F3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1" name="Oval 250">
            <a:extLst>
              <a:ext uri="{FF2B5EF4-FFF2-40B4-BE49-F238E27FC236}">
                <a16:creationId xmlns:a16="http://schemas.microsoft.com/office/drawing/2014/main" id="{9967F057-30C0-49CA-9227-518C2193D02D}"/>
              </a:ext>
            </a:extLst>
          </p:cNvPr>
          <p:cNvSpPr/>
          <p:nvPr/>
        </p:nvSpPr>
        <p:spPr>
          <a:xfrm>
            <a:off x="5829784" y="4770255"/>
            <a:ext cx="454139" cy="454139"/>
          </a:xfrm>
          <a:prstGeom prst="ellipse">
            <a:avLst/>
          </a:prstGeom>
          <a:solidFill>
            <a:srgbClr val="B0F36D"/>
          </a:solidFill>
          <a:ln>
            <a:solidFill>
              <a:srgbClr val="B0F3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2" name="Oval 251">
            <a:extLst>
              <a:ext uri="{FF2B5EF4-FFF2-40B4-BE49-F238E27FC236}">
                <a16:creationId xmlns:a16="http://schemas.microsoft.com/office/drawing/2014/main" id="{D5EC4B12-0B33-4BB5-9E25-C3C6B52ED747}"/>
              </a:ext>
            </a:extLst>
          </p:cNvPr>
          <p:cNvSpPr/>
          <p:nvPr/>
        </p:nvSpPr>
        <p:spPr>
          <a:xfrm>
            <a:off x="7564194" y="1680184"/>
            <a:ext cx="454139" cy="454139"/>
          </a:xfrm>
          <a:prstGeom prst="ellipse">
            <a:avLst/>
          </a:prstGeom>
          <a:solidFill>
            <a:srgbClr val="B0F36D"/>
          </a:solidFill>
          <a:ln>
            <a:solidFill>
              <a:srgbClr val="B0F3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3" name="Oval 252">
            <a:extLst>
              <a:ext uri="{FF2B5EF4-FFF2-40B4-BE49-F238E27FC236}">
                <a16:creationId xmlns:a16="http://schemas.microsoft.com/office/drawing/2014/main" id="{777C4841-5313-4625-ABFC-01DD3C7C70FF}"/>
              </a:ext>
            </a:extLst>
          </p:cNvPr>
          <p:cNvSpPr/>
          <p:nvPr/>
        </p:nvSpPr>
        <p:spPr>
          <a:xfrm>
            <a:off x="2585914" y="3312006"/>
            <a:ext cx="454139" cy="454139"/>
          </a:xfrm>
          <a:prstGeom prst="ellipse">
            <a:avLst/>
          </a:prstGeom>
          <a:solidFill>
            <a:srgbClr val="B0F36D"/>
          </a:solidFill>
          <a:ln>
            <a:solidFill>
              <a:srgbClr val="B0F3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4" name="Oval 253">
            <a:extLst>
              <a:ext uri="{FF2B5EF4-FFF2-40B4-BE49-F238E27FC236}">
                <a16:creationId xmlns:a16="http://schemas.microsoft.com/office/drawing/2014/main" id="{336E9C5B-07B9-407E-B8F1-E2C87C44BE6F}"/>
              </a:ext>
            </a:extLst>
          </p:cNvPr>
          <p:cNvSpPr/>
          <p:nvPr/>
        </p:nvSpPr>
        <p:spPr>
          <a:xfrm>
            <a:off x="3322816" y="4251949"/>
            <a:ext cx="454139" cy="454139"/>
          </a:xfrm>
          <a:prstGeom prst="ellipse">
            <a:avLst/>
          </a:prstGeom>
          <a:solidFill>
            <a:srgbClr val="B0F36D"/>
          </a:solidFill>
          <a:ln>
            <a:solidFill>
              <a:srgbClr val="B0F3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5" name="Oval 254">
            <a:extLst>
              <a:ext uri="{FF2B5EF4-FFF2-40B4-BE49-F238E27FC236}">
                <a16:creationId xmlns:a16="http://schemas.microsoft.com/office/drawing/2014/main" id="{F1799AFC-9F05-4356-82F4-E7578C840E7A}"/>
              </a:ext>
            </a:extLst>
          </p:cNvPr>
          <p:cNvSpPr/>
          <p:nvPr/>
        </p:nvSpPr>
        <p:spPr>
          <a:xfrm>
            <a:off x="1773627" y="2539679"/>
            <a:ext cx="454139" cy="454139"/>
          </a:xfrm>
          <a:prstGeom prst="ellipse">
            <a:avLst/>
          </a:prstGeom>
          <a:solidFill>
            <a:srgbClr val="B0F36D"/>
          </a:solidFill>
          <a:ln>
            <a:solidFill>
              <a:srgbClr val="B0F3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012E1246-BD1F-4863-8414-256C1D003D0B}"/>
              </a:ext>
            </a:extLst>
          </p:cNvPr>
          <p:cNvSpPr/>
          <p:nvPr/>
        </p:nvSpPr>
        <p:spPr>
          <a:xfrm>
            <a:off x="7645369" y="3425248"/>
            <a:ext cx="3824262" cy="1439783"/>
          </a:xfrm>
          <a:prstGeom prst="rect">
            <a:avLst/>
          </a:prstGeom>
          <a:solidFill>
            <a:srgbClr val="FFFFFF">
              <a:alpha val="56078"/>
            </a:srgbClr>
          </a:solidFill>
          <a:ln>
            <a:solidFill>
              <a:srgbClr val="ADADAD"/>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b="1">
                <a:solidFill>
                  <a:schemeClr val="tx1"/>
                </a:solidFill>
                <a:latin typeface="Roboto" panose="02000000000000000000" pitchFamily="2" charset="0"/>
                <a:ea typeface="Roboto" panose="02000000000000000000" pitchFamily="2" charset="0"/>
              </a:rPr>
              <a:t>Middle East – Oman</a:t>
            </a:r>
          </a:p>
          <a:p>
            <a:r>
              <a:rPr lang="en-US" sz="1400">
                <a:solidFill>
                  <a:schemeClr val="tx1"/>
                </a:solidFill>
                <a:effectLst/>
                <a:latin typeface="Roboto" panose="02000000000000000000" pitchFamily="2" charset="0"/>
                <a:ea typeface="Roboto" panose="02000000000000000000" pitchFamily="2" charset="0"/>
                <a:cs typeface="Arial" panose="020B0604020202020204" pitchFamily="34" charset="0"/>
              </a:rPr>
              <a:t>Aerial methane survey characterizing O&amp;G site-level emission distribution and potentially also regional-level fluxes. First in-depth, independent, study of O&amp;G methane emissions on the Arabian Peninsula.</a:t>
            </a:r>
          </a:p>
          <a:p>
            <a:endParaRPr lang="en-US" sz="1600" b="1">
              <a:solidFill>
                <a:schemeClr val="tx1"/>
              </a:solidFill>
              <a:latin typeface="Roboto" panose="02000000000000000000" pitchFamily="2" charset="0"/>
              <a:ea typeface="Roboto" panose="02000000000000000000" pitchFamily="2" charset="0"/>
            </a:endParaRPr>
          </a:p>
        </p:txBody>
      </p:sp>
      <p:sp>
        <p:nvSpPr>
          <p:cNvPr id="256" name="Rectangle 255">
            <a:extLst>
              <a:ext uri="{FF2B5EF4-FFF2-40B4-BE49-F238E27FC236}">
                <a16:creationId xmlns:a16="http://schemas.microsoft.com/office/drawing/2014/main" id="{C181557C-8C2F-402A-ACA1-7591804BED5C}"/>
              </a:ext>
            </a:extLst>
          </p:cNvPr>
          <p:cNvSpPr/>
          <p:nvPr/>
        </p:nvSpPr>
        <p:spPr>
          <a:xfrm>
            <a:off x="5217114" y="5240961"/>
            <a:ext cx="3998023" cy="1514077"/>
          </a:xfrm>
          <a:prstGeom prst="rect">
            <a:avLst/>
          </a:prstGeom>
          <a:solidFill>
            <a:srgbClr val="FFFFFF">
              <a:alpha val="56078"/>
            </a:srgbClr>
          </a:solidFill>
          <a:ln>
            <a:solidFill>
              <a:srgbClr val="ADADAD"/>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spcBef>
                <a:spcPts val="0"/>
              </a:spcBef>
              <a:spcAft>
                <a:spcPts val="1000"/>
              </a:spcAft>
            </a:pPr>
            <a:r>
              <a:rPr lang="en-US" sz="1400" b="1">
                <a:solidFill>
                  <a:schemeClr val="tx1"/>
                </a:solidFill>
                <a:effectLst/>
                <a:latin typeface="Roboto" panose="02000000000000000000" pitchFamily="2" charset="0"/>
                <a:ea typeface="Roboto" panose="02000000000000000000" pitchFamily="2" charset="0"/>
                <a:cs typeface="Arial" panose="020B0604020202020204" pitchFamily="34" charset="0"/>
              </a:rPr>
              <a:t>Central Africa</a:t>
            </a:r>
            <a:br>
              <a:rPr lang="en-US" sz="1600">
                <a:solidFill>
                  <a:schemeClr val="tx1"/>
                </a:solidFill>
                <a:effectLst/>
                <a:latin typeface="Roboto" panose="02000000000000000000" pitchFamily="2" charset="0"/>
                <a:ea typeface="Roboto" panose="02000000000000000000" pitchFamily="2" charset="0"/>
                <a:cs typeface="Arial" panose="020B0604020202020204" pitchFamily="34" charset="0"/>
              </a:rPr>
            </a:br>
            <a:r>
              <a:rPr lang="en-US" sz="1400">
                <a:solidFill>
                  <a:schemeClr val="tx1"/>
                </a:solidFill>
                <a:effectLst/>
                <a:latin typeface="Roboto" panose="02000000000000000000" pitchFamily="2" charset="0"/>
                <a:ea typeface="Roboto" panose="02000000000000000000" pitchFamily="2" charset="0"/>
                <a:cs typeface="Arial" panose="020B0604020202020204" pitchFamily="34" charset="0"/>
              </a:rPr>
              <a:t>Offshore O&amp;G methane study focusing on Angola with potential measurements in Congo and Gabon. The region has been identified as a flaring hotspot.</a:t>
            </a:r>
          </a:p>
          <a:p>
            <a:pPr marR="0" lvl="0">
              <a:spcBef>
                <a:spcPts val="0"/>
              </a:spcBef>
              <a:spcAft>
                <a:spcPts val="1000"/>
              </a:spcAft>
            </a:pPr>
            <a:r>
              <a:rPr lang="en-US" sz="1100" i="1">
                <a:solidFill>
                  <a:schemeClr val="tx1"/>
                </a:solidFill>
                <a:latin typeface="Roboto" panose="02000000000000000000" pitchFamily="2" charset="0"/>
                <a:ea typeface="Roboto" panose="02000000000000000000" pitchFamily="2" charset="0"/>
                <a:cs typeface="Arial" panose="020B0604020202020204" pitchFamily="34" charset="0"/>
              </a:rPr>
              <a:t>Partially </a:t>
            </a:r>
            <a:r>
              <a:rPr lang="en-US" sz="1100" i="1" err="1">
                <a:solidFill>
                  <a:schemeClr val="tx1"/>
                </a:solidFill>
                <a:latin typeface="Roboto" panose="02000000000000000000" pitchFamily="2" charset="0"/>
                <a:ea typeface="Roboto" panose="02000000000000000000" pitchFamily="2" charset="0"/>
                <a:cs typeface="Arial" panose="020B0604020202020204" pitchFamily="34" charset="0"/>
              </a:rPr>
              <a:t>unded</a:t>
            </a:r>
            <a:r>
              <a:rPr lang="en-US" sz="1100" i="1">
                <a:solidFill>
                  <a:schemeClr val="tx1"/>
                </a:solidFill>
                <a:latin typeface="Roboto" panose="02000000000000000000" pitchFamily="2" charset="0"/>
                <a:ea typeface="Roboto" panose="02000000000000000000" pitchFamily="2" charset="0"/>
                <a:cs typeface="Arial" panose="020B0604020202020204" pitchFamily="34" charset="0"/>
              </a:rPr>
              <a:t> by CCAC Methane Science Studies</a:t>
            </a:r>
            <a:endParaRPr lang="en-US" sz="1100" i="1">
              <a:solidFill>
                <a:schemeClr val="tx1"/>
              </a:solidFill>
              <a:effectLst/>
              <a:latin typeface="Roboto" panose="02000000000000000000" pitchFamily="2" charset="0"/>
              <a:ea typeface="Roboto" panose="02000000000000000000" pitchFamily="2" charset="0"/>
              <a:cs typeface="Arial" panose="020B0604020202020204" pitchFamily="34" charset="0"/>
            </a:endParaRPr>
          </a:p>
        </p:txBody>
      </p:sp>
      <p:sp>
        <p:nvSpPr>
          <p:cNvPr id="257" name="Rectangle 256">
            <a:extLst>
              <a:ext uri="{FF2B5EF4-FFF2-40B4-BE49-F238E27FC236}">
                <a16:creationId xmlns:a16="http://schemas.microsoft.com/office/drawing/2014/main" id="{78A006A1-099F-42D4-8BC6-87B19E0A0BED}"/>
              </a:ext>
            </a:extLst>
          </p:cNvPr>
          <p:cNvSpPr/>
          <p:nvPr/>
        </p:nvSpPr>
        <p:spPr>
          <a:xfrm>
            <a:off x="8054298" y="1158980"/>
            <a:ext cx="3824262" cy="1404150"/>
          </a:xfrm>
          <a:prstGeom prst="rect">
            <a:avLst/>
          </a:prstGeom>
          <a:solidFill>
            <a:srgbClr val="FFFFFF">
              <a:alpha val="56078"/>
            </a:srgbClr>
          </a:solidFill>
          <a:ln>
            <a:solidFill>
              <a:srgbClr val="ADADAD"/>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spcBef>
                <a:spcPts val="0"/>
              </a:spcBef>
              <a:spcAft>
                <a:spcPts val="1000"/>
              </a:spcAft>
            </a:pPr>
            <a:r>
              <a:rPr lang="en-US" sz="1400" b="1">
                <a:solidFill>
                  <a:schemeClr val="tx1"/>
                </a:solidFill>
                <a:effectLst/>
                <a:latin typeface="Roboto" panose="02000000000000000000" pitchFamily="2" charset="0"/>
                <a:ea typeface="Roboto" panose="02000000000000000000" pitchFamily="2" charset="0"/>
                <a:cs typeface="Arial" panose="020B0604020202020204" pitchFamily="34" charset="0"/>
              </a:rPr>
              <a:t>Arctic region of Russia</a:t>
            </a:r>
            <a:br>
              <a:rPr lang="en-US" sz="1400" b="1">
                <a:solidFill>
                  <a:schemeClr val="tx1"/>
                </a:solidFill>
                <a:effectLst/>
                <a:latin typeface="Roboto" panose="02000000000000000000" pitchFamily="2" charset="0"/>
                <a:ea typeface="Roboto" panose="02000000000000000000" pitchFamily="2" charset="0"/>
                <a:cs typeface="Arial" panose="020B0604020202020204" pitchFamily="34" charset="0"/>
              </a:rPr>
            </a:br>
            <a:r>
              <a:rPr lang="en-US" sz="1400">
                <a:solidFill>
                  <a:schemeClr val="tx1"/>
                </a:solidFill>
                <a:effectLst/>
                <a:latin typeface="Roboto" panose="02000000000000000000" pitchFamily="2" charset="0"/>
                <a:ea typeface="Roboto" panose="02000000000000000000" pitchFamily="2" charset="0"/>
                <a:cs typeface="Arial" panose="020B0604020202020204" pitchFamily="34" charset="0"/>
              </a:rPr>
              <a:t>Long-term, continuous measurements of methane, ethane, and carbon dioxide at a fixed station in Western Siberia. Remote determination of average methane concentrations and their sources and sinks.</a:t>
            </a:r>
          </a:p>
        </p:txBody>
      </p:sp>
      <p:sp>
        <p:nvSpPr>
          <p:cNvPr id="258" name="Rectangle 257">
            <a:extLst>
              <a:ext uri="{FF2B5EF4-FFF2-40B4-BE49-F238E27FC236}">
                <a16:creationId xmlns:a16="http://schemas.microsoft.com/office/drawing/2014/main" id="{862291CA-D57A-4783-8AFB-A09224428828}"/>
              </a:ext>
            </a:extLst>
          </p:cNvPr>
          <p:cNvSpPr/>
          <p:nvPr/>
        </p:nvSpPr>
        <p:spPr>
          <a:xfrm>
            <a:off x="-27036" y="3846641"/>
            <a:ext cx="3259308" cy="1224439"/>
          </a:xfrm>
          <a:prstGeom prst="rect">
            <a:avLst/>
          </a:prstGeom>
          <a:solidFill>
            <a:srgbClr val="FFFFFF">
              <a:alpha val="56078"/>
            </a:srgbClr>
          </a:solidFill>
          <a:ln>
            <a:solidFill>
              <a:srgbClr val="ADADAD"/>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spcBef>
                <a:spcPts val="0"/>
              </a:spcBef>
              <a:spcAft>
                <a:spcPts val="1000"/>
              </a:spcAft>
            </a:pPr>
            <a:r>
              <a:rPr lang="en-US" sz="1400" b="1" dirty="0">
                <a:solidFill>
                  <a:schemeClr val="tx1"/>
                </a:solidFill>
                <a:effectLst/>
                <a:latin typeface="Roboto" panose="02000000000000000000" pitchFamily="2" charset="0"/>
                <a:ea typeface="Roboto" panose="02000000000000000000" pitchFamily="2" charset="0"/>
                <a:cs typeface="Arial" panose="020B0604020202020204" pitchFamily="34" charset="0"/>
              </a:rPr>
              <a:t>US - Permian synthesis study</a:t>
            </a:r>
            <a:br>
              <a:rPr lang="en-US" sz="1400" b="1" dirty="0">
                <a:solidFill>
                  <a:schemeClr val="tx1"/>
                </a:solidFill>
                <a:effectLst/>
                <a:latin typeface="Roboto" panose="02000000000000000000" pitchFamily="2" charset="0"/>
                <a:ea typeface="Roboto" panose="02000000000000000000" pitchFamily="2" charset="0"/>
                <a:cs typeface="Arial" panose="020B0604020202020204" pitchFamily="34" charset="0"/>
              </a:rPr>
            </a:br>
            <a:r>
              <a:rPr lang="en-US" sz="1400" dirty="0">
                <a:solidFill>
                  <a:schemeClr val="tx1"/>
                </a:solidFill>
                <a:effectLst/>
                <a:latin typeface="Roboto" panose="02000000000000000000" pitchFamily="2" charset="0"/>
                <a:ea typeface="Roboto" panose="02000000000000000000" pitchFamily="2" charset="0"/>
                <a:cs typeface="Arial" panose="020B0604020202020204" pitchFamily="34" charset="0"/>
              </a:rPr>
              <a:t>Catalyze a synthesis of as much of the data collected to date as is possible, allowing multiscale data to be compared and contrasted. </a:t>
            </a:r>
          </a:p>
        </p:txBody>
      </p:sp>
      <p:sp>
        <p:nvSpPr>
          <p:cNvPr id="261" name="Rectangle 260">
            <a:extLst>
              <a:ext uri="{FF2B5EF4-FFF2-40B4-BE49-F238E27FC236}">
                <a16:creationId xmlns:a16="http://schemas.microsoft.com/office/drawing/2014/main" id="{B13C55A5-C4C0-492A-8631-C02A42302AEB}"/>
              </a:ext>
            </a:extLst>
          </p:cNvPr>
          <p:cNvSpPr/>
          <p:nvPr/>
        </p:nvSpPr>
        <p:spPr>
          <a:xfrm>
            <a:off x="1216575" y="5357941"/>
            <a:ext cx="3095224" cy="1292687"/>
          </a:xfrm>
          <a:prstGeom prst="rect">
            <a:avLst/>
          </a:prstGeom>
          <a:solidFill>
            <a:srgbClr val="FFFFFF">
              <a:alpha val="56078"/>
            </a:srgbClr>
          </a:solidFill>
          <a:ln>
            <a:solidFill>
              <a:srgbClr val="ADADAD"/>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spcBef>
                <a:spcPts val="0"/>
              </a:spcBef>
            </a:pPr>
            <a:r>
              <a:rPr lang="en-US" sz="1400" b="1" dirty="0">
                <a:solidFill>
                  <a:schemeClr val="tx1"/>
                </a:solidFill>
                <a:effectLst/>
                <a:latin typeface="Roboto" panose="02000000000000000000" pitchFamily="2" charset="0"/>
                <a:ea typeface="Roboto" panose="02000000000000000000" pitchFamily="2" charset="0"/>
                <a:cs typeface="Arial" panose="020B0604020202020204" pitchFamily="34" charset="0"/>
              </a:rPr>
              <a:t>South America – Colombia </a:t>
            </a:r>
          </a:p>
          <a:p>
            <a:pPr marR="0" lvl="0">
              <a:spcBef>
                <a:spcPts val="0"/>
              </a:spcBef>
            </a:pPr>
            <a:r>
              <a:rPr lang="en-US" sz="1400" dirty="0">
                <a:solidFill>
                  <a:schemeClr val="tx1"/>
                </a:solidFill>
                <a:effectLst/>
                <a:latin typeface="Roboto" panose="02000000000000000000" pitchFamily="2" charset="0"/>
                <a:ea typeface="Roboto" panose="02000000000000000000" pitchFamily="2" charset="0"/>
                <a:cs typeface="Arial" panose="020B0604020202020204" pitchFamily="34" charset="0"/>
              </a:rPr>
              <a:t>Combining measurements at regional, site and source level, characterize emissions from oil and gas production in Colombia. </a:t>
            </a:r>
          </a:p>
        </p:txBody>
      </p:sp>
      <p:sp>
        <p:nvSpPr>
          <p:cNvPr id="262" name="Rectangle 261">
            <a:extLst>
              <a:ext uri="{FF2B5EF4-FFF2-40B4-BE49-F238E27FC236}">
                <a16:creationId xmlns:a16="http://schemas.microsoft.com/office/drawing/2014/main" id="{475A96CE-81DC-4796-909E-DE74568A9CBB}"/>
              </a:ext>
            </a:extLst>
          </p:cNvPr>
          <p:cNvSpPr/>
          <p:nvPr/>
        </p:nvSpPr>
        <p:spPr>
          <a:xfrm>
            <a:off x="112978" y="1466588"/>
            <a:ext cx="3703422" cy="1029165"/>
          </a:xfrm>
          <a:prstGeom prst="rect">
            <a:avLst/>
          </a:prstGeom>
          <a:solidFill>
            <a:srgbClr val="FFFFFF">
              <a:alpha val="56078"/>
            </a:srgbClr>
          </a:solidFill>
          <a:ln>
            <a:solidFill>
              <a:srgbClr val="ADADAD"/>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spcBef>
                <a:spcPts val="0"/>
              </a:spcBef>
              <a:spcAft>
                <a:spcPts val="1000"/>
              </a:spcAft>
            </a:pPr>
            <a:r>
              <a:rPr lang="en-US" sz="1400" b="1" dirty="0">
                <a:solidFill>
                  <a:schemeClr val="tx1"/>
                </a:solidFill>
                <a:effectLst/>
                <a:latin typeface="Roboto" panose="02000000000000000000" pitchFamily="2" charset="0"/>
                <a:ea typeface="Roboto" panose="02000000000000000000" pitchFamily="2" charset="0"/>
                <a:cs typeface="Arial" panose="020B0604020202020204" pitchFamily="34" charset="0"/>
              </a:rPr>
              <a:t>Canada - Root </a:t>
            </a:r>
            <a:r>
              <a:rPr lang="en-US" sz="1400" b="1">
                <a:solidFill>
                  <a:schemeClr val="tx1"/>
                </a:solidFill>
                <a:effectLst/>
                <a:latin typeface="Roboto" panose="02000000000000000000" pitchFamily="2" charset="0"/>
                <a:ea typeface="Roboto" panose="02000000000000000000" pitchFamily="2" charset="0"/>
                <a:cs typeface="Arial" panose="020B0604020202020204" pitchFamily="34" charset="0"/>
              </a:rPr>
              <a:t>Cause Analysis</a:t>
            </a:r>
            <a:endParaRPr lang="en-US" sz="1400" b="1" dirty="0">
              <a:solidFill>
                <a:schemeClr val="tx1"/>
              </a:solidFill>
              <a:effectLst/>
              <a:latin typeface="Roboto" panose="02000000000000000000" pitchFamily="2" charset="0"/>
              <a:ea typeface="Roboto" panose="02000000000000000000" pitchFamily="2" charset="0"/>
              <a:cs typeface="Arial" panose="020B0604020202020204" pitchFamily="34" charset="0"/>
            </a:endParaRPr>
          </a:p>
          <a:p>
            <a:pPr marR="0" lvl="0">
              <a:spcBef>
                <a:spcPts val="0"/>
              </a:spcBef>
              <a:spcAft>
                <a:spcPts val="1000"/>
              </a:spcAft>
            </a:pPr>
            <a:r>
              <a:rPr lang="en-US" sz="1400" dirty="0">
                <a:solidFill>
                  <a:schemeClr val="tx1"/>
                </a:solidFill>
                <a:effectLst/>
                <a:latin typeface="Roboto" panose="02000000000000000000" pitchFamily="2" charset="0"/>
                <a:ea typeface="Roboto" panose="02000000000000000000" pitchFamily="2" charset="0"/>
                <a:cs typeface="Arial" panose="020B0604020202020204" pitchFamily="34" charset="0"/>
              </a:rPr>
              <a:t>Reconciling methane emission inventories with site-level measurements</a:t>
            </a:r>
            <a:r>
              <a:rPr lang="en-US" sz="1400" b="1" dirty="0">
                <a:solidFill>
                  <a:schemeClr val="tx1"/>
                </a:solidFill>
                <a:latin typeface="Roboto" panose="02000000000000000000" pitchFamily="2" charset="0"/>
                <a:ea typeface="Roboto" panose="02000000000000000000" pitchFamily="2" charset="0"/>
                <a:cs typeface="Arial" panose="020B0604020202020204" pitchFamily="34" charset="0"/>
              </a:rPr>
              <a:t>. </a:t>
            </a:r>
            <a:endParaRPr lang="en-US" sz="1400" dirty="0">
              <a:solidFill>
                <a:schemeClr val="tx1"/>
              </a:solidFill>
              <a:effectLst/>
              <a:latin typeface="Roboto" panose="02000000000000000000" pitchFamily="2" charset="0"/>
              <a:ea typeface="Roboto" panose="02000000000000000000" pitchFamily="2" charset="0"/>
              <a:cs typeface="Arial" panose="020B0604020202020204" pitchFamily="34" charset="0"/>
            </a:endParaRPr>
          </a:p>
        </p:txBody>
      </p:sp>
      <p:sp>
        <p:nvSpPr>
          <p:cNvPr id="263" name="Oval 262">
            <a:extLst>
              <a:ext uri="{FF2B5EF4-FFF2-40B4-BE49-F238E27FC236}">
                <a16:creationId xmlns:a16="http://schemas.microsoft.com/office/drawing/2014/main" id="{5BE6A050-A631-4635-95D5-B748E645496E}"/>
              </a:ext>
            </a:extLst>
          </p:cNvPr>
          <p:cNvSpPr/>
          <p:nvPr/>
        </p:nvSpPr>
        <p:spPr>
          <a:xfrm>
            <a:off x="6588175" y="3059690"/>
            <a:ext cx="454139" cy="454139"/>
          </a:xfrm>
          <a:prstGeom prst="ellipse">
            <a:avLst/>
          </a:prstGeom>
          <a:solidFill>
            <a:srgbClr val="B0F36D"/>
          </a:solidFill>
          <a:ln>
            <a:solidFill>
              <a:srgbClr val="B0F3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4" name="Rectangle 263">
            <a:extLst>
              <a:ext uri="{FF2B5EF4-FFF2-40B4-BE49-F238E27FC236}">
                <a16:creationId xmlns:a16="http://schemas.microsoft.com/office/drawing/2014/main" id="{244DAD5F-A429-42B8-B0F8-194CFA27BAB8}"/>
              </a:ext>
            </a:extLst>
          </p:cNvPr>
          <p:cNvSpPr/>
          <p:nvPr/>
        </p:nvSpPr>
        <p:spPr>
          <a:xfrm>
            <a:off x="3971272" y="3536700"/>
            <a:ext cx="2868254" cy="1218247"/>
          </a:xfrm>
          <a:prstGeom prst="rect">
            <a:avLst/>
          </a:prstGeom>
          <a:solidFill>
            <a:srgbClr val="FFFFFF">
              <a:alpha val="56078"/>
            </a:srgbClr>
          </a:solidFill>
          <a:ln>
            <a:solidFill>
              <a:srgbClr val="ADADAD"/>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spcBef>
                <a:spcPts val="0"/>
              </a:spcBef>
            </a:pPr>
            <a:r>
              <a:rPr lang="en-US" sz="1400" b="1">
                <a:solidFill>
                  <a:schemeClr val="tx1"/>
                </a:solidFill>
                <a:effectLst/>
                <a:latin typeface="Roboto" panose="02000000000000000000" pitchFamily="2" charset="0"/>
                <a:ea typeface="Roboto" panose="02000000000000000000" pitchFamily="2" charset="0"/>
                <a:cs typeface="Arial" panose="020B0604020202020204" pitchFamily="34" charset="0"/>
              </a:rPr>
              <a:t>Azerbaijan</a:t>
            </a:r>
          </a:p>
          <a:p>
            <a:pPr marR="0" lvl="0">
              <a:spcBef>
                <a:spcPts val="0"/>
              </a:spcBef>
            </a:pPr>
            <a:r>
              <a:rPr lang="en-US" sz="1400">
                <a:solidFill>
                  <a:schemeClr val="tx1"/>
                </a:solidFill>
                <a:effectLst/>
                <a:latin typeface="Roboto" panose="02000000000000000000" pitchFamily="2" charset="0"/>
                <a:ea typeface="Roboto" panose="02000000000000000000" pitchFamily="2" charset="0"/>
                <a:cs typeface="Arial" panose="020B0604020202020204" pitchFamily="34" charset="0"/>
              </a:rPr>
              <a:t>Aerial measurements and flux estimates from off- and onshore facilities.</a:t>
            </a:r>
            <a:endParaRPr lang="en-US" sz="1400">
              <a:solidFill>
                <a:schemeClr val="tx1"/>
              </a:solidFill>
              <a:latin typeface="Roboto" panose="02000000000000000000" pitchFamily="2" charset="0"/>
              <a:ea typeface="Roboto" panose="02000000000000000000" pitchFamily="2" charset="0"/>
              <a:cs typeface="Arial" panose="020B0604020202020204" pitchFamily="34" charset="0"/>
            </a:endParaRPr>
          </a:p>
          <a:p>
            <a:pPr marR="0" lvl="0">
              <a:spcBef>
                <a:spcPts val="0"/>
              </a:spcBef>
            </a:pPr>
            <a:r>
              <a:rPr lang="en-US" sz="1100" i="1">
                <a:solidFill>
                  <a:schemeClr val="tx1"/>
                </a:solidFill>
                <a:latin typeface="Roboto" panose="02000000000000000000" pitchFamily="2" charset="0"/>
                <a:ea typeface="Roboto" panose="02000000000000000000" pitchFamily="2" charset="0"/>
                <a:cs typeface="Arial" panose="020B0604020202020204" pitchFamily="34" charset="0"/>
              </a:rPr>
              <a:t>Partially f</a:t>
            </a:r>
            <a:r>
              <a:rPr lang="en-US" sz="1100" i="1">
                <a:solidFill>
                  <a:schemeClr val="tx1"/>
                </a:solidFill>
                <a:effectLst/>
                <a:latin typeface="Roboto" panose="02000000000000000000" pitchFamily="2" charset="0"/>
                <a:ea typeface="Roboto" panose="02000000000000000000" pitchFamily="2" charset="0"/>
                <a:cs typeface="Arial" panose="020B0604020202020204" pitchFamily="34" charset="0"/>
              </a:rPr>
              <a:t>unded by CCAC Methane Science Studies </a:t>
            </a:r>
            <a:r>
              <a:rPr lang="en-US" sz="1100">
                <a:solidFill>
                  <a:schemeClr val="tx1"/>
                </a:solidFill>
                <a:effectLst/>
                <a:latin typeface="Roboto" panose="02000000000000000000" pitchFamily="2" charset="0"/>
                <a:ea typeface="Roboto" panose="02000000000000000000" pitchFamily="2" charset="0"/>
                <a:cs typeface="Arial" panose="020B0604020202020204" pitchFamily="34" charset="0"/>
              </a:rPr>
              <a:t> </a:t>
            </a:r>
          </a:p>
        </p:txBody>
      </p:sp>
      <p:sp>
        <p:nvSpPr>
          <p:cNvPr id="265" name="Rectangle 264">
            <a:extLst>
              <a:ext uri="{FF2B5EF4-FFF2-40B4-BE49-F238E27FC236}">
                <a16:creationId xmlns:a16="http://schemas.microsoft.com/office/drawing/2014/main" id="{4243657A-649A-40DE-A711-D09E223137C1}"/>
              </a:ext>
            </a:extLst>
          </p:cNvPr>
          <p:cNvSpPr/>
          <p:nvPr/>
        </p:nvSpPr>
        <p:spPr>
          <a:xfrm>
            <a:off x="4526963" y="1170034"/>
            <a:ext cx="3009862" cy="1539983"/>
          </a:xfrm>
          <a:prstGeom prst="rect">
            <a:avLst/>
          </a:prstGeom>
          <a:solidFill>
            <a:srgbClr val="FFFFFF">
              <a:alpha val="56078"/>
            </a:srgbClr>
          </a:solidFill>
          <a:ln>
            <a:solidFill>
              <a:srgbClr val="ADADAD"/>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000"/>
              </a:spcAft>
            </a:pPr>
            <a:r>
              <a:rPr lang="en-US" sz="1400" b="1">
                <a:solidFill>
                  <a:schemeClr val="tx1"/>
                </a:solidFill>
                <a:effectLst/>
                <a:latin typeface="Roboto" panose="02000000000000000000" pitchFamily="2" charset="0"/>
                <a:ea typeface="Roboto" panose="02000000000000000000" pitchFamily="2" charset="0"/>
                <a:cs typeface="Arial" panose="020B0604020202020204" pitchFamily="34" charset="0"/>
              </a:rPr>
              <a:t>Coal</a:t>
            </a:r>
            <a:br>
              <a:rPr lang="en-US" sz="1400" b="1">
                <a:solidFill>
                  <a:schemeClr val="tx1"/>
                </a:solidFill>
                <a:effectLst/>
                <a:latin typeface="Roboto" panose="02000000000000000000" pitchFamily="2" charset="0"/>
                <a:ea typeface="Roboto" panose="02000000000000000000" pitchFamily="2" charset="0"/>
                <a:cs typeface="Arial" panose="020B0604020202020204" pitchFamily="34" charset="0"/>
              </a:rPr>
            </a:br>
            <a:r>
              <a:rPr lang="en-US" sz="1400">
                <a:solidFill>
                  <a:schemeClr val="tx1"/>
                </a:solidFill>
                <a:latin typeface="Roboto" panose="02000000000000000000" pitchFamily="2" charset="0"/>
                <a:ea typeface="Calibri" panose="020F0502020204030204" pitchFamily="34" charset="0"/>
                <a:cs typeface="Arial" panose="020B0604020202020204" pitchFamily="34" charset="0"/>
              </a:rPr>
              <a:t>Direct measurements of coal emissions globally, connecting bottom-up, top-down, and satellite measurements to develop emissions estimates for individual mines.</a:t>
            </a:r>
            <a:endParaRPr lang="en-US" sz="1400" b="1">
              <a:solidFill>
                <a:schemeClr val="tx1"/>
              </a:solidFill>
            </a:endParaRPr>
          </a:p>
          <a:p>
            <a:pPr marR="0" lvl="0">
              <a:spcBef>
                <a:spcPts val="0"/>
              </a:spcBef>
              <a:spcAft>
                <a:spcPts val="1000"/>
              </a:spcAft>
            </a:pPr>
            <a:endParaRPr lang="en-US" sz="1400">
              <a:solidFill>
                <a:schemeClr val="tx1"/>
              </a:solidFill>
              <a:effectLst/>
              <a:latin typeface="Roboto" panose="02000000000000000000" pitchFamily="2" charset="0"/>
              <a:ea typeface="Roboto" panose="02000000000000000000" pitchFamily="2" charset="0"/>
              <a:cs typeface="Arial" panose="020B0604020202020204" pitchFamily="34" charset="0"/>
            </a:endParaRPr>
          </a:p>
        </p:txBody>
      </p:sp>
      <p:sp>
        <p:nvSpPr>
          <p:cNvPr id="266" name="Oval 265">
            <a:extLst>
              <a:ext uri="{FF2B5EF4-FFF2-40B4-BE49-F238E27FC236}">
                <a16:creationId xmlns:a16="http://schemas.microsoft.com/office/drawing/2014/main" id="{2046E3F6-A891-4F35-B0B0-B150DD3DB88C}"/>
              </a:ext>
            </a:extLst>
          </p:cNvPr>
          <p:cNvSpPr/>
          <p:nvPr/>
        </p:nvSpPr>
        <p:spPr>
          <a:xfrm>
            <a:off x="5878978" y="2720187"/>
            <a:ext cx="454139" cy="454139"/>
          </a:xfrm>
          <a:prstGeom prst="ellipse">
            <a:avLst/>
          </a:prstGeom>
          <a:solidFill>
            <a:srgbClr val="B0F36D"/>
          </a:solidFill>
          <a:ln>
            <a:solidFill>
              <a:srgbClr val="B0F3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34431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252"/>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263"/>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266"/>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251"/>
                                        </p:tgtEl>
                                        <p:attrNameLst>
                                          <p:attrName>style.visibility</p:attrName>
                                        </p:attrNameLst>
                                      </p:cBhvr>
                                      <p:to>
                                        <p:strVal val="hidden"/>
                                      </p:to>
                                    </p:set>
                                  </p:childTnLst>
                                </p:cTn>
                              </p:par>
                              <p:par>
                                <p:cTn id="13" presetID="1" presetClass="exit" presetSubtype="0" fill="hold" grpId="0" nodeType="withEffect">
                                  <p:stCondLst>
                                    <p:cond delay="0"/>
                                  </p:stCondLst>
                                  <p:childTnLst>
                                    <p:set>
                                      <p:cBhvr>
                                        <p:cTn id="14" dur="1" fill="hold">
                                          <p:stCondLst>
                                            <p:cond delay="0"/>
                                          </p:stCondLst>
                                        </p:cTn>
                                        <p:tgtEl>
                                          <p:spTgt spid="254"/>
                                        </p:tgtEl>
                                        <p:attrNameLst>
                                          <p:attrName>style.visibility</p:attrName>
                                        </p:attrNameLst>
                                      </p:cBhvr>
                                      <p:to>
                                        <p:strVal val="hidden"/>
                                      </p:to>
                                    </p:set>
                                  </p:childTnLst>
                                </p:cTn>
                              </p:par>
                              <p:par>
                                <p:cTn id="15" presetID="1" presetClass="exit" presetSubtype="0" fill="hold" grpId="0" nodeType="withEffect">
                                  <p:stCondLst>
                                    <p:cond delay="0"/>
                                  </p:stCondLst>
                                  <p:childTnLst>
                                    <p:set>
                                      <p:cBhvr>
                                        <p:cTn id="16" dur="1" fill="hold">
                                          <p:stCondLst>
                                            <p:cond delay="0"/>
                                          </p:stCondLst>
                                        </p:cTn>
                                        <p:tgtEl>
                                          <p:spTgt spid="253"/>
                                        </p:tgtEl>
                                        <p:attrNameLst>
                                          <p:attrName>style.visibility</p:attrName>
                                        </p:attrNameLst>
                                      </p:cBhvr>
                                      <p:to>
                                        <p:strVal val="hidden"/>
                                      </p:to>
                                    </p:set>
                                  </p:childTnLst>
                                </p:cTn>
                              </p:par>
                              <p:par>
                                <p:cTn id="17" presetID="1" presetClass="exit" presetSubtype="0" fill="hold" grpId="0" nodeType="withEffect">
                                  <p:stCondLst>
                                    <p:cond delay="0"/>
                                  </p:stCondLst>
                                  <p:childTnLst>
                                    <p:set>
                                      <p:cBhvr>
                                        <p:cTn id="18" dur="1" fill="hold">
                                          <p:stCondLst>
                                            <p:cond delay="0"/>
                                          </p:stCondLst>
                                        </p:cTn>
                                        <p:tgtEl>
                                          <p:spTgt spid="255"/>
                                        </p:tgtEl>
                                        <p:attrNameLst>
                                          <p:attrName>style.visibility</p:attrName>
                                        </p:attrNameLst>
                                      </p:cBhvr>
                                      <p:to>
                                        <p:strVal val="hidden"/>
                                      </p:to>
                                    </p:set>
                                  </p:childTnLst>
                                </p:cTn>
                              </p:par>
                              <p:par>
                                <p:cTn id="19" presetID="1" presetClass="entr" presetSubtype="0" fill="hold" grpId="0" nodeType="withEffect">
                                  <p:stCondLst>
                                    <p:cond delay="0"/>
                                  </p:stCondLst>
                                  <p:childTnLst>
                                    <p:set>
                                      <p:cBhvr>
                                        <p:cTn id="20" dur="1" fill="hold">
                                          <p:stCondLst>
                                            <p:cond delay="0"/>
                                          </p:stCondLst>
                                        </p:cTn>
                                        <p:tgtEl>
                                          <p:spTgt spid="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xit" presetSubtype="0" fill="hold" grpId="1" nodeType="clickEffect">
                                  <p:stCondLst>
                                    <p:cond delay="0"/>
                                  </p:stCondLst>
                                  <p:childTnLst>
                                    <p:set>
                                      <p:cBhvr>
                                        <p:cTn id="24" dur="1" fill="hold">
                                          <p:stCondLst>
                                            <p:cond delay="0"/>
                                          </p:stCondLst>
                                        </p:cTn>
                                        <p:tgtEl>
                                          <p:spTgt spid="3"/>
                                        </p:tgtEl>
                                        <p:attrNameLst>
                                          <p:attrName>style.visibility</p:attrName>
                                        </p:attrNameLst>
                                      </p:cBhvr>
                                      <p:to>
                                        <p:strVal val="hidden"/>
                                      </p:to>
                                    </p:set>
                                  </p:childTnLst>
                                </p:cTn>
                              </p:par>
                              <p:par>
                                <p:cTn id="25" presetID="1" presetClass="exit" presetSubtype="0" fill="hold" grpId="0" nodeType="withEffect">
                                  <p:stCondLst>
                                    <p:cond delay="0"/>
                                  </p:stCondLst>
                                  <p:childTnLst>
                                    <p:set>
                                      <p:cBhvr>
                                        <p:cTn id="26" dur="1" fill="hold">
                                          <p:stCondLst>
                                            <p:cond delay="0"/>
                                          </p:stCondLst>
                                        </p:cTn>
                                        <p:tgtEl>
                                          <p:spTgt spid="2"/>
                                        </p:tgtEl>
                                        <p:attrNameLst>
                                          <p:attrName>style.visibility</p:attrName>
                                        </p:attrNameLst>
                                      </p:cBhvr>
                                      <p:to>
                                        <p:strVal val="hidden"/>
                                      </p:to>
                                    </p:set>
                                  </p:childTnLst>
                                </p:cTn>
                              </p:par>
                              <p:par>
                                <p:cTn id="27" presetID="1" presetClass="entr" presetSubtype="0" fill="hold" grpId="1" nodeType="withEffect">
                                  <p:stCondLst>
                                    <p:cond delay="0"/>
                                  </p:stCondLst>
                                  <p:childTnLst>
                                    <p:set>
                                      <p:cBhvr>
                                        <p:cTn id="28" dur="1" fill="hold">
                                          <p:stCondLst>
                                            <p:cond delay="0"/>
                                          </p:stCondLst>
                                        </p:cTn>
                                        <p:tgtEl>
                                          <p:spTgt spid="251"/>
                                        </p:tgtEl>
                                        <p:attrNameLst>
                                          <p:attrName>style.visibility</p:attrName>
                                        </p:attrNameLst>
                                      </p:cBhvr>
                                      <p:to>
                                        <p:strVal val="visible"/>
                                      </p:to>
                                    </p:set>
                                  </p:childTnLst>
                                </p:cTn>
                              </p:par>
                              <p:par>
                                <p:cTn id="29" presetID="1" presetClass="exit" presetSubtype="0" fill="hold" grpId="2" nodeType="withEffect">
                                  <p:stCondLst>
                                    <p:cond delay="0"/>
                                  </p:stCondLst>
                                  <p:childTnLst>
                                    <p:set>
                                      <p:cBhvr>
                                        <p:cTn id="30" dur="1" fill="hold">
                                          <p:stCondLst>
                                            <p:cond delay="0"/>
                                          </p:stCondLst>
                                        </p:cTn>
                                        <p:tgtEl>
                                          <p:spTgt spid="3"/>
                                        </p:tgtEl>
                                        <p:attrNameLst>
                                          <p:attrName>style.visibility</p:attrName>
                                        </p:attrNameLst>
                                      </p:cBhvr>
                                      <p:to>
                                        <p:strVal val="hidden"/>
                                      </p:to>
                                    </p:set>
                                  </p:childTnLst>
                                </p:cTn>
                              </p:par>
                              <p:par>
                                <p:cTn id="31" presetID="1" presetClass="entr" presetSubtype="0" fill="hold" grpId="0" nodeType="withEffect">
                                  <p:stCondLst>
                                    <p:cond delay="0"/>
                                  </p:stCondLst>
                                  <p:childTnLst>
                                    <p:set>
                                      <p:cBhvr>
                                        <p:cTn id="32" dur="1" fill="hold">
                                          <p:stCondLst>
                                            <p:cond delay="0"/>
                                          </p:stCondLst>
                                        </p:cTn>
                                        <p:tgtEl>
                                          <p:spTgt spid="256"/>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xit" presetSubtype="0" fill="hold" grpId="1" nodeType="clickEffect">
                                  <p:stCondLst>
                                    <p:cond delay="0"/>
                                  </p:stCondLst>
                                  <p:childTnLst>
                                    <p:set>
                                      <p:cBhvr>
                                        <p:cTn id="36" dur="1" fill="hold">
                                          <p:stCondLst>
                                            <p:cond delay="0"/>
                                          </p:stCondLst>
                                        </p:cTn>
                                        <p:tgtEl>
                                          <p:spTgt spid="256"/>
                                        </p:tgtEl>
                                        <p:attrNameLst>
                                          <p:attrName>style.visibility</p:attrName>
                                        </p:attrNameLst>
                                      </p:cBhvr>
                                      <p:to>
                                        <p:strVal val="hidden"/>
                                      </p:to>
                                    </p:set>
                                  </p:childTnLst>
                                </p:cTn>
                              </p:par>
                              <p:par>
                                <p:cTn id="37" presetID="1" presetClass="exit" presetSubtype="0" fill="hold" grpId="2" nodeType="withEffect">
                                  <p:stCondLst>
                                    <p:cond delay="0"/>
                                  </p:stCondLst>
                                  <p:childTnLst>
                                    <p:set>
                                      <p:cBhvr>
                                        <p:cTn id="38" dur="1" fill="hold">
                                          <p:stCondLst>
                                            <p:cond delay="0"/>
                                          </p:stCondLst>
                                        </p:cTn>
                                        <p:tgtEl>
                                          <p:spTgt spid="251"/>
                                        </p:tgtEl>
                                        <p:attrNameLst>
                                          <p:attrName>style.visibility</p:attrName>
                                        </p:attrNameLst>
                                      </p:cBhvr>
                                      <p:to>
                                        <p:strVal val="hidden"/>
                                      </p:to>
                                    </p:set>
                                  </p:childTnLst>
                                </p:cTn>
                              </p:par>
                              <p:par>
                                <p:cTn id="39" presetID="1" presetClass="entr" presetSubtype="0" fill="hold" grpId="0" nodeType="withEffect">
                                  <p:stCondLst>
                                    <p:cond delay="0"/>
                                  </p:stCondLst>
                                  <p:childTnLst>
                                    <p:set>
                                      <p:cBhvr>
                                        <p:cTn id="40" dur="1" fill="hold">
                                          <p:stCondLst>
                                            <p:cond delay="0"/>
                                          </p:stCondLst>
                                        </p:cTn>
                                        <p:tgtEl>
                                          <p:spTgt spid="264"/>
                                        </p:tgtEl>
                                        <p:attrNameLst>
                                          <p:attrName>style.visibility</p:attrName>
                                        </p:attrNameLst>
                                      </p:cBhvr>
                                      <p:to>
                                        <p:strVal val="visible"/>
                                      </p:to>
                                    </p:set>
                                  </p:childTnLst>
                                </p:cTn>
                              </p:par>
                              <p:par>
                                <p:cTn id="41" presetID="1" presetClass="entr" presetSubtype="0" fill="hold" grpId="1" nodeType="withEffect">
                                  <p:stCondLst>
                                    <p:cond delay="0"/>
                                  </p:stCondLst>
                                  <p:childTnLst>
                                    <p:set>
                                      <p:cBhvr>
                                        <p:cTn id="42" dur="1" fill="hold">
                                          <p:stCondLst>
                                            <p:cond delay="0"/>
                                          </p:stCondLst>
                                        </p:cTn>
                                        <p:tgtEl>
                                          <p:spTgt spid="263"/>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grpId="1" nodeType="clickEffect">
                                  <p:stCondLst>
                                    <p:cond delay="0"/>
                                  </p:stCondLst>
                                  <p:childTnLst>
                                    <p:set>
                                      <p:cBhvr>
                                        <p:cTn id="46" dur="1" fill="hold">
                                          <p:stCondLst>
                                            <p:cond delay="0"/>
                                          </p:stCondLst>
                                        </p:cTn>
                                        <p:tgtEl>
                                          <p:spTgt spid="264"/>
                                        </p:tgtEl>
                                        <p:attrNameLst>
                                          <p:attrName>style.visibility</p:attrName>
                                        </p:attrNameLst>
                                      </p:cBhvr>
                                      <p:to>
                                        <p:strVal val="hidden"/>
                                      </p:to>
                                    </p:set>
                                  </p:childTnLst>
                                </p:cTn>
                              </p:par>
                              <p:par>
                                <p:cTn id="47" presetID="1" presetClass="exit" presetSubtype="0" fill="hold" grpId="2" nodeType="withEffect">
                                  <p:stCondLst>
                                    <p:cond delay="0"/>
                                  </p:stCondLst>
                                  <p:childTnLst>
                                    <p:set>
                                      <p:cBhvr>
                                        <p:cTn id="48" dur="1" fill="hold">
                                          <p:stCondLst>
                                            <p:cond delay="0"/>
                                          </p:stCondLst>
                                        </p:cTn>
                                        <p:tgtEl>
                                          <p:spTgt spid="263"/>
                                        </p:tgtEl>
                                        <p:attrNameLst>
                                          <p:attrName>style.visibility</p:attrName>
                                        </p:attrNameLst>
                                      </p:cBhvr>
                                      <p:to>
                                        <p:strVal val="hidden"/>
                                      </p:to>
                                    </p:set>
                                  </p:childTnLst>
                                </p:cTn>
                              </p:par>
                              <p:par>
                                <p:cTn id="49" presetID="1" presetClass="entr" presetSubtype="0" fill="hold" grpId="0" nodeType="withEffect">
                                  <p:stCondLst>
                                    <p:cond delay="0"/>
                                  </p:stCondLst>
                                  <p:childTnLst>
                                    <p:set>
                                      <p:cBhvr>
                                        <p:cTn id="50" dur="1" fill="hold">
                                          <p:stCondLst>
                                            <p:cond delay="0"/>
                                          </p:stCondLst>
                                        </p:cTn>
                                        <p:tgtEl>
                                          <p:spTgt spid="257"/>
                                        </p:tgtEl>
                                        <p:attrNameLst>
                                          <p:attrName>style.visibility</p:attrName>
                                        </p:attrNameLst>
                                      </p:cBhvr>
                                      <p:to>
                                        <p:strVal val="visible"/>
                                      </p:to>
                                    </p:set>
                                  </p:childTnLst>
                                </p:cTn>
                              </p:par>
                              <p:par>
                                <p:cTn id="51" presetID="1" presetClass="entr" presetSubtype="0" fill="hold" grpId="1" nodeType="withEffect">
                                  <p:stCondLst>
                                    <p:cond delay="0"/>
                                  </p:stCondLst>
                                  <p:childTnLst>
                                    <p:set>
                                      <p:cBhvr>
                                        <p:cTn id="52" dur="1" fill="hold">
                                          <p:stCondLst>
                                            <p:cond delay="0"/>
                                          </p:stCondLst>
                                        </p:cTn>
                                        <p:tgtEl>
                                          <p:spTgt spid="252"/>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xit" presetSubtype="0" fill="hold" grpId="1" nodeType="clickEffect">
                                  <p:stCondLst>
                                    <p:cond delay="0"/>
                                  </p:stCondLst>
                                  <p:childTnLst>
                                    <p:set>
                                      <p:cBhvr>
                                        <p:cTn id="56" dur="1" fill="hold">
                                          <p:stCondLst>
                                            <p:cond delay="0"/>
                                          </p:stCondLst>
                                        </p:cTn>
                                        <p:tgtEl>
                                          <p:spTgt spid="257"/>
                                        </p:tgtEl>
                                        <p:attrNameLst>
                                          <p:attrName>style.visibility</p:attrName>
                                        </p:attrNameLst>
                                      </p:cBhvr>
                                      <p:to>
                                        <p:strVal val="hidden"/>
                                      </p:to>
                                    </p:set>
                                  </p:childTnLst>
                                </p:cTn>
                              </p:par>
                              <p:par>
                                <p:cTn id="57" presetID="1" presetClass="exit" presetSubtype="0" fill="hold" grpId="2" nodeType="withEffect">
                                  <p:stCondLst>
                                    <p:cond delay="0"/>
                                  </p:stCondLst>
                                  <p:childTnLst>
                                    <p:set>
                                      <p:cBhvr>
                                        <p:cTn id="58" dur="1" fill="hold">
                                          <p:stCondLst>
                                            <p:cond delay="0"/>
                                          </p:stCondLst>
                                        </p:cTn>
                                        <p:tgtEl>
                                          <p:spTgt spid="252"/>
                                        </p:tgtEl>
                                        <p:attrNameLst>
                                          <p:attrName>style.visibility</p:attrName>
                                        </p:attrNameLst>
                                      </p:cBhvr>
                                      <p:to>
                                        <p:strVal val="hidden"/>
                                      </p:to>
                                    </p:set>
                                  </p:childTnLst>
                                </p:cTn>
                              </p:par>
                              <p:par>
                                <p:cTn id="59" presetID="1" presetClass="entr" presetSubtype="0" fill="hold" grpId="0" nodeType="withEffect">
                                  <p:stCondLst>
                                    <p:cond delay="0"/>
                                  </p:stCondLst>
                                  <p:childTnLst>
                                    <p:set>
                                      <p:cBhvr>
                                        <p:cTn id="60" dur="1" fill="hold">
                                          <p:stCondLst>
                                            <p:cond delay="0"/>
                                          </p:stCondLst>
                                        </p:cTn>
                                        <p:tgtEl>
                                          <p:spTgt spid="261"/>
                                        </p:tgtEl>
                                        <p:attrNameLst>
                                          <p:attrName>style.visibility</p:attrName>
                                        </p:attrNameLst>
                                      </p:cBhvr>
                                      <p:to>
                                        <p:strVal val="visible"/>
                                      </p:to>
                                    </p:set>
                                  </p:childTnLst>
                                </p:cTn>
                              </p:par>
                              <p:par>
                                <p:cTn id="61" presetID="1" presetClass="entr" presetSubtype="0" fill="hold" grpId="1" nodeType="withEffect">
                                  <p:stCondLst>
                                    <p:cond delay="0"/>
                                  </p:stCondLst>
                                  <p:childTnLst>
                                    <p:set>
                                      <p:cBhvr>
                                        <p:cTn id="62" dur="1" fill="hold">
                                          <p:stCondLst>
                                            <p:cond delay="0"/>
                                          </p:stCondLst>
                                        </p:cTn>
                                        <p:tgtEl>
                                          <p:spTgt spid="254"/>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xit" presetSubtype="0" fill="hold" grpId="1" nodeType="clickEffect">
                                  <p:stCondLst>
                                    <p:cond delay="0"/>
                                  </p:stCondLst>
                                  <p:childTnLst>
                                    <p:set>
                                      <p:cBhvr>
                                        <p:cTn id="66" dur="1" fill="hold">
                                          <p:stCondLst>
                                            <p:cond delay="0"/>
                                          </p:stCondLst>
                                        </p:cTn>
                                        <p:tgtEl>
                                          <p:spTgt spid="261"/>
                                        </p:tgtEl>
                                        <p:attrNameLst>
                                          <p:attrName>style.visibility</p:attrName>
                                        </p:attrNameLst>
                                      </p:cBhvr>
                                      <p:to>
                                        <p:strVal val="hidden"/>
                                      </p:to>
                                    </p:set>
                                  </p:childTnLst>
                                </p:cTn>
                              </p:par>
                              <p:par>
                                <p:cTn id="67" presetID="1" presetClass="exit" presetSubtype="0" fill="hold" grpId="2" nodeType="withEffect">
                                  <p:stCondLst>
                                    <p:cond delay="0"/>
                                  </p:stCondLst>
                                  <p:childTnLst>
                                    <p:set>
                                      <p:cBhvr>
                                        <p:cTn id="68" dur="1" fill="hold">
                                          <p:stCondLst>
                                            <p:cond delay="0"/>
                                          </p:stCondLst>
                                        </p:cTn>
                                        <p:tgtEl>
                                          <p:spTgt spid="254"/>
                                        </p:tgtEl>
                                        <p:attrNameLst>
                                          <p:attrName>style.visibility</p:attrName>
                                        </p:attrNameLst>
                                      </p:cBhvr>
                                      <p:to>
                                        <p:strVal val="hidden"/>
                                      </p:to>
                                    </p:set>
                                  </p:childTnLst>
                                </p:cTn>
                              </p:par>
                              <p:par>
                                <p:cTn id="69" presetID="1" presetClass="entr" presetSubtype="0" fill="hold" grpId="0" nodeType="withEffect">
                                  <p:stCondLst>
                                    <p:cond delay="0"/>
                                  </p:stCondLst>
                                  <p:childTnLst>
                                    <p:set>
                                      <p:cBhvr>
                                        <p:cTn id="70" dur="1" fill="hold">
                                          <p:stCondLst>
                                            <p:cond delay="0"/>
                                          </p:stCondLst>
                                        </p:cTn>
                                        <p:tgtEl>
                                          <p:spTgt spid="262"/>
                                        </p:tgtEl>
                                        <p:attrNameLst>
                                          <p:attrName>style.visibility</p:attrName>
                                        </p:attrNameLst>
                                      </p:cBhvr>
                                      <p:to>
                                        <p:strVal val="visible"/>
                                      </p:to>
                                    </p:set>
                                  </p:childTnLst>
                                </p:cTn>
                              </p:par>
                              <p:par>
                                <p:cTn id="71" presetID="1" presetClass="entr" presetSubtype="0" fill="hold" grpId="1" nodeType="withEffect">
                                  <p:stCondLst>
                                    <p:cond delay="0"/>
                                  </p:stCondLst>
                                  <p:childTnLst>
                                    <p:set>
                                      <p:cBhvr>
                                        <p:cTn id="72" dur="1" fill="hold">
                                          <p:stCondLst>
                                            <p:cond delay="0"/>
                                          </p:stCondLst>
                                        </p:cTn>
                                        <p:tgtEl>
                                          <p:spTgt spid="255"/>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xit" presetSubtype="0" fill="hold" grpId="1" nodeType="clickEffect">
                                  <p:stCondLst>
                                    <p:cond delay="0"/>
                                  </p:stCondLst>
                                  <p:childTnLst>
                                    <p:set>
                                      <p:cBhvr>
                                        <p:cTn id="76" dur="1" fill="hold">
                                          <p:stCondLst>
                                            <p:cond delay="0"/>
                                          </p:stCondLst>
                                        </p:cTn>
                                        <p:tgtEl>
                                          <p:spTgt spid="262"/>
                                        </p:tgtEl>
                                        <p:attrNameLst>
                                          <p:attrName>style.visibility</p:attrName>
                                        </p:attrNameLst>
                                      </p:cBhvr>
                                      <p:to>
                                        <p:strVal val="hidden"/>
                                      </p:to>
                                    </p:set>
                                  </p:childTnLst>
                                </p:cTn>
                              </p:par>
                              <p:par>
                                <p:cTn id="77" presetID="1" presetClass="exit" presetSubtype="0" fill="hold" grpId="2" nodeType="withEffect">
                                  <p:stCondLst>
                                    <p:cond delay="0"/>
                                  </p:stCondLst>
                                  <p:childTnLst>
                                    <p:set>
                                      <p:cBhvr>
                                        <p:cTn id="78" dur="1" fill="hold">
                                          <p:stCondLst>
                                            <p:cond delay="0"/>
                                          </p:stCondLst>
                                        </p:cTn>
                                        <p:tgtEl>
                                          <p:spTgt spid="255"/>
                                        </p:tgtEl>
                                        <p:attrNameLst>
                                          <p:attrName>style.visibility</p:attrName>
                                        </p:attrNameLst>
                                      </p:cBhvr>
                                      <p:to>
                                        <p:strVal val="hidden"/>
                                      </p:to>
                                    </p:set>
                                  </p:childTnLst>
                                </p:cTn>
                              </p:par>
                              <p:par>
                                <p:cTn id="79" presetID="1" presetClass="entr" presetSubtype="0" fill="hold" grpId="0" nodeType="withEffect">
                                  <p:stCondLst>
                                    <p:cond delay="0"/>
                                  </p:stCondLst>
                                  <p:childTnLst>
                                    <p:set>
                                      <p:cBhvr>
                                        <p:cTn id="80" dur="1" fill="hold">
                                          <p:stCondLst>
                                            <p:cond delay="0"/>
                                          </p:stCondLst>
                                        </p:cTn>
                                        <p:tgtEl>
                                          <p:spTgt spid="258"/>
                                        </p:tgtEl>
                                        <p:attrNameLst>
                                          <p:attrName>style.visibility</p:attrName>
                                        </p:attrNameLst>
                                      </p:cBhvr>
                                      <p:to>
                                        <p:strVal val="visible"/>
                                      </p:to>
                                    </p:set>
                                  </p:childTnLst>
                                </p:cTn>
                              </p:par>
                              <p:par>
                                <p:cTn id="81" presetID="1" presetClass="entr" presetSubtype="0" fill="hold" grpId="1" nodeType="withEffect">
                                  <p:stCondLst>
                                    <p:cond delay="0"/>
                                  </p:stCondLst>
                                  <p:childTnLst>
                                    <p:set>
                                      <p:cBhvr>
                                        <p:cTn id="82" dur="1" fill="hold">
                                          <p:stCondLst>
                                            <p:cond delay="0"/>
                                          </p:stCondLst>
                                        </p:cTn>
                                        <p:tgtEl>
                                          <p:spTgt spid="253"/>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xit" presetSubtype="0" fill="hold" grpId="1" nodeType="clickEffect">
                                  <p:stCondLst>
                                    <p:cond delay="0"/>
                                  </p:stCondLst>
                                  <p:childTnLst>
                                    <p:set>
                                      <p:cBhvr>
                                        <p:cTn id="86" dur="1" fill="hold">
                                          <p:stCondLst>
                                            <p:cond delay="0"/>
                                          </p:stCondLst>
                                        </p:cTn>
                                        <p:tgtEl>
                                          <p:spTgt spid="258"/>
                                        </p:tgtEl>
                                        <p:attrNameLst>
                                          <p:attrName>style.visibility</p:attrName>
                                        </p:attrNameLst>
                                      </p:cBhvr>
                                      <p:to>
                                        <p:strVal val="hidden"/>
                                      </p:to>
                                    </p:set>
                                  </p:childTnLst>
                                </p:cTn>
                              </p:par>
                              <p:par>
                                <p:cTn id="87" presetID="1" presetClass="exit" presetSubtype="0" fill="hold" grpId="2" nodeType="withEffect">
                                  <p:stCondLst>
                                    <p:cond delay="0"/>
                                  </p:stCondLst>
                                  <p:childTnLst>
                                    <p:set>
                                      <p:cBhvr>
                                        <p:cTn id="88" dur="1" fill="hold">
                                          <p:stCondLst>
                                            <p:cond delay="0"/>
                                          </p:stCondLst>
                                        </p:cTn>
                                        <p:tgtEl>
                                          <p:spTgt spid="253"/>
                                        </p:tgtEl>
                                        <p:attrNameLst>
                                          <p:attrName>style.visibility</p:attrName>
                                        </p:attrNameLst>
                                      </p:cBhvr>
                                      <p:to>
                                        <p:strVal val="hidden"/>
                                      </p:to>
                                    </p:set>
                                  </p:childTnLst>
                                </p:cTn>
                              </p:par>
                              <p:par>
                                <p:cTn id="89" presetID="1" presetClass="entr" presetSubtype="0" fill="hold" grpId="0" nodeType="withEffect">
                                  <p:stCondLst>
                                    <p:cond delay="0"/>
                                  </p:stCondLst>
                                  <p:childTnLst>
                                    <p:set>
                                      <p:cBhvr>
                                        <p:cTn id="90" dur="1" fill="hold">
                                          <p:stCondLst>
                                            <p:cond delay="0"/>
                                          </p:stCondLst>
                                        </p:cTn>
                                        <p:tgtEl>
                                          <p:spTgt spid="265"/>
                                        </p:tgtEl>
                                        <p:attrNameLst>
                                          <p:attrName>style.visibility</p:attrName>
                                        </p:attrNameLst>
                                      </p:cBhvr>
                                      <p:to>
                                        <p:strVal val="visible"/>
                                      </p:to>
                                    </p:set>
                                  </p:childTnLst>
                                </p:cTn>
                              </p:par>
                              <p:par>
                                <p:cTn id="91" presetID="1" presetClass="entr" presetSubtype="0" fill="hold" grpId="1" nodeType="withEffect">
                                  <p:stCondLst>
                                    <p:cond delay="0"/>
                                  </p:stCondLst>
                                  <p:childTnLst>
                                    <p:set>
                                      <p:cBhvr>
                                        <p:cTn id="92" dur="1" fill="hold">
                                          <p:stCondLst>
                                            <p:cond delay="0"/>
                                          </p:stCondLst>
                                        </p:cTn>
                                        <p:tgtEl>
                                          <p:spTgt spid="26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51" grpId="0" animBg="1"/>
      <p:bldP spid="251" grpId="1" animBg="1"/>
      <p:bldP spid="251" grpId="2" animBg="1"/>
      <p:bldP spid="252" grpId="0" animBg="1"/>
      <p:bldP spid="252" grpId="1" animBg="1"/>
      <p:bldP spid="252" grpId="2" animBg="1"/>
      <p:bldP spid="253" grpId="0" animBg="1"/>
      <p:bldP spid="253" grpId="1" animBg="1"/>
      <p:bldP spid="253" grpId="2" animBg="1"/>
      <p:bldP spid="254" grpId="0" animBg="1"/>
      <p:bldP spid="254" grpId="1" animBg="1"/>
      <p:bldP spid="254" grpId="2" animBg="1"/>
      <p:bldP spid="255" grpId="0" animBg="1"/>
      <p:bldP spid="255" grpId="1" animBg="1"/>
      <p:bldP spid="255" grpId="2" animBg="1"/>
      <p:bldP spid="3" grpId="0" animBg="1"/>
      <p:bldP spid="3" grpId="1" animBg="1"/>
      <p:bldP spid="3" grpId="2" animBg="1"/>
      <p:bldP spid="256" grpId="0" animBg="1"/>
      <p:bldP spid="256" grpId="1" animBg="1"/>
      <p:bldP spid="257" grpId="0" animBg="1"/>
      <p:bldP spid="257" grpId="1" animBg="1"/>
      <p:bldP spid="258" grpId="0" animBg="1"/>
      <p:bldP spid="258" grpId="1" animBg="1"/>
      <p:bldP spid="261" grpId="0" animBg="1"/>
      <p:bldP spid="261" grpId="1" animBg="1"/>
      <p:bldP spid="262" grpId="0" animBg="1"/>
      <p:bldP spid="262" grpId="1" animBg="1"/>
      <p:bldP spid="263" grpId="0" animBg="1"/>
      <p:bldP spid="263" grpId="1" animBg="1"/>
      <p:bldP spid="263" grpId="2" animBg="1"/>
      <p:bldP spid="264" grpId="0" animBg="1"/>
      <p:bldP spid="264" grpId="1" animBg="1"/>
      <p:bldP spid="265" grpId="0" animBg="1"/>
      <p:bldP spid="266" grpId="0" animBg="1"/>
      <p:bldP spid="266" grpId="1"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A51C882-5073-4E4F-B092-17DF1C352D45}"/>
              </a:ext>
            </a:extLst>
          </p:cNvPr>
          <p:cNvSpPr>
            <a:spLocks noGrp="1"/>
          </p:cNvSpPr>
          <p:nvPr>
            <p:ph type="title"/>
          </p:nvPr>
        </p:nvSpPr>
        <p:spPr>
          <a:xfrm>
            <a:off x="646848" y="372984"/>
            <a:ext cx="10443648" cy="769175"/>
          </a:xfrm>
        </p:spPr>
        <p:txBody>
          <a:bodyPr lIns="0" rIns="90000" anchor="b">
            <a:normAutofit/>
          </a:bodyPr>
          <a:lstStyle/>
          <a:p>
            <a:r>
              <a:rPr lang="en-US" sz="2400" b="1" dirty="0">
                <a:solidFill>
                  <a:srgbClr val="00B0F0"/>
                </a:solidFill>
                <a:latin typeface="Roboto" panose="02000000000000000000" pitchFamily="2" charset="0"/>
                <a:ea typeface="Roboto" panose="02000000000000000000" pitchFamily="2" charset="0"/>
                <a:cs typeface="Roboto" panose="02000000000000000000" pitchFamily="2" charset="0"/>
              </a:rPr>
              <a:t>Recent projects</a:t>
            </a:r>
          </a:p>
        </p:txBody>
      </p:sp>
      <p:cxnSp>
        <p:nvCxnSpPr>
          <p:cNvPr id="5" name="Straight Connector 4">
            <a:extLst>
              <a:ext uri="{FF2B5EF4-FFF2-40B4-BE49-F238E27FC236}">
                <a16:creationId xmlns:a16="http://schemas.microsoft.com/office/drawing/2014/main" id="{A7D0B6E2-4D1F-4B44-BA3F-D4346A1660D8}"/>
              </a:ext>
            </a:extLst>
          </p:cNvPr>
          <p:cNvCxnSpPr>
            <a:cxnSpLocks/>
          </p:cNvCxnSpPr>
          <p:nvPr/>
        </p:nvCxnSpPr>
        <p:spPr>
          <a:xfrm>
            <a:off x="646848" y="1375702"/>
            <a:ext cx="1171723" cy="0"/>
          </a:xfrm>
          <a:prstGeom prst="line">
            <a:avLst/>
          </a:prstGeom>
          <a:ln w="76200">
            <a:solidFill>
              <a:srgbClr val="00B0F0"/>
            </a:solidFill>
          </a:ln>
          <a:effectLst/>
        </p:spPr>
        <p:style>
          <a:lnRef idx="2">
            <a:schemeClr val="accent1"/>
          </a:lnRef>
          <a:fillRef idx="0">
            <a:schemeClr val="accent1"/>
          </a:fillRef>
          <a:effectRef idx="1">
            <a:schemeClr val="accent1"/>
          </a:effectRef>
          <a:fontRef idx="minor">
            <a:schemeClr val="tx1"/>
          </a:fontRef>
        </p:style>
      </p:cxnSp>
      <p:pic>
        <p:nvPicPr>
          <p:cNvPr id="6" name="Picture 48">
            <a:extLst>
              <a:ext uri="{FF2B5EF4-FFF2-40B4-BE49-F238E27FC236}">
                <a16:creationId xmlns:a16="http://schemas.microsoft.com/office/drawing/2014/main" id="{C7FBC308-459E-4AE2-A2CE-E586E0521D54}"/>
              </a:ext>
            </a:extLst>
          </p:cNvPr>
          <p:cNvPicPr>
            <a:picLocks noChangeAspect="1"/>
          </p:cNvPicPr>
          <p:nvPr/>
        </p:nvPicPr>
        <p:blipFill>
          <a:blip r:embed="rId2">
            <a:alphaModFix amt="50000"/>
          </a:blip>
          <a:stretch>
            <a:fillRect/>
          </a:stretch>
        </p:blipFill>
        <p:spPr>
          <a:xfrm>
            <a:off x="10934550" y="391673"/>
            <a:ext cx="928807" cy="701951"/>
          </a:xfrm>
          <a:prstGeom prst="rect">
            <a:avLst/>
          </a:prstGeom>
        </p:spPr>
      </p:pic>
      <p:grpSp>
        <p:nvGrpSpPr>
          <p:cNvPr id="7" name="Group 6">
            <a:extLst>
              <a:ext uri="{FF2B5EF4-FFF2-40B4-BE49-F238E27FC236}">
                <a16:creationId xmlns:a16="http://schemas.microsoft.com/office/drawing/2014/main" id="{A4AE22FC-36E3-471E-8D29-F3F3C61F2778}"/>
              </a:ext>
            </a:extLst>
          </p:cNvPr>
          <p:cNvGrpSpPr/>
          <p:nvPr/>
        </p:nvGrpSpPr>
        <p:grpSpPr>
          <a:xfrm>
            <a:off x="600951" y="1234455"/>
            <a:ext cx="10843337" cy="5323508"/>
            <a:chOff x="600951" y="1234455"/>
            <a:chExt cx="10843337" cy="5323508"/>
          </a:xfrm>
          <a:noFill/>
        </p:grpSpPr>
        <p:sp>
          <p:nvSpPr>
            <p:cNvPr id="8" name="30412358.375247.7512.755">
              <a:extLst>
                <a:ext uri="{FF2B5EF4-FFF2-40B4-BE49-F238E27FC236}">
                  <a16:creationId xmlns:a16="http://schemas.microsoft.com/office/drawing/2014/main" id="{781B5015-1B24-47B8-8E8E-0D9B1A9E14F1}"/>
                </a:ext>
              </a:extLst>
            </p:cNvPr>
            <p:cNvSpPr>
              <a:spLocks noChangeAspect="1"/>
            </p:cNvSpPr>
            <p:nvPr/>
          </p:nvSpPr>
          <p:spPr bwMode="gray">
            <a:xfrm>
              <a:off x="3646063" y="4102252"/>
              <a:ext cx="43748" cy="15137"/>
            </a:xfrm>
            <a:custGeom>
              <a:avLst/>
              <a:gdLst/>
              <a:ahLst/>
              <a:cxnLst>
                <a:cxn ang="0">
                  <a:pos x="0" y="0"/>
                </a:cxn>
                <a:cxn ang="0">
                  <a:pos x="4" y="17"/>
                </a:cxn>
                <a:cxn ang="0">
                  <a:pos x="50" y="10"/>
                </a:cxn>
                <a:cxn ang="0">
                  <a:pos x="0" y="0"/>
                </a:cxn>
              </a:cxnLst>
              <a:rect l="0" t="0" r="r" b="b"/>
              <a:pathLst>
                <a:path w="50" h="17">
                  <a:moveTo>
                    <a:pt x="0" y="0"/>
                  </a:moveTo>
                  <a:lnTo>
                    <a:pt x="4" y="17"/>
                  </a:lnTo>
                  <a:lnTo>
                    <a:pt x="50" y="10"/>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9" name="30422411.37524325.62522.6255">
              <a:extLst>
                <a:ext uri="{FF2B5EF4-FFF2-40B4-BE49-F238E27FC236}">
                  <a16:creationId xmlns:a16="http://schemas.microsoft.com/office/drawing/2014/main" id="{075435E1-ACAA-455A-8DD2-743D90BAFDD9}"/>
                </a:ext>
              </a:extLst>
            </p:cNvPr>
            <p:cNvSpPr>
              <a:spLocks noChangeAspect="1"/>
            </p:cNvSpPr>
            <p:nvPr/>
          </p:nvSpPr>
          <p:spPr bwMode="gray">
            <a:xfrm>
              <a:off x="3569985" y="4961751"/>
              <a:ext cx="361379" cy="413771"/>
            </a:xfrm>
            <a:custGeom>
              <a:avLst/>
              <a:gdLst/>
              <a:ahLst/>
              <a:cxnLst>
                <a:cxn ang="0">
                  <a:pos x="0" y="45"/>
                </a:cxn>
                <a:cxn ang="0">
                  <a:pos x="30" y="93"/>
                </a:cxn>
                <a:cxn ang="0">
                  <a:pos x="9" y="197"/>
                </a:cxn>
                <a:cxn ang="0">
                  <a:pos x="30" y="208"/>
                </a:cxn>
                <a:cxn ang="0">
                  <a:pos x="20" y="223"/>
                </a:cxn>
                <a:cxn ang="0">
                  <a:pos x="2" y="265"/>
                </a:cxn>
                <a:cxn ang="0">
                  <a:pos x="37" y="326"/>
                </a:cxn>
                <a:cxn ang="0">
                  <a:pos x="57" y="450"/>
                </a:cxn>
                <a:cxn ang="0">
                  <a:pos x="81" y="452"/>
                </a:cxn>
                <a:cxn ang="0">
                  <a:pos x="116" y="414"/>
                </a:cxn>
                <a:cxn ang="0">
                  <a:pos x="178" y="445"/>
                </a:cxn>
                <a:cxn ang="0">
                  <a:pos x="182" y="423"/>
                </a:cxn>
                <a:cxn ang="0">
                  <a:pos x="236" y="432"/>
                </a:cxn>
                <a:cxn ang="0">
                  <a:pos x="257" y="342"/>
                </a:cxn>
                <a:cxn ang="0">
                  <a:pos x="354" y="326"/>
                </a:cxn>
                <a:cxn ang="0">
                  <a:pos x="387" y="356"/>
                </a:cxn>
                <a:cxn ang="0">
                  <a:pos x="399" y="287"/>
                </a:cxn>
                <a:cxn ang="0">
                  <a:pos x="378" y="228"/>
                </a:cxn>
                <a:cxn ang="0">
                  <a:pos x="321" y="224"/>
                </a:cxn>
                <a:cxn ang="0">
                  <a:pos x="298" y="135"/>
                </a:cxn>
                <a:cxn ang="0">
                  <a:pos x="149" y="75"/>
                </a:cxn>
                <a:cxn ang="0">
                  <a:pos x="141" y="0"/>
                </a:cxn>
                <a:cxn ang="0">
                  <a:pos x="41" y="48"/>
                </a:cxn>
                <a:cxn ang="0">
                  <a:pos x="0" y="45"/>
                </a:cxn>
              </a:cxnLst>
              <a:rect l="0" t="0" r="r" b="b"/>
              <a:pathLst>
                <a:path w="399" h="452">
                  <a:moveTo>
                    <a:pt x="0" y="45"/>
                  </a:moveTo>
                  <a:lnTo>
                    <a:pt x="30" y="93"/>
                  </a:lnTo>
                  <a:lnTo>
                    <a:pt x="9" y="197"/>
                  </a:lnTo>
                  <a:lnTo>
                    <a:pt x="30" y="208"/>
                  </a:lnTo>
                  <a:lnTo>
                    <a:pt x="20" y="223"/>
                  </a:lnTo>
                  <a:lnTo>
                    <a:pt x="2" y="265"/>
                  </a:lnTo>
                  <a:lnTo>
                    <a:pt x="37" y="326"/>
                  </a:lnTo>
                  <a:lnTo>
                    <a:pt x="57" y="450"/>
                  </a:lnTo>
                  <a:lnTo>
                    <a:pt x="81" y="452"/>
                  </a:lnTo>
                  <a:lnTo>
                    <a:pt x="116" y="414"/>
                  </a:lnTo>
                  <a:lnTo>
                    <a:pt x="178" y="445"/>
                  </a:lnTo>
                  <a:lnTo>
                    <a:pt x="182" y="423"/>
                  </a:lnTo>
                  <a:lnTo>
                    <a:pt x="236" y="432"/>
                  </a:lnTo>
                  <a:lnTo>
                    <a:pt x="257" y="342"/>
                  </a:lnTo>
                  <a:lnTo>
                    <a:pt x="354" y="326"/>
                  </a:lnTo>
                  <a:lnTo>
                    <a:pt x="387" y="356"/>
                  </a:lnTo>
                  <a:lnTo>
                    <a:pt x="399" y="287"/>
                  </a:lnTo>
                  <a:lnTo>
                    <a:pt x="378" y="228"/>
                  </a:lnTo>
                  <a:lnTo>
                    <a:pt x="321" y="224"/>
                  </a:lnTo>
                  <a:lnTo>
                    <a:pt x="298" y="135"/>
                  </a:lnTo>
                  <a:lnTo>
                    <a:pt x="149" y="75"/>
                  </a:lnTo>
                  <a:lnTo>
                    <a:pt x="141" y="0"/>
                  </a:lnTo>
                  <a:lnTo>
                    <a:pt x="41" y="48"/>
                  </a:lnTo>
                  <a:lnTo>
                    <a:pt x="0" y="4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0" name="30423358.375206.37551.55">
              <a:extLst>
                <a:ext uri="{FF2B5EF4-FFF2-40B4-BE49-F238E27FC236}">
                  <a16:creationId xmlns:a16="http://schemas.microsoft.com/office/drawing/2014/main" id="{B883FCAE-B34A-4FEF-B236-51AC45F1F5D1}"/>
                </a:ext>
              </a:extLst>
            </p:cNvPr>
            <p:cNvSpPr>
              <a:spLocks noChangeAspect="1"/>
            </p:cNvSpPr>
            <p:nvPr/>
          </p:nvSpPr>
          <p:spPr bwMode="gray">
            <a:xfrm>
              <a:off x="2980360" y="4102252"/>
              <a:ext cx="26628" cy="80737"/>
            </a:xfrm>
            <a:custGeom>
              <a:avLst/>
              <a:gdLst/>
              <a:ahLst/>
              <a:cxnLst>
                <a:cxn ang="0">
                  <a:pos x="0" y="20"/>
                </a:cxn>
                <a:cxn ang="0">
                  <a:pos x="11" y="88"/>
                </a:cxn>
                <a:cxn ang="0">
                  <a:pos x="28" y="0"/>
                </a:cxn>
                <a:cxn ang="0">
                  <a:pos x="0" y="20"/>
                </a:cxn>
              </a:cxnLst>
              <a:rect l="0" t="0" r="r" b="b"/>
              <a:pathLst>
                <a:path w="28" h="88">
                  <a:moveTo>
                    <a:pt x="0" y="20"/>
                  </a:moveTo>
                  <a:lnTo>
                    <a:pt x="11" y="88"/>
                  </a:lnTo>
                  <a:lnTo>
                    <a:pt x="28" y="0"/>
                  </a:lnTo>
                  <a:lnTo>
                    <a:pt x="0" y="2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1" name="30427228.125108.625821615">
              <a:extLst>
                <a:ext uri="{FF2B5EF4-FFF2-40B4-BE49-F238E27FC236}">
                  <a16:creationId xmlns:a16="http://schemas.microsoft.com/office/drawing/2014/main" id="{D13EFBED-FE03-4CFB-985B-EC9FBF38E761}"/>
                </a:ext>
              </a:extLst>
            </p:cNvPr>
            <p:cNvSpPr>
              <a:spLocks noChangeAspect="1"/>
            </p:cNvSpPr>
            <p:nvPr/>
          </p:nvSpPr>
          <p:spPr bwMode="gray">
            <a:xfrm>
              <a:off x="1415008" y="1993034"/>
              <a:ext cx="2581023" cy="1328775"/>
            </a:xfrm>
            <a:custGeom>
              <a:avLst/>
              <a:gdLst/>
              <a:ahLst/>
              <a:cxnLst>
                <a:cxn ang="0">
                  <a:pos x="214" y="175"/>
                </a:cxn>
                <a:cxn ang="0">
                  <a:pos x="331" y="151"/>
                </a:cxn>
                <a:cxn ang="0">
                  <a:pos x="507" y="157"/>
                </a:cxn>
                <a:cxn ang="0">
                  <a:pos x="781" y="179"/>
                </a:cxn>
                <a:cxn ang="0">
                  <a:pos x="879" y="245"/>
                </a:cxn>
                <a:cxn ang="0">
                  <a:pos x="1125" y="284"/>
                </a:cxn>
                <a:cxn ang="0">
                  <a:pos x="1076" y="213"/>
                </a:cxn>
                <a:cxn ang="0">
                  <a:pos x="1290" y="251"/>
                </a:cxn>
                <a:cxn ang="0">
                  <a:pos x="1462" y="234"/>
                </a:cxn>
                <a:cxn ang="0">
                  <a:pos x="1480" y="231"/>
                </a:cxn>
                <a:cxn ang="0">
                  <a:pos x="1517" y="229"/>
                </a:cxn>
                <a:cxn ang="0">
                  <a:pos x="1580" y="149"/>
                </a:cxn>
                <a:cxn ang="0">
                  <a:pos x="1530" y="0"/>
                </a:cxn>
                <a:cxn ang="0">
                  <a:pos x="1622" y="107"/>
                </a:cxn>
                <a:cxn ang="0">
                  <a:pos x="1657" y="157"/>
                </a:cxn>
                <a:cxn ang="0">
                  <a:pos x="1776" y="223"/>
                </a:cxn>
                <a:cxn ang="0">
                  <a:pos x="1847" y="198"/>
                </a:cxn>
                <a:cxn ang="0">
                  <a:pos x="1990" y="171"/>
                </a:cxn>
                <a:cxn ang="0">
                  <a:pos x="1989" y="286"/>
                </a:cxn>
                <a:cxn ang="0">
                  <a:pos x="1818" y="317"/>
                </a:cxn>
                <a:cxn ang="0">
                  <a:pos x="1737" y="383"/>
                </a:cxn>
                <a:cxn ang="0">
                  <a:pos x="1682" y="483"/>
                </a:cxn>
                <a:cxn ang="0">
                  <a:pos x="1622" y="520"/>
                </a:cxn>
                <a:cxn ang="0">
                  <a:pos x="1549" y="590"/>
                </a:cxn>
                <a:cxn ang="0">
                  <a:pos x="1613" y="808"/>
                </a:cxn>
                <a:cxn ang="0">
                  <a:pos x="1847" y="905"/>
                </a:cxn>
                <a:cxn ang="0">
                  <a:pos x="1987" y="1022"/>
                </a:cxn>
                <a:cxn ang="0">
                  <a:pos x="2045" y="1076"/>
                </a:cxn>
                <a:cxn ang="0">
                  <a:pos x="2164" y="838"/>
                </a:cxn>
                <a:cxn ang="0">
                  <a:pos x="2134" y="678"/>
                </a:cxn>
                <a:cxn ang="0">
                  <a:pos x="2123" y="582"/>
                </a:cxn>
                <a:cxn ang="0">
                  <a:pos x="2241" y="534"/>
                </a:cxn>
                <a:cxn ang="0">
                  <a:pos x="2390" y="655"/>
                </a:cxn>
                <a:cxn ang="0">
                  <a:pos x="2344" y="735"/>
                </a:cxn>
                <a:cxn ang="0">
                  <a:pos x="2441" y="728"/>
                </a:cxn>
                <a:cxn ang="0">
                  <a:pos x="2531" y="684"/>
                </a:cxn>
                <a:cxn ang="0">
                  <a:pos x="2562" y="711"/>
                </a:cxn>
                <a:cxn ang="0">
                  <a:pos x="2621" y="737"/>
                </a:cxn>
                <a:cxn ang="0">
                  <a:pos x="2628" y="784"/>
                </a:cxn>
                <a:cxn ang="0">
                  <a:pos x="2639" y="842"/>
                </a:cxn>
                <a:cxn ang="0">
                  <a:pos x="2792" y="918"/>
                </a:cxn>
                <a:cxn ang="0">
                  <a:pos x="2798" y="970"/>
                </a:cxn>
                <a:cxn ang="0">
                  <a:pos x="2850" y="1025"/>
                </a:cxn>
                <a:cxn ang="0">
                  <a:pos x="2338" y="1256"/>
                </a:cxn>
                <a:cxn ang="0">
                  <a:pos x="2489" y="1205"/>
                </a:cxn>
                <a:cxn ang="0">
                  <a:pos x="2663" y="1310"/>
                </a:cxn>
                <a:cxn ang="0">
                  <a:pos x="2669" y="1321"/>
                </a:cxn>
                <a:cxn ang="0">
                  <a:pos x="2597" y="1317"/>
                </a:cxn>
                <a:cxn ang="0">
                  <a:pos x="2446" y="1303"/>
                </a:cxn>
                <a:cxn ang="0">
                  <a:pos x="2180" y="1352"/>
                </a:cxn>
                <a:cxn ang="0">
                  <a:pos x="2076" y="1418"/>
                </a:cxn>
                <a:cxn ang="0">
                  <a:pos x="1956" y="1410"/>
                </a:cxn>
                <a:cxn ang="0">
                  <a:pos x="2048" y="1337"/>
                </a:cxn>
                <a:cxn ang="0">
                  <a:pos x="1872" y="1208"/>
                </a:cxn>
                <a:cxn ang="0">
                  <a:pos x="1799" y="1195"/>
                </a:cxn>
                <a:cxn ang="0">
                  <a:pos x="1531" y="1146"/>
                </a:cxn>
                <a:cxn ang="0">
                  <a:pos x="547" y="1123"/>
                </a:cxn>
                <a:cxn ang="0">
                  <a:pos x="436" y="1015"/>
                </a:cxn>
                <a:cxn ang="0">
                  <a:pos x="365" y="849"/>
                </a:cxn>
                <a:cxn ang="0">
                  <a:pos x="99" y="692"/>
                </a:cxn>
              </a:cxnLst>
              <a:rect l="0" t="0" r="r" b="b"/>
              <a:pathLst>
                <a:path w="2850" h="1454">
                  <a:moveTo>
                    <a:pt x="0" y="645"/>
                  </a:moveTo>
                  <a:lnTo>
                    <a:pt x="0" y="135"/>
                  </a:lnTo>
                  <a:lnTo>
                    <a:pt x="227" y="202"/>
                  </a:lnTo>
                  <a:lnTo>
                    <a:pt x="214" y="175"/>
                  </a:lnTo>
                  <a:lnTo>
                    <a:pt x="238" y="158"/>
                  </a:lnTo>
                  <a:lnTo>
                    <a:pt x="376" y="103"/>
                  </a:lnTo>
                  <a:lnTo>
                    <a:pt x="269" y="171"/>
                  </a:lnTo>
                  <a:lnTo>
                    <a:pt x="331" y="151"/>
                  </a:lnTo>
                  <a:lnTo>
                    <a:pt x="331" y="165"/>
                  </a:lnTo>
                  <a:lnTo>
                    <a:pt x="447" y="105"/>
                  </a:lnTo>
                  <a:lnTo>
                    <a:pt x="431" y="85"/>
                  </a:lnTo>
                  <a:lnTo>
                    <a:pt x="507" y="157"/>
                  </a:lnTo>
                  <a:lnTo>
                    <a:pt x="555" y="114"/>
                  </a:lnTo>
                  <a:lnTo>
                    <a:pt x="551" y="157"/>
                  </a:lnTo>
                  <a:lnTo>
                    <a:pt x="611" y="127"/>
                  </a:lnTo>
                  <a:lnTo>
                    <a:pt x="781" y="179"/>
                  </a:lnTo>
                  <a:lnTo>
                    <a:pt x="857" y="178"/>
                  </a:lnTo>
                  <a:lnTo>
                    <a:pt x="901" y="208"/>
                  </a:lnTo>
                  <a:lnTo>
                    <a:pt x="849" y="234"/>
                  </a:lnTo>
                  <a:lnTo>
                    <a:pt x="879" y="245"/>
                  </a:lnTo>
                  <a:lnTo>
                    <a:pt x="1032" y="231"/>
                  </a:lnTo>
                  <a:lnTo>
                    <a:pt x="1099" y="274"/>
                  </a:lnTo>
                  <a:lnTo>
                    <a:pt x="1108" y="303"/>
                  </a:lnTo>
                  <a:lnTo>
                    <a:pt x="1125" y="284"/>
                  </a:lnTo>
                  <a:lnTo>
                    <a:pt x="1099" y="245"/>
                  </a:lnTo>
                  <a:lnTo>
                    <a:pt x="1171" y="197"/>
                  </a:lnTo>
                  <a:lnTo>
                    <a:pt x="1101" y="227"/>
                  </a:lnTo>
                  <a:lnTo>
                    <a:pt x="1076" y="213"/>
                  </a:lnTo>
                  <a:lnTo>
                    <a:pt x="1163" y="176"/>
                  </a:lnTo>
                  <a:lnTo>
                    <a:pt x="1209" y="229"/>
                  </a:lnTo>
                  <a:lnTo>
                    <a:pt x="1259" y="227"/>
                  </a:lnTo>
                  <a:lnTo>
                    <a:pt x="1290" y="251"/>
                  </a:lnTo>
                  <a:lnTo>
                    <a:pt x="1424" y="245"/>
                  </a:lnTo>
                  <a:lnTo>
                    <a:pt x="1420" y="229"/>
                  </a:lnTo>
                  <a:lnTo>
                    <a:pt x="1457" y="259"/>
                  </a:lnTo>
                  <a:lnTo>
                    <a:pt x="1462" y="234"/>
                  </a:lnTo>
                  <a:lnTo>
                    <a:pt x="1433" y="242"/>
                  </a:lnTo>
                  <a:lnTo>
                    <a:pt x="1411" y="212"/>
                  </a:lnTo>
                  <a:lnTo>
                    <a:pt x="1461" y="208"/>
                  </a:lnTo>
                  <a:lnTo>
                    <a:pt x="1480" y="231"/>
                  </a:lnTo>
                  <a:lnTo>
                    <a:pt x="1499" y="224"/>
                  </a:lnTo>
                  <a:lnTo>
                    <a:pt x="1491" y="260"/>
                  </a:lnTo>
                  <a:lnTo>
                    <a:pt x="1527" y="279"/>
                  </a:lnTo>
                  <a:lnTo>
                    <a:pt x="1517" y="229"/>
                  </a:lnTo>
                  <a:lnTo>
                    <a:pt x="1584" y="200"/>
                  </a:lnTo>
                  <a:lnTo>
                    <a:pt x="1567" y="175"/>
                  </a:lnTo>
                  <a:lnTo>
                    <a:pt x="1547" y="193"/>
                  </a:lnTo>
                  <a:lnTo>
                    <a:pt x="1580" y="149"/>
                  </a:lnTo>
                  <a:lnTo>
                    <a:pt x="1484" y="117"/>
                  </a:lnTo>
                  <a:lnTo>
                    <a:pt x="1494" y="43"/>
                  </a:lnTo>
                  <a:lnTo>
                    <a:pt x="1517" y="44"/>
                  </a:lnTo>
                  <a:lnTo>
                    <a:pt x="1530" y="0"/>
                  </a:lnTo>
                  <a:lnTo>
                    <a:pt x="1602" y="43"/>
                  </a:lnTo>
                  <a:lnTo>
                    <a:pt x="1604" y="70"/>
                  </a:lnTo>
                  <a:lnTo>
                    <a:pt x="1653" y="109"/>
                  </a:lnTo>
                  <a:lnTo>
                    <a:pt x="1622" y="107"/>
                  </a:lnTo>
                  <a:lnTo>
                    <a:pt x="1635" y="121"/>
                  </a:lnTo>
                  <a:lnTo>
                    <a:pt x="1616" y="138"/>
                  </a:lnTo>
                  <a:lnTo>
                    <a:pt x="1675" y="149"/>
                  </a:lnTo>
                  <a:lnTo>
                    <a:pt x="1657" y="157"/>
                  </a:lnTo>
                  <a:lnTo>
                    <a:pt x="1692" y="220"/>
                  </a:lnTo>
                  <a:lnTo>
                    <a:pt x="1722" y="164"/>
                  </a:lnTo>
                  <a:lnTo>
                    <a:pt x="1765" y="186"/>
                  </a:lnTo>
                  <a:lnTo>
                    <a:pt x="1776" y="223"/>
                  </a:lnTo>
                  <a:lnTo>
                    <a:pt x="1755" y="234"/>
                  </a:lnTo>
                  <a:lnTo>
                    <a:pt x="1793" y="279"/>
                  </a:lnTo>
                  <a:lnTo>
                    <a:pt x="1817" y="268"/>
                  </a:lnTo>
                  <a:lnTo>
                    <a:pt x="1847" y="198"/>
                  </a:lnTo>
                  <a:lnTo>
                    <a:pt x="1881" y="191"/>
                  </a:lnTo>
                  <a:lnTo>
                    <a:pt x="1855" y="131"/>
                  </a:lnTo>
                  <a:lnTo>
                    <a:pt x="1950" y="136"/>
                  </a:lnTo>
                  <a:lnTo>
                    <a:pt x="1990" y="171"/>
                  </a:lnTo>
                  <a:lnTo>
                    <a:pt x="1975" y="189"/>
                  </a:lnTo>
                  <a:lnTo>
                    <a:pt x="1993" y="198"/>
                  </a:lnTo>
                  <a:lnTo>
                    <a:pt x="1951" y="209"/>
                  </a:lnTo>
                  <a:lnTo>
                    <a:pt x="1989" y="286"/>
                  </a:lnTo>
                  <a:lnTo>
                    <a:pt x="1927" y="328"/>
                  </a:lnTo>
                  <a:lnTo>
                    <a:pt x="1905" y="308"/>
                  </a:lnTo>
                  <a:lnTo>
                    <a:pt x="1914" y="336"/>
                  </a:lnTo>
                  <a:lnTo>
                    <a:pt x="1818" y="317"/>
                  </a:lnTo>
                  <a:lnTo>
                    <a:pt x="1837" y="343"/>
                  </a:lnTo>
                  <a:lnTo>
                    <a:pt x="1799" y="381"/>
                  </a:lnTo>
                  <a:lnTo>
                    <a:pt x="1701" y="351"/>
                  </a:lnTo>
                  <a:lnTo>
                    <a:pt x="1737" y="383"/>
                  </a:lnTo>
                  <a:lnTo>
                    <a:pt x="1807" y="389"/>
                  </a:lnTo>
                  <a:lnTo>
                    <a:pt x="1759" y="453"/>
                  </a:lnTo>
                  <a:lnTo>
                    <a:pt x="1707" y="449"/>
                  </a:lnTo>
                  <a:lnTo>
                    <a:pt x="1682" y="483"/>
                  </a:lnTo>
                  <a:lnTo>
                    <a:pt x="1590" y="454"/>
                  </a:lnTo>
                  <a:lnTo>
                    <a:pt x="1675" y="483"/>
                  </a:lnTo>
                  <a:lnTo>
                    <a:pt x="1685" y="509"/>
                  </a:lnTo>
                  <a:lnTo>
                    <a:pt x="1622" y="520"/>
                  </a:lnTo>
                  <a:lnTo>
                    <a:pt x="1635" y="527"/>
                  </a:lnTo>
                  <a:lnTo>
                    <a:pt x="1617" y="528"/>
                  </a:lnTo>
                  <a:lnTo>
                    <a:pt x="1617" y="554"/>
                  </a:lnTo>
                  <a:lnTo>
                    <a:pt x="1549" y="590"/>
                  </a:lnTo>
                  <a:lnTo>
                    <a:pt x="1535" y="707"/>
                  </a:lnTo>
                  <a:lnTo>
                    <a:pt x="1561" y="733"/>
                  </a:lnTo>
                  <a:lnTo>
                    <a:pt x="1597" y="718"/>
                  </a:lnTo>
                  <a:lnTo>
                    <a:pt x="1613" y="808"/>
                  </a:lnTo>
                  <a:lnTo>
                    <a:pt x="1667" y="790"/>
                  </a:lnTo>
                  <a:lnTo>
                    <a:pt x="1729" y="814"/>
                  </a:lnTo>
                  <a:lnTo>
                    <a:pt x="1857" y="879"/>
                  </a:lnTo>
                  <a:lnTo>
                    <a:pt x="1847" y="905"/>
                  </a:lnTo>
                  <a:lnTo>
                    <a:pt x="1861" y="886"/>
                  </a:lnTo>
                  <a:lnTo>
                    <a:pt x="1957" y="891"/>
                  </a:lnTo>
                  <a:lnTo>
                    <a:pt x="1957" y="989"/>
                  </a:lnTo>
                  <a:lnTo>
                    <a:pt x="1987" y="1022"/>
                  </a:lnTo>
                  <a:lnTo>
                    <a:pt x="1965" y="1029"/>
                  </a:lnTo>
                  <a:lnTo>
                    <a:pt x="2013" y="1047"/>
                  </a:lnTo>
                  <a:lnTo>
                    <a:pt x="2000" y="1077"/>
                  </a:lnTo>
                  <a:lnTo>
                    <a:pt x="2045" y="1076"/>
                  </a:lnTo>
                  <a:lnTo>
                    <a:pt x="2108" y="1024"/>
                  </a:lnTo>
                  <a:lnTo>
                    <a:pt x="2081" y="1011"/>
                  </a:lnTo>
                  <a:lnTo>
                    <a:pt x="2045" y="919"/>
                  </a:lnTo>
                  <a:lnTo>
                    <a:pt x="2164" y="838"/>
                  </a:lnTo>
                  <a:lnTo>
                    <a:pt x="2147" y="838"/>
                  </a:lnTo>
                  <a:lnTo>
                    <a:pt x="2120" y="742"/>
                  </a:lnTo>
                  <a:lnTo>
                    <a:pt x="2078" y="718"/>
                  </a:lnTo>
                  <a:lnTo>
                    <a:pt x="2134" y="678"/>
                  </a:lnTo>
                  <a:lnTo>
                    <a:pt x="2114" y="658"/>
                  </a:lnTo>
                  <a:lnTo>
                    <a:pt x="2123" y="623"/>
                  </a:lnTo>
                  <a:lnTo>
                    <a:pt x="2098" y="618"/>
                  </a:lnTo>
                  <a:lnTo>
                    <a:pt x="2123" y="582"/>
                  </a:lnTo>
                  <a:lnTo>
                    <a:pt x="2096" y="560"/>
                  </a:lnTo>
                  <a:lnTo>
                    <a:pt x="2111" y="530"/>
                  </a:lnTo>
                  <a:lnTo>
                    <a:pt x="2202" y="550"/>
                  </a:lnTo>
                  <a:lnTo>
                    <a:pt x="2241" y="534"/>
                  </a:lnTo>
                  <a:lnTo>
                    <a:pt x="2318" y="582"/>
                  </a:lnTo>
                  <a:lnTo>
                    <a:pt x="2318" y="603"/>
                  </a:lnTo>
                  <a:lnTo>
                    <a:pt x="2384" y="607"/>
                  </a:lnTo>
                  <a:lnTo>
                    <a:pt x="2390" y="655"/>
                  </a:lnTo>
                  <a:lnTo>
                    <a:pt x="2331" y="656"/>
                  </a:lnTo>
                  <a:lnTo>
                    <a:pt x="2382" y="665"/>
                  </a:lnTo>
                  <a:lnTo>
                    <a:pt x="2398" y="693"/>
                  </a:lnTo>
                  <a:lnTo>
                    <a:pt x="2344" y="735"/>
                  </a:lnTo>
                  <a:lnTo>
                    <a:pt x="2423" y="714"/>
                  </a:lnTo>
                  <a:lnTo>
                    <a:pt x="2427" y="750"/>
                  </a:lnTo>
                  <a:lnTo>
                    <a:pt x="2393" y="765"/>
                  </a:lnTo>
                  <a:lnTo>
                    <a:pt x="2441" y="728"/>
                  </a:lnTo>
                  <a:lnTo>
                    <a:pt x="2446" y="751"/>
                  </a:lnTo>
                  <a:lnTo>
                    <a:pt x="2492" y="715"/>
                  </a:lnTo>
                  <a:lnTo>
                    <a:pt x="2500" y="735"/>
                  </a:lnTo>
                  <a:lnTo>
                    <a:pt x="2531" y="684"/>
                  </a:lnTo>
                  <a:lnTo>
                    <a:pt x="2520" y="674"/>
                  </a:lnTo>
                  <a:lnTo>
                    <a:pt x="2556" y="645"/>
                  </a:lnTo>
                  <a:lnTo>
                    <a:pt x="2596" y="699"/>
                  </a:lnTo>
                  <a:lnTo>
                    <a:pt x="2562" y="711"/>
                  </a:lnTo>
                  <a:lnTo>
                    <a:pt x="2599" y="704"/>
                  </a:lnTo>
                  <a:lnTo>
                    <a:pt x="2612" y="726"/>
                  </a:lnTo>
                  <a:lnTo>
                    <a:pt x="2588" y="733"/>
                  </a:lnTo>
                  <a:lnTo>
                    <a:pt x="2621" y="737"/>
                  </a:lnTo>
                  <a:lnTo>
                    <a:pt x="2599" y="754"/>
                  </a:lnTo>
                  <a:lnTo>
                    <a:pt x="2622" y="750"/>
                  </a:lnTo>
                  <a:lnTo>
                    <a:pt x="2640" y="773"/>
                  </a:lnTo>
                  <a:lnTo>
                    <a:pt x="2628" y="784"/>
                  </a:lnTo>
                  <a:lnTo>
                    <a:pt x="2661" y="803"/>
                  </a:lnTo>
                  <a:lnTo>
                    <a:pt x="2608" y="823"/>
                  </a:lnTo>
                  <a:lnTo>
                    <a:pt x="2647" y="823"/>
                  </a:lnTo>
                  <a:lnTo>
                    <a:pt x="2639" y="842"/>
                  </a:lnTo>
                  <a:lnTo>
                    <a:pt x="2695" y="860"/>
                  </a:lnTo>
                  <a:lnTo>
                    <a:pt x="2716" y="904"/>
                  </a:lnTo>
                  <a:lnTo>
                    <a:pt x="2736" y="887"/>
                  </a:lnTo>
                  <a:lnTo>
                    <a:pt x="2792" y="918"/>
                  </a:lnTo>
                  <a:lnTo>
                    <a:pt x="2670" y="956"/>
                  </a:lnTo>
                  <a:lnTo>
                    <a:pt x="2695" y="977"/>
                  </a:lnTo>
                  <a:lnTo>
                    <a:pt x="2798" y="934"/>
                  </a:lnTo>
                  <a:lnTo>
                    <a:pt x="2798" y="970"/>
                  </a:lnTo>
                  <a:lnTo>
                    <a:pt x="2845" y="963"/>
                  </a:lnTo>
                  <a:lnTo>
                    <a:pt x="2850" y="981"/>
                  </a:lnTo>
                  <a:lnTo>
                    <a:pt x="2828" y="981"/>
                  </a:lnTo>
                  <a:lnTo>
                    <a:pt x="2850" y="1025"/>
                  </a:lnTo>
                  <a:lnTo>
                    <a:pt x="2706" y="1110"/>
                  </a:lnTo>
                  <a:lnTo>
                    <a:pt x="2497" y="1110"/>
                  </a:lnTo>
                  <a:lnTo>
                    <a:pt x="2409" y="1169"/>
                  </a:lnTo>
                  <a:lnTo>
                    <a:pt x="2338" y="1256"/>
                  </a:lnTo>
                  <a:lnTo>
                    <a:pt x="2409" y="1190"/>
                  </a:lnTo>
                  <a:lnTo>
                    <a:pt x="2522" y="1151"/>
                  </a:lnTo>
                  <a:lnTo>
                    <a:pt x="2562" y="1182"/>
                  </a:lnTo>
                  <a:lnTo>
                    <a:pt x="2489" y="1205"/>
                  </a:lnTo>
                  <a:lnTo>
                    <a:pt x="2546" y="1217"/>
                  </a:lnTo>
                  <a:lnTo>
                    <a:pt x="2531" y="1244"/>
                  </a:lnTo>
                  <a:lnTo>
                    <a:pt x="2575" y="1292"/>
                  </a:lnTo>
                  <a:lnTo>
                    <a:pt x="2663" y="1310"/>
                  </a:lnTo>
                  <a:lnTo>
                    <a:pt x="2687" y="1249"/>
                  </a:lnTo>
                  <a:lnTo>
                    <a:pt x="2687" y="1286"/>
                  </a:lnTo>
                  <a:lnTo>
                    <a:pt x="2710" y="1282"/>
                  </a:lnTo>
                  <a:lnTo>
                    <a:pt x="2669" y="1321"/>
                  </a:lnTo>
                  <a:lnTo>
                    <a:pt x="2566" y="1347"/>
                  </a:lnTo>
                  <a:lnTo>
                    <a:pt x="2529" y="1392"/>
                  </a:lnTo>
                  <a:lnTo>
                    <a:pt x="2500" y="1352"/>
                  </a:lnTo>
                  <a:lnTo>
                    <a:pt x="2597" y="1317"/>
                  </a:lnTo>
                  <a:lnTo>
                    <a:pt x="2546" y="1318"/>
                  </a:lnTo>
                  <a:lnTo>
                    <a:pt x="2556" y="1292"/>
                  </a:lnTo>
                  <a:lnTo>
                    <a:pt x="2471" y="1322"/>
                  </a:lnTo>
                  <a:lnTo>
                    <a:pt x="2446" y="1303"/>
                  </a:lnTo>
                  <a:lnTo>
                    <a:pt x="2446" y="1249"/>
                  </a:lnTo>
                  <a:lnTo>
                    <a:pt x="2391" y="1231"/>
                  </a:lnTo>
                  <a:lnTo>
                    <a:pt x="2350" y="1319"/>
                  </a:lnTo>
                  <a:lnTo>
                    <a:pt x="2180" y="1352"/>
                  </a:lnTo>
                  <a:lnTo>
                    <a:pt x="2063" y="1385"/>
                  </a:lnTo>
                  <a:lnTo>
                    <a:pt x="2044" y="1402"/>
                  </a:lnTo>
                  <a:lnTo>
                    <a:pt x="2070" y="1406"/>
                  </a:lnTo>
                  <a:lnTo>
                    <a:pt x="2076" y="1418"/>
                  </a:lnTo>
                  <a:lnTo>
                    <a:pt x="1934" y="1454"/>
                  </a:lnTo>
                  <a:lnTo>
                    <a:pt x="1942" y="1438"/>
                  </a:lnTo>
                  <a:lnTo>
                    <a:pt x="1951" y="1427"/>
                  </a:lnTo>
                  <a:lnTo>
                    <a:pt x="1956" y="1410"/>
                  </a:lnTo>
                  <a:lnTo>
                    <a:pt x="1978" y="1398"/>
                  </a:lnTo>
                  <a:lnTo>
                    <a:pt x="1982" y="1321"/>
                  </a:lnTo>
                  <a:lnTo>
                    <a:pt x="2006" y="1347"/>
                  </a:lnTo>
                  <a:lnTo>
                    <a:pt x="2048" y="1337"/>
                  </a:lnTo>
                  <a:lnTo>
                    <a:pt x="2012" y="1292"/>
                  </a:lnTo>
                  <a:lnTo>
                    <a:pt x="1890" y="1270"/>
                  </a:lnTo>
                  <a:lnTo>
                    <a:pt x="1884" y="1270"/>
                  </a:lnTo>
                  <a:lnTo>
                    <a:pt x="1872" y="1208"/>
                  </a:lnTo>
                  <a:lnTo>
                    <a:pt x="1847" y="1212"/>
                  </a:lnTo>
                  <a:lnTo>
                    <a:pt x="1825" y="1176"/>
                  </a:lnTo>
                  <a:lnTo>
                    <a:pt x="1799" y="1173"/>
                  </a:lnTo>
                  <a:lnTo>
                    <a:pt x="1799" y="1195"/>
                  </a:lnTo>
                  <a:lnTo>
                    <a:pt x="1767" y="1164"/>
                  </a:lnTo>
                  <a:lnTo>
                    <a:pt x="1710" y="1208"/>
                  </a:lnTo>
                  <a:lnTo>
                    <a:pt x="1552" y="1176"/>
                  </a:lnTo>
                  <a:lnTo>
                    <a:pt x="1531" y="1146"/>
                  </a:lnTo>
                  <a:lnTo>
                    <a:pt x="1530" y="1165"/>
                  </a:lnTo>
                  <a:lnTo>
                    <a:pt x="610" y="1165"/>
                  </a:lnTo>
                  <a:lnTo>
                    <a:pt x="596" y="1132"/>
                  </a:lnTo>
                  <a:lnTo>
                    <a:pt x="547" y="1123"/>
                  </a:lnTo>
                  <a:lnTo>
                    <a:pt x="550" y="1101"/>
                  </a:lnTo>
                  <a:lnTo>
                    <a:pt x="447" y="1072"/>
                  </a:lnTo>
                  <a:lnTo>
                    <a:pt x="459" y="1057"/>
                  </a:lnTo>
                  <a:lnTo>
                    <a:pt x="436" y="1015"/>
                  </a:lnTo>
                  <a:lnTo>
                    <a:pt x="409" y="1011"/>
                  </a:lnTo>
                  <a:lnTo>
                    <a:pt x="353" y="925"/>
                  </a:lnTo>
                  <a:lnTo>
                    <a:pt x="363" y="897"/>
                  </a:lnTo>
                  <a:lnTo>
                    <a:pt x="365" y="849"/>
                  </a:lnTo>
                  <a:lnTo>
                    <a:pt x="302" y="823"/>
                  </a:lnTo>
                  <a:lnTo>
                    <a:pt x="184" y="669"/>
                  </a:lnTo>
                  <a:lnTo>
                    <a:pt x="117" y="713"/>
                  </a:lnTo>
                  <a:lnTo>
                    <a:pt x="99" y="692"/>
                  </a:lnTo>
                  <a:lnTo>
                    <a:pt x="95" y="688"/>
                  </a:lnTo>
                  <a:lnTo>
                    <a:pt x="62" y="645"/>
                  </a:lnTo>
                  <a:lnTo>
                    <a:pt x="0" y="64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2" name="30428289.5132.755.3759.3755">
              <a:extLst>
                <a:ext uri="{FF2B5EF4-FFF2-40B4-BE49-F238E27FC236}">
                  <a16:creationId xmlns:a16="http://schemas.microsoft.com/office/drawing/2014/main" id="{BE20779A-FF35-4792-9C8E-A4E8BCCC32A4}"/>
                </a:ext>
              </a:extLst>
            </p:cNvPr>
            <p:cNvSpPr>
              <a:spLocks noChangeAspect="1"/>
            </p:cNvSpPr>
            <p:nvPr/>
          </p:nvSpPr>
          <p:spPr bwMode="gray">
            <a:xfrm>
              <a:off x="1801119" y="2988773"/>
              <a:ext cx="152160" cy="85783"/>
            </a:xfrm>
            <a:custGeom>
              <a:avLst/>
              <a:gdLst/>
              <a:ahLst/>
              <a:cxnLst>
                <a:cxn ang="0">
                  <a:pos x="0" y="0"/>
                </a:cxn>
                <a:cxn ang="0">
                  <a:pos x="90" y="19"/>
                </a:cxn>
                <a:cxn ang="0">
                  <a:pos x="167" y="96"/>
                </a:cxn>
                <a:cxn ang="0">
                  <a:pos x="122" y="81"/>
                </a:cxn>
                <a:cxn ang="0">
                  <a:pos x="0" y="0"/>
                </a:cxn>
              </a:cxnLst>
              <a:rect l="0" t="0" r="r" b="b"/>
              <a:pathLst>
                <a:path w="167" h="96">
                  <a:moveTo>
                    <a:pt x="0" y="0"/>
                  </a:moveTo>
                  <a:lnTo>
                    <a:pt x="90" y="19"/>
                  </a:lnTo>
                  <a:lnTo>
                    <a:pt x="167" y="96"/>
                  </a:lnTo>
                  <a:lnTo>
                    <a:pt x="122" y="81"/>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3" name="30429218.75137.2512.2519.6255">
              <a:extLst>
                <a:ext uri="{FF2B5EF4-FFF2-40B4-BE49-F238E27FC236}">
                  <a16:creationId xmlns:a16="http://schemas.microsoft.com/office/drawing/2014/main" id="{A77FF401-5E37-409F-8C9F-6AAB84CB6E01}"/>
                </a:ext>
              </a:extLst>
            </p:cNvPr>
            <p:cNvSpPr>
              <a:spLocks noChangeAspect="1"/>
            </p:cNvSpPr>
            <p:nvPr/>
          </p:nvSpPr>
          <p:spPr bwMode="gray">
            <a:xfrm>
              <a:off x="1873391" y="1841655"/>
              <a:ext cx="313830" cy="198475"/>
            </a:xfrm>
            <a:custGeom>
              <a:avLst/>
              <a:gdLst/>
              <a:ahLst/>
              <a:cxnLst>
                <a:cxn ang="0">
                  <a:pos x="0" y="164"/>
                </a:cxn>
                <a:cxn ang="0">
                  <a:pos x="15" y="136"/>
                </a:cxn>
                <a:cxn ang="0">
                  <a:pos x="65" y="46"/>
                </a:cxn>
                <a:cxn ang="0">
                  <a:pos x="42" y="8"/>
                </a:cxn>
                <a:cxn ang="0">
                  <a:pos x="150" y="0"/>
                </a:cxn>
                <a:cxn ang="0">
                  <a:pos x="224" y="36"/>
                </a:cxn>
                <a:cxn ang="0">
                  <a:pos x="274" y="15"/>
                </a:cxn>
                <a:cxn ang="0">
                  <a:pos x="349" y="66"/>
                </a:cxn>
                <a:cxn ang="0">
                  <a:pos x="189" y="146"/>
                </a:cxn>
                <a:cxn ang="0">
                  <a:pos x="175" y="194"/>
                </a:cxn>
                <a:cxn ang="0">
                  <a:pos x="96" y="217"/>
                </a:cxn>
                <a:cxn ang="0">
                  <a:pos x="61" y="179"/>
                </a:cxn>
                <a:cxn ang="0">
                  <a:pos x="0" y="164"/>
                </a:cxn>
              </a:cxnLst>
              <a:rect l="0" t="0" r="r" b="b"/>
              <a:pathLst>
                <a:path w="349" h="217">
                  <a:moveTo>
                    <a:pt x="0" y="164"/>
                  </a:moveTo>
                  <a:lnTo>
                    <a:pt x="15" y="136"/>
                  </a:lnTo>
                  <a:lnTo>
                    <a:pt x="65" y="46"/>
                  </a:lnTo>
                  <a:lnTo>
                    <a:pt x="42" y="8"/>
                  </a:lnTo>
                  <a:lnTo>
                    <a:pt x="150" y="0"/>
                  </a:lnTo>
                  <a:lnTo>
                    <a:pt x="224" y="36"/>
                  </a:lnTo>
                  <a:lnTo>
                    <a:pt x="274" y="15"/>
                  </a:lnTo>
                  <a:lnTo>
                    <a:pt x="349" y="66"/>
                  </a:lnTo>
                  <a:lnTo>
                    <a:pt x="189" y="146"/>
                  </a:lnTo>
                  <a:lnTo>
                    <a:pt x="175" y="194"/>
                  </a:lnTo>
                  <a:lnTo>
                    <a:pt x="96" y="217"/>
                  </a:lnTo>
                  <a:lnTo>
                    <a:pt x="61" y="179"/>
                  </a:lnTo>
                  <a:lnTo>
                    <a:pt x="0" y="16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4" name="30430207.25142.8756.87513.755">
              <a:extLst>
                <a:ext uri="{FF2B5EF4-FFF2-40B4-BE49-F238E27FC236}">
                  <a16:creationId xmlns:a16="http://schemas.microsoft.com/office/drawing/2014/main" id="{D85AF97D-C9D9-4F1E-9028-D8A5BE17E898}"/>
                </a:ext>
              </a:extLst>
            </p:cNvPr>
            <p:cNvSpPr>
              <a:spLocks noChangeAspect="1"/>
            </p:cNvSpPr>
            <p:nvPr/>
          </p:nvSpPr>
          <p:spPr bwMode="gray">
            <a:xfrm>
              <a:off x="1964689" y="1656636"/>
              <a:ext cx="218731" cy="109330"/>
            </a:xfrm>
            <a:custGeom>
              <a:avLst/>
              <a:gdLst/>
              <a:ahLst/>
              <a:cxnLst>
                <a:cxn ang="0">
                  <a:pos x="0" y="93"/>
                </a:cxn>
                <a:cxn ang="0">
                  <a:pos x="56" y="111"/>
                </a:cxn>
                <a:cxn ang="0">
                  <a:pos x="70" y="92"/>
                </a:cxn>
                <a:cxn ang="0">
                  <a:pos x="82" y="122"/>
                </a:cxn>
                <a:cxn ang="0">
                  <a:pos x="108" y="110"/>
                </a:cxn>
                <a:cxn ang="0">
                  <a:pos x="104" y="81"/>
                </a:cxn>
                <a:cxn ang="0">
                  <a:pos x="130" y="97"/>
                </a:cxn>
                <a:cxn ang="0">
                  <a:pos x="145" y="53"/>
                </a:cxn>
                <a:cxn ang="0">
                  <a:pos x="167" y="50"/>
                </a:cxn>
                <a:cxn ang="0">
                  <a:pos x="176" y="90"/>
                </a:cxn>
                <a:cxn ang="0">
                  <a:pos x="228" y="60"/>
                </a:cxn>
                <a:cxn ang="0">
                  <a:pos x="211" y="26"/>
                </a:cxn>
                <a:cxn ang="0">
                  <a:pos x="244" y="17"/>
                </a:cxn>
                <a:cxn ang="0">
                  <a:pos x="210" y="0"/>
                </a:cxn>
                <a:cxn ang="0">
                  <a:pos x="121" y="17"/>
                </a:cxn>
                <a:cxn ang="0">
                  <a:pos x="0" y="93"/>
                </a:cxn>
              </a:cxnLst>
              <a:rect l="0" t="0" r="r" b="b"/>
              <a:pathLst>
                <a:path w="244" h="122">
                  <a:moveTo>
                    <a:pt x="0" y="93"/>
                  </a:moveTo>
                  <a:lnTo>
                    <a:pt x="56" y="111"/>
                  </a:lnTo>
                  <a:lnTo>
                    <a:pt x="70" y="92"/>
                  </a:lnTo>
                  <a:lnTo>
                    <a:pt x="82" y="122"/>
                  </a:lnTo>
                  <a:lnTo>
                    <a:pt x="108" y="110"/>
                  </a:lnTo>
                  <a:lnTo>
                    <a:pt x="104" y="81"/>
                  </a:lnTo>
                  <a:lnTo>
                    <a:pt x="130" y="97"/>
                  </a:lnTo>
                  <a:lnTo>
                    <a:pt x="145" y="53"/>
                  </a:lnTo>
                  <a:lnTo>
                    <a:pt x="167" y="50"/>
                  </a:lnTo>
                  <a:lnTo>
                    <a:pt x="176" y="90"/>
                  </a:lnTo>
                  <a:lnTo>
                    <a:pt x="228" y="60"/>
                  </a:lnTo>
                  <a:lnTo>
                    <a:pt x="211" y="26"/>
                  </a:lnTo>
                  <a:lnTo>
                    <a:pt x="244" y="17"/>
                  </a:lnTo>
                  <a:lnTo>
                    <a:pt x="210" y="0"/>
                  </a:lnTo>
                  <a:lnTo>
                    <a:pt x="121" y="17"/>
                  </a:lnTo>
                  <a:lnTo>
                    <a:pt x="0" y="93"/>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5" name="30431223.125150.12516.625345">
              <a:extLst>
                <a:ext uri="{FF2B5EF4-FFF2-40B4-BE49-F238E27FC236}">
                  <a16:creationId xmlns:a16="http://schemas.microsoft.com/office/drawing/2014/main" id="{92880FED-C593-4AEB-BDDB-9EE7E8A06D78}"/>
                </a:ext>
              </a:extLst>
            </p:cNvPr>
            <p:cNvSpPr>
              <a:spLocks noChangeAspect="1"/>
            </p:cNvSpPr>
            <p:nvPr/>
          </p:nvSpPr>
          <p:spPr bwMode="gray">
            <a:xfrm>
              <a:off x="2078810" y="1912297"/>
              <a:ext cx="543976" cy="270801"/>
            </a:xfrm>
            <a:custGeom>
              <a:avLst/>
              <a:gdLst/>
              <a:ahLst/>
              <a:cxnLst>
                <a:cxn ang="0">
                  <a:pos x="0" y="95"/>
                </a:cxn>
                <a:cxn ang="0">
                  <a:pos x="30" y="72"/>
                </a:cxn>
                <a:cxn ang="0">
                  <a:pos x="15" y="59"/>
                </a:cxn>
                <a:cxn ang="0">
                  <a:pos x="87" y="17"/>
                </a:cxn>
                <a:cxn ang="0">
                  <a:pos x="146" y="0"/>
                </a:cxn>
                <a:cxn ang="0">
                  <a:pos x="165" y="30"/>
                </a:cxn>
                <a:cxn ang="0">
                  <a:pos x="144" y="48"/>
                </a:cxn>
                <a:cxn ang="0">
                  <a:pos x="198" y="24"/>
                </a:cxn>
                <a:cxn ang="0">
                  <a:pos x="257" y="44"/>
                </a:cxn>
                <a:cxn ang="0">
                  <a:pos x="235" y="66"/>
                </a:cxn>
                <a:cxn ang="0">
                  <a:pos x="304" y="51"/>
                </a:cxn>
                <a:cxn ang="0">
                  <a:pos x="285" y="26"/>
                </a:cxn>
                <a:cxn ang="0">
                  <a:pos x="312" y="29"/>
                </a:cxn>
                <a:cxn ang="0">
                  <a:pos x="366" y="109"/>
                </a:cxn>
                <a:cxn ang="0">
                  <a:pos x="385" y="90"/>
                </a:cxn>
                <a:cxn ang="0">
                  <a:pos x="363" y="3"/>
                </a:cxn>
                <a:cxn ang="0">
                  <a:pos x="407" y="4"/>
                </a:cxn>
                <a:cxn ang="0">
                  <a:pos x="455" y="35"/>
                </a:cxn>
                <a:cxn ang="0">
                  <a:pos x="483" y="143"/>
                </a:cxn>
                <a:cxn ang="0">
                  <a:pos x="602" y="195"/>
                </a:cxn>
                <a:cxn ang="0">
                  <a:pos x="601" y="224"/>
                </a:cxn>
                <a:cxn ang="0">
                  <a:pos x="568" y="212"/>
                </a:cxn>
                <a:cxn ang="0">
                  <a:pos x="532" y="231"/>
                </a:cxn>
                <a:cxn ang="0">
                  <a:pos x="583" y="255"/>
                </a:cxn>
                <a:cxn ang="0">
                  <a:pos x="536" y="279"/>
                </a:cxn>
                <a:cxn ang="0">
                  <a:pos x="459" y="267"/>
                </a:cxn>
                <a:cxn ang="0">
                  <a:pos x="414" y="237"/>
                </a:cxn>
                <a:cxn ang="0">
                  <a:pos x="315" y="286"/>
                </a:cxn>
                <a:cxn ang="0">
                  <a:pos x="191" y="296"/>
                </a:cxn>
                <a:cxn ang="0">
                  <a:pos x="166" y="249"/>
                </a:cxn>
                <a:cxn ang="0">
                  <a:pos x="98" y="246"/>
                </a:cxn>
                <a:cxn ang="0">
                  <a:pos x="54" y="206"/>
                </a:cxn>
                <a:cxn ang="0">
                  <a:pos x="228" y="182"/>
                </a:cxn>
                <a:cxn ang="0">
                  <a:pos x="47" y="169"/>
                </a:cxn>
                <a:cxn ang="0">
                  <a:pos x="24" y="145"/>
                </a:cxn>
                <a:cxn ang="0">
                  <a:pos x="117" y="117"/>
                </a:cxn>
                <a:cxn ang="0">
                  <a:pos x="30" y="121"/>
                </a:cxn>
                <a:cxn ang="0">
                  <a:pos x="37" y="109"/>
                </a:cxn>
                <a:cxn ang="0">
                  <a:pos x="0" y="95"/>
                </a:cxn>
              </a:cxnLst>
              <a:rect l="0" t="0" r="r" b="b"/>
              <a:pathLst>
                <a:path w="602" h="296">
                  <a:moveTo>
                    <a:pt x="0" y="95"/>
                  </a:moveTo>
                  <a:lnTo>
                    <a:pt x="30" y="72"/>
                  </a:lnTo>
                  <a:lnTo>
                    <a:pt x="15" y="59"/>
                  </a:lnTo>
                  <a:lnTo>
                    <a:pt x="87" y="17"/>
                  </a:lnTo>
                  <a:lnTo>
                    <a:pt x="146" y="0"/>
                  </a:lnTo>
                  <a:lnTo>
                    <a:pt x="165" y="30"/>
                  </a:lnTo>
                  <a:lnTo>
                    <a:pt x="144" y="48"/>
                  </a:lnTo>
                  <a:lnTo>
                    <a:pt x="198" y="24"/>
                  </a:lnTo>
                  <a:lnTo>
                    <a:pt x="257" y="44"/>
                  </a:lnTo>
                  <a:lnTo>
                    <a:pt x="235" y="66"/>
                  </a:lnTo>
                  <a:lnTo>
                    <a:pt x="304" y="51"/>
                  </a:lnTo>
                  <a:lnTo>
                    <a:pt x="285" y="26"/>
                  </a:lnTo>
                  <a:lnTo>
                    <a:pt x="312" y="29"/>
                  </a:lnTo>
                  <a:lnTo>
                    <a:pt x="366" y="109"/>
                  </a:lnTo>
                  <a:lnTo>
                    <a:pt x="385" y="90"/>
                  </a:lnTo>
                  <a:lnTo>
                    <a:pt x="363" y="3"/>
                  </a:lnTo>
                  <a:lnTo>
                    <a:pt x="407" y="4"/>
                  </a:lnTo>
                  <a:lnTo>
                    <a:pt x="455" y="35"/>
                  </a:lnTo>
                  <a:lnTo>
                    <a:pt x="483" y="143"/>
                  </a:lnTo>
                  <a:lnTo>
                    <a:pt x="602" y="195"/>
                  </a:lnTo>
                  <a:lnTo>
                    <a:pt x="601" y="224"/>
                  </a:lnTo>
                  <a:lnTo>
                    <a:pt x="568" y="212"/>
                  </a:lnTo>
                  <a:lnTo>
                    <a:pt x="532" y="231"/>
                  </a:lnTo>
                  <a:lnTo>
                    <a:pt x="583" y="255"/>
                  </a:lnTo>
                  <a:lnTo>
                    <a:pt x="536" y="279"/>
                  </a:lnTo>
                  <a:lnTo>
                    <a:pt x="459" y="267"/>
                  </a:lnTo>
                  <a:lnTo>
                    <a:pt x="414" y="237"/>
                  </a:lnTo>
                  <a:lnTo>
                    <a:pt x="315" y="286"/>
                  </a:lnTo>
                  <a:lnTo>
                    <a:pt x="191" y="296"/>
                  </a:lnTo>
                  <a:lnTo>
                    <a:pt x="166" y="249"/>
                  </a:lnTo>
                  <a:lnTo>
                    <a:pt x="98" y="246"/>
                  </a:lnTo>
                  <a:lnTo>
                    <a:pt x="54" y="206"/>
                  </a:lnTo>
                  <a:lnTo>
                    <a:pt x="228" y="182"/>
                  </a:lnTo>
                  <a:lnTo>
                    <a:pt x="47" y="169"/>
                  </a:lnTo>
                  <a:lnTo>
                    <a:pt x="24" y="145"/>
                  </a:lnTo>
                  <a:lnTo>
                    <a:pt x="117" y="117"/>
                  </a:lnTo>
                  <a:lnTo>
                    <a:pt x="30" y="121"/>
                  </a:lnTo>
                  <a:lnTo>
                    <a:pt x="37" y="109"/>
                  </a:lnTo>
                  <a:lnTo>
                    <a:pt x="0" y="9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6" name="30432209.875152.6259.125235">
              <a:extLst>
                <a:ext uri="{FF2B5EF4-FFF2-40B4-BE49-F238E27FC236}">
                  <a16:creationId xmlns:a16="http://schemas.microsoft.com/office/drawing/2014/main" id="{76ACD54F-DD9C-406C-BE1D-F35049DA8204}"/>
                </a:ext>
              </a:extLst>
            </p:cNvPr>
            <p:cNvSpPr>
              <a:spLocks noChangeAspect="1"/>
            </p:cNvSpPr>
            <p:nvPr/>
          </p:nvSpPr>
          <p:spPr bwMode="gray">
            <a:xfrm>
              <a:off x="2120654" y="1698685"/>
              <a:ext cx="367089" cy="148015"/>
            </a:xfrm>
            <a:custGeom>
              <a:avLst/>
              <a:gdLst/>
              <a:ahLst/>
              <a:cxnLst>
                <a:cxn ang="0">
                  <a:pos x="0" y="108"/>
                </a:cxn>
                <a:cxn ang="0">
                  <a:pos x="15" y="95"/>
                </a:cxn>
                <a:cxn ang="0">
                  <a:pos x="85" y="80"/>
                </a:cxn>
                <a:cxn ang="0">
                  <a:pos x="15" y="83"/>
                </a:cxn>
                <a:cxn ang="0">
                  <a:pos x="96" y="66"/>
                </a:cxn>
                <a:cxn ang="0">
                  <a:pos x="30" y="66"/>
                </a:cxn>
                <a:cxn ang="0">
                  <a:pos x="36" y="48"/>
                </a:cxn>
                <a:cxn ang="0">
                  <a:pos x="99" y="47"/>
                </a:cxn>
                <a:cxn ang="0">
                  <a:pos x="55" y="43"/>
                </a:cxn>
                <a:cxn ang="0">
                  <a:pos x="89" y="26"/>
                </a:cxn>
                <a:cxn ang="0">
                  <a:pos x="172" y="47"/>
                </a:cxn>
                <a:cxn ang="0">
                  <a:pos x="213" y="88"/>
                </a:cxn>
                <a:cxn ang="0">
                  <a:pos x="290" y="91"/>
                </a:cxn>
                <a:cxn ang="0">
                  <a:pos x="260" y="66"/>
                </a:cxn>
                <a:cxn ang="0">
                  <a:pos x="278" y="50"/>
                </a:cxn>
                <a:cxn ang="0">
                  <a:pos x="243" y="31"/>
                </a:cxn>
                <a:cxn ang="0">
                  <a:pos x="297" y="0"/>
                </a:cxn>
                <a:cxn ang="0">
                  <a:pos x="320" y="36"/>
                </a:cxn>
                <a:cxn ang="0">
                  <a:pos x="304" y="53"/>
                </a:cxn>
                <a:cxn ang="0">
                  <a:pos x="334" y="58"/>
                </a:cxn>
                <a:cxn ang="0">
                  <a:pos x="323" y="76"/>
                </a:cxn>
                <a:cxn ang="0">
                  <a:pos x="362" y="81"/>
                </a:cxn>
                <a:cxn ang="0">
                  <a:pos x="382" y="57"/>
                </a:cxn>
                <a:cxn ang="0">
                  <a:pos x="408" y="86"/>
                </a:cxn>
                <a:cxn ang="0">
                  <a:pos x="388" y="123"/>
                </a:cxn>
                <a:cxn ang="0">
                  <a:pos x="300" y="120"/>
                </a:cxn>
                <a:cxn ang="0">
                  <a:pos x="165" y="164"/>
                </a:cxn>
                <a:cxn ang="0">
                  <a:pos x="110" y="141"/>
                </a:cxn>
                <a:cxn ang="0">
                  <a:pos x="224" y="105"/>
                </a:cxn>
                <a:cxn ang="0">
                  <a:pos x="127" y="127"/>
                </a:cxn>
                <a:cxn ang="0">
                  <a:pos x="143" y="97"/>
                </a:cxn>
                <a:cxn ang="0">
                  <a:pos x="94" y="128"/>
                </a:cxn>
                <a:cxn ang="0">
                  <a:pos x="36" y="120"/>
                </a:cxn>
                <a:cxn ang="0">
                  <a:pos x="0" y="108"/>
                </a:cxn>
              </a:cxnLst>
              <a:rect l="0" t="0" r="r" b="b"/>
              <a:pathLst>
                <a:path w="408" h="164">
                  <a:moveTo>
                    <a:pt x="0" y="108"/>
                  </a:moveTo>
                  <a:lnTo>
                    <a:pt x="15" y="95"/>
                  </a:lnTo>
                  <a:lnTo>
                    <a:pt x="85" y="80"/>
                  </a:lnTo>
                  <a:lnTo>
                    <a:pt x="15" y="83"/>
                  </a:lnTo>
                  <a:lnTo>
                    <a:pt x="96" y="66"/>
                  </a:lnTo>
                  <a:lnTo>
                    <a:pt x="30" y="66"/>
                  </a:lnTo>
                  <a:lnTo>
                    <a:pt x="36" y="48"/>
                  </a:lnTo>
                  <a:lnTo>
                    <a:pt x="99" y="47"/>
                  </a:lnTo>
                  <a:lnTo>
                    <a:pt x="55" y="43"/>
                  </a:lnTo>
                  <a:lnTo>
                    <a:pt x="89" y="26"/>
                  </a:lnTo>
                  <a:lnTo>
                    <a:pt x="172" y="47"/>
                  </a:lnTo>
                  <a:lnTo>
                    <a:pt x="213" y="88"/>
                  </a:lnTo>
                  <a:lnTo>
                    <a:pt x="290" y="91"/>
                  </a:lnTo>
                  <a:lnTo>
                    <a:pt x="260" y="66"/>
                  </a:lnTo>
                  <a:lnTo>
                    <a:pt x="278" y="50"/>
                  </a:lnTo>
                  <a:lnTo>
                    <a:pt x="243" y="31"/>
                  </a:lnTo>
                  <a:lnTo>
                    <a:pt x="297" y="0"/>
                  </a:lnTo>
                  <a:lnTo>
                    <a:pt x="320" y="36"/>
                  </a:lnTo>
                  <a:lnTo>
                    <a:pt x="304" y="53"/>
                  </a:lnTo>
                  <a:lnTo>
                    <a:pt x="334" y="58"/>
                  </a:lnTo>
                  <a:lnTo>
                    <a:pt x="323" y="76"/>
                  </a:lnTo>
                  <a:lnTo>
                    <a:pt x="362" y="81"/>
                  </a:lnTo>
                  <a:lnTo>
                    <a:pt x="382" y="57"/>
                  </a:lnTo>
                  <a:lnTo>
                    <a:pt x="408" y="86"/>
                  </a:lnTo>
                  <a:lnTo>
                    <a:pt x="388" y="123"/>
                  </a:lnTo>
                  <a:lnTo>
                    <a:pt x="300" y="120"/>
                  </a:lnTo>
                  <a:lnTo>
                    <a:pt x="165" y="164"/>
                  </a:lnTo>
                  <a:lnTo>
                    <a:pt x="110" y="141"/>
                  </a:lnTo>
                  <a:lnTo>
                    <a:pt x="224" y="105"/>
                  </a:lnTo>
                  <a:lnTo>
                    <a:pt x="127" y="127"/>
                  </a:lnTo>
                  <a:lnTo>
                    <a:pt x="143" y="97"/>
                  </a:lnTo>
                  <a:lnTo>
                    <a:pt x="94" y="128"/>
                  </a:lnTo>
                  <a:lnTo>
                    <a:pt x="36" y="120"/>
                  </a:lnTo>
                  <a:lnTo>
                    <a:pt x="0" y="108"/>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7" name="30433200.25175.6255.7511.8755">
              <a:extLst>
                <a:ext uri="{FF2B5EF4-FFF2-40B4-BE49-F238E27FC236}">
                  <a16:creationId xmlns:a16="http://schemas.microsoft.com/office/drawing/2014/main" id="{9915582F-89CB-4957-AE27-5D043804BB7F}"/>
                </a:ext>
              </a:extLst>
            </p:cNvPr>
            <p:cNvSpPr>
              <a:spLocks noChangeAspect="1"/>
            </p:cNvSpPr>
            <p:nvPr/>
          </p:nvSpPr>
          <p:spPr bwMode="gray">
            <a:xfrm>
              <a:off x="2487743" y="1543941"/>
              <a:ext cx="192103" cy="92509"/>
            </a:xfrm>
            <a:custGeom>
              <a:avLst/>
              <a:gdLst/>
              <a:ahLst/>
              <a:cxnLst>
                <a:cxn ang="0">
                  <a:pos x="0" y="0"/>
                </a:cxn>
                <a:cxn ang="0">
                  <a:pos x="18" y="36"/>
                </a:cxn>
                <a:cxn ang="0">
                  <a:pos x="69" y="36"/>
                </a:cxn>
                <a:cxn ang="0">
                  <a:pos x="52" y="44"/>
                </a:cxn>
                <a:cxn ang="0">
                  <a:pos x="65" y="56"/>
                </a:cxn>
                <a:cxn ang="0">
                  <a:pos x="19" y="62"/>
                </a:cxn>
                <a:cxn ang="0">
                  <a:pos x="93" y="75"/>
                </a:cxn>
                <a:cxn ang="0">
                  <a:pos x="212" y="102"/>
                </a:cxn>
                <a:cxn ang="0">
                  <a:pos x="194" y="42"/>
                </a:cxn>
                <a:cxn ang="0">
                  <a:pos x="109" y="8"/>
                </a:cxn>
                <a:cxn ang="0">
                  <a:pos x="81" y="23"/>
                </a:cxn>
                <a:cxn ang="0">
                  <a:pos x="73" y="0"/>
                </a:cxn>
                <a:cxn ang="0">
                  <a:pos x="0" y="0"/>
                </a:cxn>
              </a:cxnLst>
              <a:rect l="0" t="0" r="r" b="b"/>
              <a:pathLst>
                <a:path w="212" h="102">
                  <a:moveTo>
                    <a:pt x="0" y="0"/>
                  </a:moveTo>
                  <a:lnTo>
                    <a:pt x="18" y="36"/>
                  </a:lnTo>
                  <a:lnTo>
                    <a:pt x="69" y="36"/>
                  </a:lnTo>
                  <a:lnTo>
                    <a:pt x="52" y="44"/>
                  </a:lnTo>
                  <a:lnTo>
                    <a:pt x="65" y="56"/>
                  </a:lnTo>
                  <a:lnTo>
                    <a:pt x="19" y="62"/>
                  </a:lnTo>
                  <a:lnTo>
                    <a:pt x="93" y="75"/>
                  </a:lnTo>
                  <a:lnTo>
                    <a:pt x="212" y="102"/>
                  </a:lnTo>
                  <a:lnTo>
                    <a:pt x="194" y="42"/>
                  </a:lnTo>
                  <a:lnTo>
                    <a:pt x="109" y="8"/>
                  </a:lnTo>
                  <a:lnTo>
                    <a:pt x="81" y="23"/>
                  </a:lnTo>
                  <a:lnTo>
                    <a:pt x="73" y="0"/>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8" name="30434211.125181.255.8759.55">
              <a:extLst>
                <a:ext uri="{FF2B5EF4-FFF2-40B4-BE49-F238E27FC236}">
                  <a16:creationId xmlns:a16="http://schemas.microsoft.com/office/drawing/2014/main" id="{AE248E76-C018-4286-9205-03945067B92E}"/>
                </a:ext>
              </a:extLst>
            </p:cNvPr>
            <p:cNvSpPr>
              <a:spLocks noChangeAspect="1"/>
            </p:cNvSpPr>
            <p:nvPr/>
          </p:nvSpPr>
          <p:spPr bwMode="gray">
            <a:xfrm>
              <a:off x="2579037" y="1718868"/>
              <a:ext cx="152160" cy="95874"/>
            </a:xfrm>
            <a:custGeom>
              <a:avLst/>
              <a:gdLst/>
              <a:ahLst/>
              <a:cxnLst>
                <a:cxn ang="0">
                  <a:pos x="0" y="67"/>
                </a:cxn>
                <a:cxn ang="0">
                  <a:pos x="18" y="42"/>
                </a:cxn>
                <a:cxn ang="0">
                  <a:pos x="51" y="46"/>
                </a:cxn>
                <a:cxn ang="0">
                  <a:pos x="10" y="22"/>
                </a:cxn>
                <a:cxn ang="0">
                  <a:pos x="19" y="7"/>
                </a:cxn>
                <a:cxn ang="0">
                  <a:pos x="88" y="40"/>
                </a:cxn>
                <a:cxn ang="0">
                  <a:pos x="49" y="4"/>
                </a:cxn>
                <a:cxn ang="0">
                  <a:pos x="151" y="0"/>
                </a:cxn>
                <a:cxn ang="0">
                  <a:pos x="169" y="75"/>
                </a:cxn>
                <a:cxn ang="0">
                  <a:pos x="148" y="63"/>
                </a:cxn>
                <a:cxn ang="0">
                  <a:pos x="147" y="103"/>
                </a:cxn>
                <a:cxn ang="0">
                  <a:pos x="64" y="99"/>
                </a:cxn>
                <a:cxn ang="0">
                  <a:pos x="81" y="88"/>
                </a:cxn>
                <a:cxn ang="0">
                  <a:pos x="59" y="73"/>
                </a:cxn>
                <a:cxn ang="0">
                  <a:pos x="118" y="52"/>
                </a:cxn>
                <a:cxn ang="0">
                  <a:pos x="0" y="67"/>
                </a:cxn>
              </a:cxnLst>
              <a:rect l="0" t="0" r="r" b="b"/>
              <a:pathLst>
                <a:path w="169" h="103">
                  <a:moveTo>
                    <a:pt x="0" y="67"/>
                  </a:moveTo>
                  <a:lnTo>
                    <a:pt x="18" y="42"/>
                  </a:lnTo>
                  <a:lnTo>
                    <a:pt x="51" y="46"/>
                  </a:lnTo>
                  <a:lnTo>
                    <a:pt x="10" y="22"/>
                  </a:lnTo>
                  <a:lnTo>
                    <a:pt x="19" y="7"/>
                  </a:lnTo>
                  <a:lnTo>
                    <a:pt x="88" y="40"/>
                  </a:lnTo>
                  <a:lnTo>
                    <a:pt x="49" y="4"/>
                  </a:lnTo>
                  <a:lnTo>
                    <a:pt x="151" y="0"/>
                  </a:lnTo>
                  <a:lnTo>
                    <a:pt x="169" y="75"/>
                  </a:lnTo>
                  <a:lnTo>
                    <a:pt x="148" y="63"/>
                  </a:lnTo>
                  <a:lnTo>
                    <a:pt x="147" y="103"/>
                  </a:lnTo>
                  <a:lnTo>
                    <a:pt x="64" y="99"/>
                  </a:lnTo>
                  <a:lnTo>
                    <a:pt x="81" y="88"/>
                  </a:lnTo>
                  <a:lnTo>
                    <a:pt x="59" y="73"/>
                  </a:lnTo>
                  <a:lnTo>
                    <a:pt x="118" y="52"/>
                  </a:lnTo>
                  <a:lnTo>
                    <a:pt x="0" y="67"/>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9" name="30435221.25181.3759.12511.255">
              <a:extLst>
                <a:ext uri="{FF2B5EF4-FFF2-40B4-BE49-F238E27FC236}">
                  <a16:creationId xmlns:a16="http://schemas.microsoft.com/office/drawing/2014/main" id="{A79C4B69-ED26-4AAD-A8C6-B05AEC857B4E}"/>
                </a:ext>
              </a:extLst>
            </p:cNvPr>
            <p:cNvSpPr>
              <a:spLocks noChangeAspect="1"/>
            </p:cNvSpPr>
            <p:nvPr/>
          </p:nvSpPr>
          <p:spPr bwMode="gray">
            <a:xfrm>
              <a:off x="2582842" y="1882023"/>
              <a:ext cx="180692" cy="149699"/>
            </a:xfrm>
            <a:custGeom>
              <a:avLst/>
              <a:gdLst/>
              <a:ahLst/>
              <a:cxnLst>
                <a:cxn ang="0">
                  <a:pos x="0" y="81"/>
                </a:cxn>
                <a:cxn ang="0">
                  <a:pos x="10" y="61"/>
                </a:cxn>
                <a:cxn ang="0">
                  <a:pos x="76" y="73"/>
                </a:cxn>
                <a:cxn ang="0">
                  <a:pos x="66" y="47"/>
                </a:cxn>
                <a:cxn ang="0">
                  <a:pos x="84" y="48"/>
                </a:cxn>
                <a:cxn ang="0">
                  <a:pos x="40" y="35"/>
                </a:cxn>
                <a:cxn ang="0">
                  <a:pos x="60" y="28"/>
                </a:cxn>
                <a:cxn ang="0">
                  <a:pos x="41" y="14"/>
                </a:cxn>
                <a:cxn ang="0">
                  <a:pos x="168" y="0"/>
                </a:cxn>
                <a:cxn ang="0">
                  <a:pos x="172" y="36"/>
                </a:cxn>
                <a:cxn ang="0">
                  <a:pos x="133" y="65"/>
                </a:cxn>
                <a:cxn ang="0">
                  <a:pos x="191" y="73"/>
                </a:cxn>
                <a:cxn ang="0">
                  <a:pos x="198" y="131"/>
                </a:cxn>
                <a:cxn ang="0">
                  <a:pos x="113" y="162"/>
                </a:cxn>
                <a:cxn ang="0">
                  <a:pos x="76" y="117"/>
                </a:cxn>
                <a:cxn ang="0">
                  <a:pos x="0" y="81"/>
                </a:cxn>
              </a:cxnLst>
              <a:rect l="0" t="0" r="r" b="b"/>
              <a:pathLst>
                <a:path w="198" h="162">
                  <a:moveTo>
                    <a:pt x="0" y="81"/>
                  </a:moveTo>
                  <a:lnTo>
                    <a:pt x="10" y="61"/>
                  </a:lnTo>
                  <a:lnTo>
                    <a:pt x="76" y="73"/>
                  </a:lnTo>
                  <a:lnTo>
                    <a:pt x="66" y="47"/>
                  </a:lnTo>
                  <a:lnTo>
                    <a:pt x="84" y="48"/>
                  </a:lnTo>
                  <a:lnTo>
                    <a:pt x="40" y="35"/>
                  </a:lnTo>
                  <a:lnTo>
                    <a:pt x="60" y="28"/>
                  </a:lnTo>
                  <a:lnTo>
                    <a:pt x="41" y="14"/>
                  </a:lnTo>
                  <a:lnTo>
                    <a:pt x="168" y="0"/>
                  </a:lnTo>
                  <a:lnTo>
                    <a:pt x="172" y="36"/>
                  </a:lnTo>
                  <a:lnTo>
                    <a:pt x="133" y="65"/>
                  </a:lnTo>
                  <a:lnTo>
                    <a:pt x="191" y="73"/>
                  </a:lnTo>
                  <a:lnTo>
                    <a:pt x="198" y="131"/>
                  </a:lnTo>
                  <a:lnTo>
                    <a:pt x="113" y="162"/>
                  </a:lnTo>
                  <a:lnTo>
                    <a:pt x="76" y="117"/>
                  </a:lnTo>
                  <a:lnTo>
                    <a:pt x="0" y="81"/>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0" name="30436201.625189.254.756.755">
              <a:extLst>
                <a:ext uri="{FF2B5EF4-FFF2-40B4-BE49-F238E27FC236}">
                  <a16:creationId xmlns:a16="http://schemas.microsoft.com/office/drawing/2014/main" id="{AFC072BF-517E-4A39-B27A-BD484ABB3E82}"/>
                </a:ext>
              </a:extLst>
            </p:cNvPr>
            <p:cNvSpPr>
              <a:spLocks noChangeAspect="1"/>
            </p:cNvSpPr>
            <p:nvPr/>
          </p:nvSpPr>
          <p:spPr bwMode="gray">
            <a:xfrm>
              <a:off x="2706474" y="1564127"/>
              <a:ext cx="110316" cy="77372"/>
            </a:xfrm>
            <a:custGeom>
              <a:avLst/>
              <a:gdLst/>
              <a:ahLst/>
              <a:cxnLst>
                <a:cxn ang="0">
                  <a:pos x="0" y="0"/>
                </a:cxn>
                <a:cxn ang="0">
                  <a:pos x="14" y="49"/>
                </a:cxn>
                <a:cxn ang="0">
                  <a:pos x="51" y="52"/>
                </a:cxn>
                <a:cxn ang="0">
                  <a:pos x="19" y="59"/>
                </a:cxn>
                <a:cxn ang="0">
                  <a:pos x="34" y="82"/>
                </a:cxn>
                <a:cxn ang="0">
                  <a:pos x="108" y="69"/>
                </a:cxn>
                <a:cxn ang="0">
                  <a:pos x="119" y="41"/>
                </a:cxn>
                <a:cxn ang="0">
                  <a:pos x="0" y="0"/>
                </a:cxn>
              </a:cxnLst>
              <a:rect l="0" t="0" r="r" b="b"/>
              <a:pathLst>
                <a:path w="119" h="82">
                  <a:moveTo>
                    <a:pt x="0" y="0"/>
                  </a:moveTo>
                  <a:lnTo>
                    <a:pt x="14" y="49"/>
                  </a:lnTo>
                  <a:lnTo>
                    <a:pt x="51" y="52"/>
                  </a:lnTo>
                  <a:lnTo>
                    <a:pt x="19" y="59"/>
                  </a:lnTo>
                  <a:lnTo>
                    <a:pt x="34" y="82"/>
                  </a:lnTo>
                  <a:lnTo>
                    <a:pt x="108" y="69"/>
                  </a:lnTo>
                  <a:lnTo>
                    <a:pt x="119" y="41"/>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1" name="30437208.875191.7510.12532.3755">
              <a:extLst>
                <a:ext uri="{FF2B5EF4-FFF2-40B4-BE49-F238E27FC236}">
                  <a16:creationId xmlns:a16="http://schemas.microsoft.com/office/drawing/2014/main" id="{9BA141B2-7FE0-47FF-B385-3235C160429F}"/>
                </a:ext>
              </a:extLst>
            </p:cNvPr>
            <p:cNvSpPr>
              <a:spLocks noChangeAspect="1"/>
            </p:cNvSpPr>
            <p:nvPr/>
          </p:nvSpPr>
          <p:spPr bwMode="gray">
            <a:xfrm>
              <a:off x="2746413" y="1680184"/>
              <a:ext cx="519249" cy="166517"/>
            </a:xfrm>
            <a:custGeom>
              <a:avLst/>
              <a:gdLst/>
              <a:ahLst/>
              <a:cxnLst>
                <a:cxn ang="0">
                  <a:pos x="0" y="29"/>
                </a:cxn>
                <a:cxn ang="0">
                  <a:pos x="36" y="0"/>
                </a:cxn>
                <a:cxn ang="0">
                  <a:pos x="87" y="16"/>
                </a:cxn>
                <a:cxn ang="0">
                  <a:pos x="121" y="29"/>
                </a:cxn>
                <a:cxn ang="0">
                  <a:pos x="110" y="50"/>
                </a:cxn>
                <a:cxn ang="0">
                  <a:pos x="176" y="32"/>
                </a:cxn>
                <a:cxn ang="0">
                  <a:pos x="219" y="50"/>
                </a:cxn>
                <a:cxn ang="0">
                  <a:pos x="183" y="50"/>
                </a:cxn>
                <a:cxn ang="0">
                  <a:pos x="256" y="64"/>
                </a:cxn>
                <a:cxn ang="0">
                  <a:pos x="176" y="69"/>
                </a:cxn>
                <a:cxn ang="0">
                  <a:pos x="219" y="82"/>
                </a:cxn>
                <a:cxn ang="0">
                  <a:pos x="187" y="97"/>
                </a:cxn>
                <a:cxn ang="0">
                  <a:pos x="227" y="84"/>
                </a:cxn>
                <a:cxn ang="0">
                  <a:pos x="263" y="120"/>
                </a:cxn>
                <a:cxn ang="0">
                  <a:pos x="271" y="104"/>
                </a:cxn>
                <a:cxn ang="0">
                  <a:pos x="377" y="120"/>
                </a:cxn>
                <a:cxn ang="0">
                  <a:pos x="486" y="86"/>
                </a:cxn>
                <a:cxn ang="0">
                  <a:pos x="575" y="126"/>
                </a:cxn>
                <a:cxn ang="0">
                  <a:pos x="547" y="145"/>
                </a:cxn>
                <a:cxn ang="0">
                  <a:pos x="557" y="175"/>
                </a:cxn>
                <a:cxn ang="0">
                  <a:pos x="505" y="182"/>
                </a:cxn>
                <a:cxn ang="0">
                  <a:pos x="446" y="153"/>
                </a:cxn>
                <a:cxn ang="0">
                  <a:pos x="446" y="175"/>
                </a:cxn>
                <a:cxn ang="0">
                  <a:pos x="414" y="179"/>
                </a:cxn>
                <a:cxn ang="0">
                  <a:pos x="285" y="182"/>
                </a:cxn>
                <a:cxn ang="0">
                  <a:pos x="271" y="157"/>
                </a:cxn>
                <a:cxn ang="0">
                  <a:pos x="240" y="179"/>
                </a:cxn>
                <a:cxn ang="0">
                  <a:pos x="200" y="157"/>
                </a:cxn>
                <a:cxn ang="0">
                  <a:pos x="174" y="172"/>
                </a:cxn>
                <a:cxn ang="0">
                  <a:pos x="124" y="54"/>
                </a:cxn>
                <a:cxn ang="0">
                  <a:pos x="65" y="65"/>
                </a:cxn>
                <a:cxn ang="0">
                  <a:pos x="0" y="29"/>
                </a:cxn>
              </a:cxnLst>
              <a:rect l="0" t="0" r="r" b="b"/>
              <a:pathLst>
                <a:path w="575" h="182">
                  <a:moveTo>
                    <a:pt x="0" y="29"/>
                  </a:moveTo>
                  <a:lnTo>
                    <a:pt x="36" y="0"/>
                  </a:lnTo>
                  <a:lnTo>
                    <a:pt x="87" y="16"/>
                  </a:lnTo>
                  <a:lnTo>
                    <a:pt x="121" y="29"/>
                  </a:lnTo>
                  <a:lnTo>
                    <a:pt x="110" y="50"/>
                  </a:lnTo>
                  <a:lnTo>
                    <a:pt x="176" y="32"/>
                  </a:lnTo>
                  <a:lnTo>
                    <a:pt x="219" y="50"/>
                  </a:lnTo>
                  <a:lnTo>
                    <a:pt x="183" y="50"/>
                  </a:lnTo>
                  <a:lnTo>
                    <a:pt x="256" y="64"/>
                  </a:lnTo>
                  <a:lnTo>
                    <a:pt x="176" y="69"/>
                  </a:lnTo>
                  <a:lnTo>
                    <a:pt x="219" y="82"/>
                  </a:lnTo>
                  <a:lnTo>
                    <a:pt x="187" y="97"/>
                  </a:lnTo>
                  <a:lnTo>
                    <a:pt x="227" y="84"/>
                  </a:lnTo>
                  <a:lnTo>
                    <a:pt x="263" y="120"/>
                  </a:lnTo>
                  <a:lnTo>
                    <a:pt x="271" y="104"/>
                  </a:lnTo>
                  <a:lnTo>
                    <a:pt x="377" y="120"/>
                  </a:lnTo>
                  <a:lnTo>
                    <a:pt x="486" y="86"/>
                  </a:lnTo>
                  <a:lnTo>
                    <a:pt x="575" y="126"/>
                  </a:lnTo>
                  <a:lnTo>
                    <a:pt x="547" y="145"/>
                  </a:lnTo>
                  <a:lnTo>
                    <a:pt x="557" y="175"/>
                  </a:lnTo>
                  <a:lnTo>
                    <a:pt x="505" y="182"/>
                  </a:lnTo>
                  <a:lnTo>
                    <a:pt x="446" y="153"/>
                  </a:lnTo>
                  <a:lnTo>
                    <a:pt x="446" y="175"/>
                  </a:lnTo>
                  <a:lnTo>
                    <a:pt x="414" y="179"/>
                  </a:lnTo>
                  <a:lnTo>
                    <a:pt x="285" y="182"/>
                  </a:lnTo>
                  <a:lnTo>
                    <a:pt x="271" y="157"/>
                  </a:lnTo>
                  <a:lnTo>
                    <a:pt x="240" y="179"/>
                  </a:lnTo>
                  <a:lnTo>
                    <a:pt x="200" y="157"/>
                  </a:lnTo>
                  <a:lnTo>
                    <a:pt x="174" y="172"/>
                  </a:lnTo>
                  <a:lnTo>
                    <a:pt x="124" y="54"/>
                  </a:lnTo>
                  <a:lnTo>
                    <a:pt x="65" y="65"/>
                  </a:lnTo>
                  <a:lnTo>
                    <a:pt x="0" y="2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2" name="30438191.2519313.7521.1255">
              <a:extLst>
                <a:ext uri="{FF2B5EF4-FFF2-40B4-BE49-F238E27FC236}">
                  <a16:creationId xmlns:a16="http://schemas.microsoft.com/office/drawing/2014/main" id="{21642C39-0370-4887-B25A-2F06A1A50EC0}"/>
                </a:ext>
              </a:extLst>
            </p:cNvPr>
            <p:cNvSpPr>
              <a:spLocks noChangeAspect="1"/>
            </p:cNvSpPr>
            <p:nvPr/>
          </p:nvSpPr>
          <p:spPr bwMode="gray">
            <a:xfrm>
              <a:off x="2765435" y="1394245"/>
              <a:ext cx="338557" cy="223706"/>
            </a:xfrm>
            <a:custGeom>
              <a:avLst/>
              <a:gdLst/>
              <a:ahLst/>
              <a:cxnLst>
                <a:cxn ang="0">
                  <a:pos x="0" y="75"/>
                </a:cxn>
                <a:cxn ang="0">
                  <a:pos x="90" y="61"/>
                </a:cxn>
                <a:cxn ang="0">
                  <a:pos x="42" y="28"/>
                </a:cxn>
                <a:cxn ang="0">
                  <a:pos x="122" y="13"/>
                </a:cxn>
                <a:cxn ang="0">
                  <a:pos x="59" y="0"/>
                </a:cxn>
                <a:cxn ang="0">
                  <a:pos x="159" y="17"/>
                </a:cxn>
                <a:cxn ang="0">
                  <a:pos x="188" y="63"/>
                </a:cxn>
                <a:cxn ang="0">
                  <a:pos x="240" y="64"/>
                </a:cxn>
                <a:cxn ang="0">
                  <a:pos x="260" y="96"/>
                </a:cxn>
                <a:cxn ang="0">
                  <a:pos x="264" y="74"/>
                </a:cxn>
                <a:cxn ang="0">
                  <a:pos x="290" y="75"/>
                </a:cxn>
                <a:cxn ang="0">
                  <a:pos x="279" y="96"/>
                </a:cxn>
                <a:cxn ang="0">
                  <a:pos x="308" y="111"/>
                </a:cxn>
                <a:cxn ang="0">
                  <a:pos x="290" y="133"/>
                </a:cxn>
                <a:cxn ang="0">
                  <a:pos x="349" y="130"/>
                </a:cxn>
                <a:cxn ang="0">
                  <a:pos x="375" y="162"/>
                </a:cxn>
                <a:cxn ang="0">
                  <a:pos x="304" y="173"/>
                </a:cxn>
                <a:cxn ang="0">
                  <a:pos x="284" y="202"/>
                </a:cxn>
                <a:cxn ang="0">
                  <a:pos x="271" y="171"/>
                </a:cxn>
                <a:cxn ang="0">
                  <a:pos x="251" y="240"/>
                </a:cxn>
                <a:cxn ang="0">
                  <a:pos x="206" y="205"/>
                </a:cxn>
                <a:cxn ang="0">
                  <a:pos x="229" y="242"/>
                </a:cxn>
                <a:cxn ang="0">
                  <a:pos x="141" y="236"/>
                </a:cxn>
                <a:cxn ang="0">
                  <a:pos x="114" y="217"/>
                </a:cxn>
                <a:cxn ang="0">
                  <a:pos x="155" y="214"/>
                </a:cxn>
                <a:cxn ang="0">
                  <a:pos x="111" y="207"/>
                </a:cxn>
                <a:cxn ang="0">
                  <a:pos x="99" y="196"/>
                </a:cxn>
                <a:cxn ang="0">
                  <a:pos x="122" y="195"/>
                </a:cxn>
                <a:cxn ang="0">
                  <a:pos x="85" y="180"/>
                </a:cxn>
                <a:cxn ang="0">
                  <a:pos x="203" y="158"/>
                </a:cxn>
                <a:cxn ang="0">
                  <a:pos x="59" y="162"/>
                </a:cxn>
                <a:cxn ang="0">
                  <a:pos x="33" y="138"/>
                </a:cxn>
                <a:cxn ang="0">
                  <a:pos x="85" y="127"/>
                </a:cxn>
                <a:cxn ang="0">
                  <a:pos x="5" y="111"/>
                </a:cxn>
                <a:cxn ang="0">
                  <a:pos x="23" y="110"/>
                </a:cxn>
                <a:cxn ang="0">
                  <a:pos x="1" y="93"/>
                </a:cxn>
                <a:cxn ang="0">
                  <a:pos x="90" y="93"/>
                </a:cxn>
                <a:cxn ang="0">
                  <a:pos x="0" y="75"/>
                </a:cxn>
              </a:cxnLst>
              <a:rect l="0" t="0" r="r" b="b"/>
              <a:pathLst>
                <a:path w="375" h="242">
                  <a:moveTo>
                    <a:pt x="0" y="75"/>
                  </a:moveTo>
                  <a:lnTo>
                    <a:pt x="90" y="61"/>
                  </a:lnTo>
                  <a:lnTo>
                    <a:pt x="42" y="28"/>
                  </a:lnTo>
                  <a:lnTo>
                    <a:pt x="122" y="13"/>
                  </a:lnTo>
                  <a:lnTo>
                    <a:pt x="59" y="0"/>
                  </a:lnTo>
                  <a:lnTo>
                    <a:pt x="159" y="17"/>
                  </a:lnTo>
                  <a:lnTo>
                    <a:pt x="188" y="63"/>
                  </a:lnTo>
                  <a:lnTo>
                    <a:pt x="240" y="64"/>
                  </a:lnTo>
                  <a:lnTo>
                    <a:pt x="260" y="96"/>
                  </a:lnTo>
                  <a:lnTo>
                    <a:pt x="264" y="74"/>
                  </a:lnTo>
                  <a:lnTo>
                    <a:pt x="290" y="75"/>
                  </a:lnTo>
                  <a:lnTo>
                    <a:pt x="279" y="96"/>
                  </a:lnTo>
                  <a:lnTo>
                    <a:pt x="308" y="111"/>
                  </a:lnTo>
                  <a:lnTo>
                    <a:pt x="290" y="133"/>
                  </a:lnTo>
                  <a:lnTo>
                    <a:pt x="349" y="130"/>
                  </a:lnTo>
                  <a:lnTo>
                    <a:pt x="375" y="162"/>
                  </a:lnTo>
                  <a:lnTo>
                    <a:pt x="304" y="173"/>
                  </a:lnTo>
                  <a:lnTo>
                    <a:pt x="284" y="202"/>
                  </a:lnTo>
                  <a:lnTo>
                    <a:pt x="271" y="171"/>
                  </a:lnTo>
                  <a:lnTo>
                    <a:pt x="251" y="240"/>
                  </a:lnTo>
                  <a:lnTo>
                    <a:pt x="206" y="205"/>
                  </a:lnTo>
                  <a:lnTo>
                    <a:pt x="229" y="242"/>
                  </a:lnTo>
                  <a:lnTo>
                    <a:pt x="141" y="236"/>
                  </a:lnTo>
                  <a:lnTo>
                    <a:pt x="114" y="217"/>
                  </a:lnTo>
                  <a:lnTo>
                    <a:pt x="155" y="214"/>
                  </a:lnTo>
                  <a:lnTo>
                    <a:pt x="111" y="207"/>
                  </a:lnTo>
                  <a:lnTo>
                    <a:pt x="99" y="196"/>
                  </a:lnTo>
                  <a:lnTo>
                    <a:pt x="122" y="195"/>
                  </a:lnTo>
                  <a:lnTo>
                    <a:pt x="85" y="180"/>
                  </a:lnTo>
                  <a:lnTo>
                    <a:pt x="203" y="158"/>
                  </a:lnTo>
                  <a:lnTo>
                    <a:pt x="59" y="162"/>
                  </a:lnTo>
                  <a:lnTo>
                    <a:pt x="33" y="138"/>
                  </a:lnTo>
                  <a:lnTo>
                    <a:pt x="85" y="127"/>
                  </a:lnTo>
                  <a:lnTo>
                    <a:pt x="5" y="111"/>
                  </a:lnTo>
                  <a:lnTo>
                    <a:pt x="23" y="110"/>
                  </a:lnTo>
                  <a:lnTo>
                    <a:pt x="1" y="93"/>
                  </a:lnTo>
                  <a:lnTo>
                    <a:pt x="90" y="93"/>
                  </a:lnTo>
                  <a:lnTo>
                    <a:pt x="0" y="7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3" name="30439214.8751933.55.1255">
              <a:extLst>
                <a:ext uri="{FF2B5EF4-FFF2-40B4-BE49-F238E27FC236}">
                  <a16:creationId xmlns:a16="http://schemas.microsoft.com/office/drawing/2014/main" id="{C0715C35-7642-4BEB-992B-56A8837EB174}"/>
                </a:ext>
              </a:extLst>
            </p:cNvPr>
            <p:cNvSpPr>
              <a:spLocks noChangeAspect="1"/>
            </p:cNvSpPr>
            <p:nvPr/>
          </p:nvSpPr>
          <p:spPr bwMode="gray">
            <a:xfrm>
              <a:off x="2765435" y="1777738"/>
              <a:ext cx="81787" cy="57186"/>
            </a:xfrm>
            <a:custGeom>
              <a:avLst/>
              <a:gdLst/>
              <a:ahLst/>
              <a:cxnLst>
                <a:cxn ang="0">
                  <a:pos x="0" y="43"/>
                </a:cxn>
                <a:cxn ang="0">
                  <a:pos x="15" y="0"/>
                </a:cxn>
                <a:cxn ang="0">
                  <a:pos x="74" y="13"/>
                </a:cxn>
                <a:cxn ang="0">
                  <a:pos x="90" y="62"/>
                </a:cxn>
                <a:cxn ang="0">
                  <a:pos x="0" y="43"/>
                </a:cxn>
              </a:cxnLst>
              <a:rect l="0" t="0" r="r" b="b"/>
              <a:pathLst>
                <a:path w="90" h="62">
                  <a:moveTo>
                    <a:pt x="0" y="43"/>
                  </a:moveTo>
                  <a:lnTo>
                    <a:pt x="15" y="0"/>
                  </a:lnTo>
                  <a:lnTo>
                    <a:pt x="74" y="13"/>
                  </a:lnTo>
                  <a:lnTo>
                    <a:pt x="90" y="62"/>
                  </a:lnTo>
                  <a:lnTo>
                    <a:pt x="0" y="43"/>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4" name="30440206.3751931.255.8755">
              <a:extLst>
                <a:ext uri="{FF2B5EF4-FFF2-40B4-BE49-F238E27FC236}">
                  <a16:creationId xmlns:a16="http://schemas.microsoft.com/office/drawing/2014/main" id="{705145BA-80F5-4DBB-978B-43B9E9D4F6F9}"/>
                </a:ext>
              </a:extLst>
            </p:cNvPr>
            <p:cNvSpPr>
              <a:spLocks noChangeAspect="1"/>
            </p:cNvSpPr>
            <p:nvPr/>
          </p:nvSpPr>
          <p:spPr bwMode="gray">
            <a:xfrm>
              <a:off x="2765435" y="1641496"/>
              <a:ext cx="95099" cy="20183"/>
            </a:xfrm>
            <a:custGeom>
              <a:avLst/>
              <a:gdLst/>
              <a:ahLst/>
              <a:cxnLst>
                <a:cxn ang="0">
                  <a:pos x="0" y="9"/>
                </a:cxn>
                <a:cxn ang="0">
                  <a:pos x="24" y="22"/>
                </a:cxn>
                <a:cxn ang="0">
                  <a:pos x="102" y="9"/>
                </a:cxn>
                <a:cxn ang="0">
                  <a:pos x="28" y="0"/>
                </a:cxn>
                <a:cxn ang="0">
                  <a:pos x="0" y="9"/>
                </a:cxn>
              </a:cxnLst>
              <a:rect l="0" t="0" r="r" b="b"/>
              <a:pathLst>
                <a:path w="102" h="22">
                  <a:moveTo>
                    <a:pt x="0" y="9"/>
                  </a:moveTo>
                  <a:lnTo>
                    <a:pt x="24" y="22"/>
                  </a:lnTo>
                  <a:lnTo>
                    <a:pt x="102" y="9"/>
                  </a:lnTo>
                  <a:lnTo>
                    <a:pt x="28" y="0"/>
                  </a:lnTo>
                  <a:lnTo>
                    <a:pt x="0" y="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5" name="30441220.75194.1257.25105">
              <a:extLst>
                <a:ext uri="{FF2B5EF4-FFF2-40B4-BE49-F238E27FC236}">
                  <a16:creationId xmlns:a16="http://schemas.microsoft.com/office/drawing/2014/main" id="{97BB3AA2-8E8E-4707-9520-1B6DB0A16C4F}"/>
                </a:ext>
              </a:extLst>
            </p:cNvPr>
            <p:cNvSpPr>
              <a:spLocks noChangeAspect="1"/>
            </p:cNvSpPr>
            <p:nvPr/>
          </p:nvSpPr>
          <p:spPr bwMode="gray">
            <a:xfrm>
              <a:off x="2784456" y="1873613"/>
              <a:ext cx="161670" cy="119422"/>
            </a:xfrm>
            <a:custGeom>
              <a:avLst/>
              <a:gdLst/>
              <a:ahLst/>
              <a:cxnLst>
                <a:cxn ang="0">
                  <a:pos x="0" y="21"/>
                </a:cxn>
                <a:cxn ang="0">
                  <a:pos x="4" y="81"/>
                </a:cxn>
                <a:cxn ang="0">
                  <a:pos x="23" y="92"/>
                </a:cxn>
                <a:cxn ang="0">
                  <a:pos x="17" y="126"/>
                </a:cxn>
                <a:cxn ang="0">
                  <a:pos x="44" y="128"/>
                </a:cxn>
                <a:cxn ang="0">
                  <a:pos x="73" y="100"/>
                </a:cxn>
                <a:cxn ang="0">
                  <a:pos x="44" y="81"/>
                </a:cxn>
                <a:cxn ang="0">
                  <a:pos x="117" y="81"/>
                </a:cxn>
                <a:cxn ang="0">
                  <a:pos x="179" y="8"/>
                </a:cxn>
                <a:cxn ang="0">
                  <a:pos x="14" y="0"/>
                </a:cxn>
                <a:cxn ang="0">
                  <a:pos x="36" y="23"/>
                </a:cxn>
                <a:cxn ang="0">
                  <a:pos x="0" y="21"/>
                </a:cxn>
              </a:cxnLst>
              <a:rect l="0" t="0" r="r" b="b"/>
              <a:pathLst>
                <a:path w="179" h="128">
                  <a:moveTo>
                    <a:pt x="0" y="21"/>
                  </a:moveTo>
                  <a:lnTo>
                    <a:pt x="4" y="81"/>
                  </a:lnTo>
                  <a:lnTo>
                    <a:pt x="23" y="92"/>
                  </a:lnTo>
                  <a:lnTo>
                    <a:pt x="17" y="126"/>
                  </a:lnTo>
                  <a:lnTo>
                    <a:pt x="44" y="128"/>
                  </a:lnTo>
                  <a:lnTo>
                    <a:pt x="73" y="100"/>
                  </a:lnTo>
                  <a:lnTo>
                    <a:pt x="44" y="81"/>
                  </a:lnTo>
                  <a:lnTo>
                    <a:pt x="117" y="81"/>
                  </a:lnTo>
                  <a:lnTo>
                    <a:pt x="179" y="8"/>
                  </a:lnTo>
                  <a:lnTo>
                    <a:pt x="14" y="0"/>
                  </a:lnTo>
                  <a:lnTo>
                    <a:pt x="36" y="23"/>
                  </a:lnTo>
                  <a:lnTo>
                    <a:pt x="0" y="21"/>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6" name="30442183.2520129.557.8755">
              <a:extLst>
                <a:ext uri="{FF2B5EF4-FFF2-40B4-BE49-F238E27FC236}">
                  <a16:creationId xmlns:a16="http://schemas.microsoft.com/office/drawing/2014/main" id="{43D26D40-C2E9-40B6-A0AD-50BDC6D7A201}"/>
                </a:ext>
              </a:extLst>
            </p:cNvPr>
            <p:cNvSpPr>
              <a:spLocks noChangeAspect="1"/>
            </p:cNvSpPr>
            <p:nvPr/>
          </p:nvSpPr>
          <p:spPr bwMode="gray">
            <a:xfrm>
              <a:off x="2894772" y="1266413"/>
              <a:ext cx="928178" cy="479367"/>
            </a:xfrm>
            <a:custGeom>
              <a:avLst/>
              <a:gdLst/>
              <a:ahLst/>
              <a:cxnLst>
                <a:cxn ang="0">
                  <a:pos x="58" y="143"/>
                </a:cxn>
                <a:cxn ang="0">
                  <a:pos x="109" y="151"/>
                </a:cxn>
                <a:cxn ang="0">
                  <a:pos x="250" y="147"/>
                </a:cxn>
                <a:cxn ang="0">
                  <a:pos x="223" y="166"/>
                </a:cxn>
                <a:cxn ang="0">
                  <a:pos x="190" y="203"/>
                </a:cxn>
                <a:cxn ang="0">
                  <a:pos x="281" y="204"/>
                </a:cxn>
                <a:cxn ang="0">
                  <a:pos x="396" y="155"/>
                </a:cxn>
                <a:cxn ang="0">
                  <a:pos x="550" y="171"/>
                </a:cxn>
                <a:cxn ang="0">
                  <a:pos x="399" y="270"/>
                </a:cxn>
                <a:cxn ang="0">
                  <a:pos x="183" y="220"/>
                </a:cxn>
                <a:cxn ang="0">
                  <a:pos x="182" y="261"/>
                </a:cxn>
                <a:cxn ang="0">
                  <a:pos x="348" y="324"/>
                </a:cxn>
                <a:cxn ang="0">
                  <a:pos x="227" y="326"/>
                </a:cxn>
                <a:cxn ang="0">
                  <a:pos x="204" y="370"/>
                </a:cxn>
                <a:cxn ang="0">
                  <a:pos x="246" y="350"/>
                </a:cxn>
                <a:cxn ang="0">
                  <a:pos x="208" y="397"/>
                </a:cxn>
                <a:cxn ang="0">
                  <a:pos x="239" y="427"/>
                </a:cxn>
                <a:cxn ang="0">
                  <a:pos x="250" y="444"/>
                </a:cxn>
                <a:cxn ang="0">
                  <a:pos x="173" y="452"/>
                </a:cxn>
                <a:cxn ang="0">
                  <a:pos x="112" y="478"/>
                </a:cxn>
                <a:cxn ang="0">
                  <a:pos x="217" y="518"/>
                </a:cxn>
                <a:cxn ang="0">
                  <a:pos x="286" y="503"/>
                </a:cxn>
                <a:cxn ang="0">
                  <a:pos x="323" y="502"/>
                </a:cxn>
                <a:cxn ang="0">
                  <a:pos x="365" y="522"/>
                </a:cxn>
                <a:cxn ang="0">
                  <a:pos x="428" y="478"/>
                </a:cxn>
                <a:cxn ang="0">
                  <a:pos x="459" y="442"/>
                </a:cxn>
                <a:cxn ang="0">
                  <a:pos x="534" y="397"/>
                </a:cxn>
                <a:cxn ang="0">
                  <a:pos x="565" y="376"/>
                </a:cxn>
                <a:cxn ang="0">
                  <a:pos x="572" y="334"/>
                </a:cxn>
                <a:cxn ang="0">
                  <a:pos x="472" y="310"/>
                </a:cxn>
                <a:cxn ang="0">
                  <a:pos x="470" y="301"/>
                </a:cxn>
                <a:cxn ang="0">
                  <a:pos x="675" y="270"/>
                </a:cxn>
                <a:cxn ang="0">
                  <a:pos x="722" y="236"/>
                </a:cxn>
                <a:cxn ang="0">
                  <a:pos x="917" y="134"/>
                </a:cxn>
                <a:cxn ang="0">
                  <a:pos x="769" y="132"/>
                </a:cxn>
                <a:cxn ang="0">
                  <a:pos x="1026" y="79"/>
                </a:cxn>
                <a:cxn ang="0">
                  <a:pos x="944" y="22"/>
                </a:cxn>
                <a:cxn ang="0">
                  <a:pos x="611" y="0"/>
                </a:cxn>
                <a:cxn ang="0">
                  <a:pos x="565" y="9"/>
                </a:cxn>
                <a:cxn ang="0">
                  <a:pos x="509" y="57"/>
                </a:cxn>
                <a:cxn ang="0">
                  <a:pos x="395" y="33"/>
                </a:cxn>
                <a:cxn ang="0">
                  <a:pos x="301" y="37"/>
                </a:cxn>
                <a:cxn ang="0">
                  <a:pos x="359" y="92"/>
                </a:cxn>
                <a:cxn ang="0">
                  <a:pos x="222" y="93"/>
                </a:cxn>
              </a:cxnLst>
              <a:rect l="0" t="0" r="r" b="b"/>
              <a:pathLst>
                <a:path w="1026" h="522">
                  <a:moveTo>
                    <a:pt x="0" y="123"/>
                  </a:moveTo>
                  <a:lnTo>
                    <a:pt x="90" y="123"/>
                  </a:lnTo>
                  <a:lnTo>
                    <a:pt x="58" y="143"/>
                  </a:lnTo>
                  <a:lnTo>
                    <a:pt x="184" y="129"/>
                  </a:lnTo>
                  <a:lnTo>
                    <a:pt x="75" y="143"/>
                  </a:lnTo>
                  <a:lnTo>
                    <a:pt x="109" y="151"/>
                  </a:lnTo>
                  <a:lnTo>
                    <a:pt x="72" y="154"/>
                  </a:lnTo>
                  <a:lnTo>
                    <a:pt x="87" y="167"/>
                  </a:lnTo>
                  <a:lnTo>
                    <a:pt x="250" y="147"/>
                  </a:lnTo>
                  <a:lnTo>
                    <a:pt x="90" y="178"/>
                  </a:lnTo>
                  <a:lnTo>
                    <a:pt x="160" y="203"/>
                  </a:lnTo>
                  <a:lnTo>
                    <a:pt x="223" y="166"/>
                  </a:lnTo>
                  <a:lnTo>
                    <a:pt x="330" y="160"/>
                  </a:lnTo>
                  <a:lnTo>
                    <a:pt x="217" y="174"/>
                  </a:lnTo>
                  <a:lnTo>
                    <a:pt x="190" y="203"/>
                  </a:lnTo>
                  <a:lnTo>
                    <a:pt x="257" y="207"/>
                  </a:lnTo>
                  <a:lnTo>
                    <a:pt x="330" y="177"/>
                  </a:lnTo>
                  <a:lnTo>
                    <a:pt x="281" y="204"/>
                  </a:lnTo>
                  <a:lnTo>
                    <a:pt x="330" y="204"/>
                  </a:lnTo>
                  <a:lnTo>
                    <a:pt x="406" y="184"/>
                  </a:lnTo>
                  <a:lnTo>
                    <a:pt x="396" y="155"/>
                  </a:lnTo>
                  <a:lnTo>
                    <a:pt x="480" y="132"/>
                  </a:lnTo>
                  <a:lnTo>
                    <a:pt x="419" y="181"/>
                  </a:lnTo>
                  <a:lnTo>
                    <a:pt x="550" y="171"/>
                  </a:lnTo>
                  <a:lnTo>
                    <a:pt x="286" y="220"/>
                  </a:lnTo>
                  <a:lnTo>
                    <a:pt x="347" y="270"/>
                  </a:lnTo>
                  <a:lnTo>
                    <a:pt x="399" y="270"/>
                  </a:lnTo>
                  <a:lnTo>
                    <a:pt x="371" y="281"/>
                  </a:lnTo>
                  <a:lnTo>
                    <a:pt x="270" y="228"/>
                  </a:lnTo>
                  <a:lnTo>
                    <a:pt x="183" y="220"/>
                  </a:lnTo>
                  <a:lnTo>
                    <a:pt x="180" y="242"/>
                  </a:lnTo>
                  <a:lnTo>
                    <a:pt x="220" y="253"/>
                  </a:lnTo>
                  <a:lnTo>
                    <a:pt x="182" y="261"/>
                  </a:lnTo>
                  <a:lnTo>
                    <a:pt x="286" y="317"/>
                  </a:lnTo>
                  <a:lnTo>
                    <a:pt x="244" y="320"/>
                  </a:lnTo>
                  <a:lnTo>
                    <a:pt x="348" y="324"/>
                  </a:lnTo>
                  <a:lnTo>
                    <a:pt x="289" y="337"/>
                  </a:lnTo>
                  <a:lnTo>
                    <a:pt x="321" y="356"/>
                  </a:lnTo>
                  <a:lnTo>
                    <a:pt x="227" y="326"/>
                  </a:lnTo>
                  <a:lnTo>
                    <a:pt x="172" y="338"/>
                  </a:lnTo>
                  <a:lnTo>
                    <a:pt x="150" y="385"/>
                  </a:lnTo>
                  <a:lnTo>
                    <a:pt x="204" y="370"/>
                  </a:lnTo>
                  <a:lnTo>
                    <a:pt x="195" y="386"/>
                  </a:lnTo>
                  <a:lnTo>
                    <a:pt x="215" y="386"/>
                  </a:lnTo>
                  <a:lnTo>
                    <a:pt x="246" y="350"/>
                  </a:lnTo>
                  <a:lnTo>
                    <a:pt x="235" y="379"/>
                  </a:lnTo>
                  <a:lnTo>
                    <a:pt x="266" y="383"/>
                  </a:lnTo>
                  <a:lnTo>
                    <a:pt x="208" y="397"/>
                  </a:lnTo>
                  <a:lnTo>
                    <a:pt x="244" y="398"/>
                  </a:lnTo>
                  <a:lnTo>
                    <a:pt x="215" y="408"/>
                  </a:lnTo>
                  <a:lnTo>
                    <a:pt x="239" y="427"/>
                  </a:lnTo>
                  <a:lnTo>
                    <a:pt x="281" y="427"/>
                  </a:lnTo>
                  <a:lnTo>
                    <a:pt x="321" y="390"/>
                  </a:lnTo>
                  <a:lnTo>
                    <a:pt x="250" y="444"/>
                  </a:lnTo>
                  <a:lnTo>
                    <a:pt x="182" y="404"/>
                  </a:lnTo>
                  <a:lnTo>
                    <a:pt x="123" y="411"/>
                  </a:lnTo>
                  <a:lnTo>
                    <a:pt x="173" y="452"/>
                  </a:lnTo>
                  <a:lnTo>
                    <a:pt x="87" y="475"/>
                  </a:lnTo>
                  <a:lnTo>
                    <a:pt x="95" y="506"/>
                  </a:lnTo>
                  <a:lnTo>
                    <a:pt x="112" y="478"/>
                  </a:lnTo>
                  <a:lnTo>
                    <a:pt x="114" y="506"/>
                  </a:lnTo>
                  <a:lnTo>
                    <a:pt x="175" y="493"/>
                  </a:lnTo>
                  <a:lnTo>
                    <a:pt x="217" y="518"/>
                  </a:lnTo>
                  <a:lnTo>
                    <a:pt x="248" y="517"/>
                  </a:lnTo>
                  <a:lnTo>
                    <a:pt x="226" y="496"/>
                  </a:lnTo>
                  <a:lnTo>
                    <a:pt x="286" y="503"/>
                  </a:lnTo>
                  <a:lnTo>
                    <a:pt x="281" y="484"/>
                  </a:lnTo>
                  <a:lnTo>
                    <a:pt x="308" y="506"/>
                  </a:lnTo>
                  <a:lnTo>
                    <a:pt x="323" y="502"/>
                  </a:lnTo>
                  <a:lnTo>
                    <a:pt x="315" y="486"/>
                  </a:lnTo>
                  <a:lnTo>
                    <a:pt x="363" y="502"/>
                  </a:lnTo>
                  <a:lnTo>
                    <a:pt x="365" y="522"/>
                  </a:lnTo>
                  <a:lnTo>
                    <a:pt x="451" y="502"/>
                  </a:lnTo>
                  <a:lnTo>
                    <a:pt x="468" y="471"/>
                  </a:lnTo>
                  <a:lnTo>
                    <a:pt x="428" y="478"/>
                  </a:lnTo>
                  <a:lnTo>
                    <a:pt x="428" y="451"/>
                  </a:lnTo>
                  <a:lnTo>
                    <a:pt x="330" y="449"/>
                  </a:lnTo>
                  <a:lnTo>
                    <a:pt x="459" y="442"/>
                  </a:lnTo>
                  <a:lnTo>
                    <a:pt x="479" y="422"/>
                  </a:lnTo>
                  <a:lnTo>
                    <a:pt x="459" y="396"/>
                  </a:lnTo>
                  <a:lnTo>
                    <a:pt x="534" y="397"/>
                  </a:lnTo>
                  <a:lnTo>
                    <a:pt x="549" y="386"/>
                  </a:lnTo>
                  <a:lnTo>
                    <a:pt x="499" y="379"/>
                  </a:lnTo>
                  <a:lnTo>
                    <a:pt x="565" y="376"/>
                  </a:lnTo>
                  <a:lnTo>
                    <a:pt x="521" y="359"/>
                  </a:lnTo>
                  <a:lnTo>
                    <a:pt x="575" y="348"/>
                  </a:lnTo>
                  <a:lnTo>
                    <a:pt x="572" y="334"/>
                  </a:lnTo>
                  <a:lnTo>
                    <a:pt x="473" y="326"/>
                  </a:lnTo>
                  <a:lnTo>
                    <a:pt x="529" y="314"/>
                  </a:lnTo>
                  <a:lnTo>
                    <a:pt x="472" y="310"/>
                  </a:lnTo>
                  <a:lnTo>
                    <a:pt x="575" y="320"/>
                  </a:lnTo>
                  <a:lnTo>
                    <a:pt x="579" y="306"/>
                  </a:lnTo>
                  <a:lnTo>
                    <a:pt x="470" y="301"/>
                  </a:lnTo>
                  <a:lnTo>
                    <a:pt x="612" y="281"/>
                  </a:lnTo>
                  <a:lnTo>
                    <a:pt x="573" y="264"/>
                  </a:lnTo>
                  <a:lnTo>
                    <a:pt x="675" y="270"/>
                  </a:lnTo>
                  <a:lnTo>
                    <a:pt x="707" y="242"/>
                  </a:lnTo>
                  <a:lnTo>
                    <a:pt x="656" y="239"/>
                  </a:lnTo>
                  <a:lnTo>
                    <a:pt x="722" y="236"/>
                  </a:lnTo>
                  <a:lnTo>
                    <a:pt x="714" y="215"/>
                  </a:lnTo>
                  <a:lnTo>
                    <a:pt x="745" y="220"/>
                  </a:lnTo>
                  <a:lnTo>
                    <a:pt x="917" y="134"/>
                  </a:lnTo>
                  <a:lnTo>
                    <a:pt x="727" y="165"/>
                  </a:lnTo>
                  <a:lnTo>
                    <a:pt x="833" y="129"/>
                  </a:lnTo>
                  <a:lnTo>
                    <a:pt x="769" y="132"/>
                  </a:lnTo>
                  <a:lnTo>
                    <a:pt x="753" y="115"/>
                  </a:lnTo>
                  <a:lnTo>
                    <a:pt x="873" y="123"/>
                  </a:lnTo>
                  <a:lnTo>
                    <a:pt x="1026" y="79"/>
                  </a:lnTo>
                  <a:lnTo>
                    <a:pt x="1024" y="57"/>
                  </a:lnTo>
                  <a:lnTo>
                    <a:pt x="960" y="57"/>
                  </a:lnTo>
                  <a:lnTo>
                    <a:pt x="944" y="22"/>
                  </a:lnTo>
                  <a:lnTo>
                    <a:pt x="769" y="38"/>
                  </a:lnTo>
                  <a:lnTo>
                    <a:pt x="844" y="13"/>
                  </a:lnTo>
                  <a:lnTo>
                    <a:pt x="611" y="0"/>
                  </a:lnTo>
                  <a:lnTo>
                    <a:pt x="591" y="17"/>
                  </a:lnTo>
                  <a:lnTo>
                    <a:pt x="608" y="27"/>
                  </a:lnTo>
                  <a:lnTo>
                    <a:pt x="565" y="9"/>
                  </a:lnTo>
                  <a:lnTo>
                    <a:pt x="461" y="11"/>
                  </a:lnTo>
                  <a:lnTo>
                    <a:pt x="535" y="46"/>
                  </a:lnTo>
                  <a:lnTo>
                    <a:pt x="509" y="57"/>
                  </a:lnTo>
                  <a:lnTo>
                    <a:pt x="472" y="20"/>
                  </a:lnTo>
                  <a:lnTo>
                    <a:pt x="376" y="16"/>
                  </a:lnTo>
                  <a:lnTo>
                    <a:pt x="395" y="33"/>
                  </a:lnTo>
                  <a:lnTo>
                    <a:pt x="322" y="27"/>
                  </a:lnTo>
                  <a:lnTo>
                    <a:pt x="358" y="52"/>
                  </a:lnTo>
                  <a:lnTo>
                    <a:pt x="301" y="37"/>
                  </a:lnTo>
                  <a:lnTo>
                    <a:pt x="319" y="52"/>
                  </a:lnTo>
                  <a:lnTo>
                    <a:pt x="285" y="57"/>
                  </a:lnTo>
                  <a:lnTo>
                    <a:pt x="359" y="92"/>
                  </a:lnTo>
                  <a:lnTo>
                    <a:pt x="198" y="53"/>
                  </a:lnTo>
                  <a:lnTo>
                    <a:pt x="158" y="81"/>
                  </a:lnTo>
                  <a:lnTo>
                    <a:pt x="222" y="93"/>
                  </a:lnTo>
                  <a:lnTo>
                    <a:pt x="114" y="83"/>
                  </a:lnTo>
                  <a:lnTo>
                    <a:pt x="0" y="123"/>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7" name="30443221.375204.62538.375545">
              <a:extLst>
                <a:ext uri="{FF2B5EF4-FFF2-40B4-BE49-F238E27FC236}">
                  <a16:creationId xmlns:a16="http://schemas.microsoft.com/office/drawing/2014/main" id="{A32F7498-05F8-426E-B692-DB6F574DBDA9}"/>
                </a:ext>
              </a:extLst>
            </p:cNvPr>
            <p:cNvSpPr>
              <a:spLocks noChangeAspect="1"/>
            </p:cNvSpPr>
            <p:nvPr/>
          </p:nvSpPr>
          <p:spPr bwMode="gray">
            <a:xfrm>
              <a:off x="2951832" y="1885385"/>
              <a:ext cx="867316" cy="620656"/>
            </a:xfrm>
            <a:custGeom>
              <a:avLst/>
              <a:gdLst/>
              <a:ahLst/>
              <a:cxnLst>
                <a:cxn ang="0">
                  <a:pos x="7" y="78"/>
                </a:cxn>
                <a:cxn ang="0">
                  <a:pos x="114" y="0"/>
                </a:cxn>
                <a:cxn ang="0">
                  <a:pos x="110" y="78"/>
                </a:cxn>
                <a:cxn ang="0">
                  <a:pos x="169" y="161"/>
                </a:cxn>
                <a:cxn ang="0">
                  <a:pos x="172" y="175"/>
                </a:cxn>
                <a:cxn ang="0">
                  <a:pos x="136" y="117"/>
                </a:cxn>
                <a:cxn ang="0">
                  <a:pos x="144" y="60"/>
                </a:cxn>
                <a:cxn ang="0">
                  <a:pos x="150" y="52"/>
                </a:cxn>
                <a:cxn ang="0">
                  <a:pos x="168" y="33"/>
                </a:cxn>
                <a:cxn ang="0">
                  <a:pos x="245" y="10"/>
                </a:cxn>
                <a:cxn ang="0">
                  <a:pos x="286" y="40"/>
                </a:cxn>
                <a:cxn ang="0">
                  <a:pos x="304" y="120"/>
                </a:cxn>
                <a:cxn ang="0">
                  <a:pos x="363" y="102"/>
                </a:cxn>
                <a:cxn ang="0">
                  <a:pos x="495" y="88"/>
                </a:cxn>
                <a:cxn ang="0">
                  <a:pos x="504" y="139"/>
                </a:cxn>
                <a:cxn ang="0">
                  <a:pos x="536" y="150"/>
                </a:cxn>
                <a:cxn ang="0">
                  <a:pos x="587" y="136"/>
                </a:cxn>
                <a:cxn ang="0">
                  <a:pos x="632" y="169"/>
                </a:cxn>
                <a:cxn ang="0">
                  <a:pos x="649" y="175"/>
                </a:cxn>
                <a:cxn ang="0">
                  <a:pos x="675" y="187"/>
                </a:cxn>
                <a:cxn ang="0">
                  <a:pos x="721" y="203"/>
                </a:cxn>
                <a:cxn ang="0">
                  <a:pos x="716" y="225"/>
                </a:cxn>
                <a:cxn ang="0">
                  <a:pos x="734" y="220"/>
                </a:cxn>
                <a:cxn ang="0">
                  <a:pos x="709" y="263"/>
                </a:cxn>
                <a:cxn ang="0">
                  <a:pos x="720" y="285"/>
                </a:cxn>
                <a:cxn ang="0">
                  <a:pos x="726" y="318"/>
                </a:cxn>
                <a:cxn ang="0">
                  <a:pos x="844" y="351"/>
                </a:cxn>
                <a:cxn ang="0">
                  <a:pos x="903" y="395"/>
                </a:cxn>
                <a:cxn ang="0">
                  <a:pos x="958" y="426"/>
                </a:cxn>
                <a:cxn ang="0">
                  <a:pos x="921" y="448"/>
                </a:cxn>
                <a:cxn ang="0">
                  <a:pos x="918" y="488"/>
                </a:cxn>
                <a:cxn ang="0">
                  <a:pos x="885" y="525"/>
                </a:cxn>
                <a:cxn ang="0">
                  <a:pos x="735" y="446"/>
                </a:cxn>
                <a:cxn ang="0">
                  <a:pos x="742" y="488"/>
                </a:cxn>
                <a:cxn ang="0">
                  <a:pos x="783" y="531"/>
                </a:cxn>
                <a:cxn ang="0">
                  <a:pos x="831" y="565"/>
                </a:cxn>
                <a:cxn ang="0">
                  <a:pos x="845" y="646"/>
                </a:cxn>
                <a:cxn ang="0">
                  <a:pos x="800" y="679"/>
                </a:cxn>
                <a:cxn ang="0">
                  <a:pos x="603" y="595"/>
                </a:cxn>
                <a:cxn ang="0">
                  <a:pos x="572" y="573"/>
                </a:cxn>
                <a:cxn ang="0">
                  <a:pos x="513" y="525"/>
                </a:cxn>
                <a:cxn ang="0">
                  <a:pos x="484" y="538"/>
                </a:cxn>
                <a:cxn ang="0">
                  <a:pos x="398" y="538"/>
                </a:cxn>
                <a:cxn ang="0">
                  <a:pos x="551" y="496"/>
                </a:cxn>
                <a:cxn ang="0">
                  <a:pos x="592" y="395"/>
                </a:cxn>
                <a:cxn ang="0">
                  <a:pos x="507" y="308"/>
                </a:cxn>
                <a:cxn ang="0">
                  <a:pos x="448" y="316"/>
                </a:cxn>
                <a:cxn ang="0">
                  <a:pos x="475" y="279"/>
                </a:cxn>
                <a:cxn ang="0">
                  <a:pos x="415" y="224"/>
                </a:cxn>
                <a:cxn ang="0">
                  <a:pos x="375" y="245"/>
                </a:cxn>
                <a:cxn ang="0">
                  <a:pos x="305" y="252"/>
                </a:cxn>
                <a:cxn ang="0">
                  <a:pos x="21" y="175"/>
                </a:cxn>
                <a:cxn ang="0">
                  <a:pos x="0" y="151"/>
                </a:cxn>
              </a:cxnLst>
              <a:rect l="0" t="0" r="r" b="b"/>
              <a:pathLst>
                <a:path w="958" h="679">
                  <a:moveTo>
                    <a:pt x="0" y="151"/>
                  </a:moveTo>
                  <a:lnTo>
                    <a:pt x="7" y="78"/>
                  </a:lnTo>
                  <a:lnTo>
                    <a:pt x="47" y="25"/>
                  </a:lnTo>
                  <a:lnTo>
                    <a:pt x="114" y="0"/>
                  </a:lnTo>
                  <a:lnTo>
                    <a:pt x="169" y="10"/>
                  </a:lnTo>
                  <a:lnTo>
                    <a:pt x="110" y="78"/>
                  </a:lnTo>
                  <a:lnTo>
                    <a:pt x="125" y="120"/>
                  </a:lnTo>
                  <a:lnTo>
                    <a:pt x="169" y="161"/>
                  </a:lnTo>
                  <a:lnTo>
                    <a:pt x="114" y="176"/>
                  </a:lnTo>
                  <a:lnTo>
                    <a:pt x="172" y="175"/>
                  </a:lnTo>
                  <a:lnTo>
                    <a:pt x="179" y="139"/>
                  </a:lnTo>
                  <a:lnTo>
                    <a:pt x="136" y="117"/>
                  </a:lnTo>
                  <a:lnTo>
                    <a:pt x="172" y="93"/>
                  </a:lnTo>
                  <a:lnTo>
                    <a:pt x="144" y="60"/>
                  </a:lnTo>
                  <a:lnTo>
                    <a:pt x="201" y="69"/>
                  </a:lnTo>
                  <a:lnTo>
                    <a:pt x="150" y="52"/>
                  </a:lnTo>
                  <a:lnTo>
                    <a:pt x="207" y="56"/>
                  </a:lnTo>
                  <a:lnTo>
                    <a:pt x="168" y="33"/>
                  </a:lnTo>
                  <a:lnTo>
                    <a:pt x="214" y="34"/>
                  </a:lnTo>
                  <a:lnTo>
                    <a:pt x="245" y="10"/>
                  </a:lnTo>
                  <a:lnTo>
                    <a:pt x="283" y="8"/>
                  </a:lnTo>
                  <a:lnTo>
                    <a:pt x="286" y="40"/>
                  </a:lnTo>
                  <a:lnTo>
                    <a:pt x="313" y="52"/>
                  </a:lnTo>
                  <a:lnTo>
                    <a:pt x="304" y="120"/>
                  </a:lnTo>
                  <a:lnTo>
                    <a:pt x="341" y="88"/>
                  </a:lnTo>
                  <a:lnTo>
                    <a:pt x="363" y="102"/>
                  </a:lnTo>
                  <a:lnTo>
                    <a:pt x="415" y="70"/>
                  </a:lnTo>
                  <a:lnTo>
                    <a:pt x="495" y="88"/>
                  </a:lnTo>
                  <a:lnTo>
                    <a:pt x="528" y="120"/>
                  </a:lnTo>
                  <a:lnTo>
                    <a:pt x="504" y="139"/>
                  </a:lnTo>
                  <a:lnTo>
                    <a:pt x="551" y="131"/>
                  </a:lnTo>
                  <a:lnTo>
                    <a:pt x="536" y="150"/>
                  </a:lnTo>
                  <a:lnTo>
                    <a:pt x="565" y="161"/>
                  </a:lnTo>
                  <a:lnTo>
                    <a:pt x="587" y="136"/>
                  </a:lnTo>
                  <a:lnTo>
                    <a:pt x="622" y="148"/>
                  </a:lnTo>
                  <a:lnTo>
                    <a:pt x="632" y="169"/>
                  </a:lnTo>
                  <a:lnTo>
                    <a:pt x="602" y="175"/>
                  </a:lnTo>
                  <a:lnTo>
                    <a:pt x="649" y="175"/>
                  </a:lnTo>
                  <a:lnTo>
                    <a:pt x="642" y="201"/>
                  </a:lnTo>
                  <a:lnTo>
                    <a:pt x="675" y="187"/>
                  </a:lnTo>
                  <a:lnTo>
                    <a:pt x="654" y="209"/>
                  </a:lnTo>
                  <a:lnTo>
                    <a:pt x="721" y="203"/>
                  </a:lnTo>
                  <a:lnTo>
                    <a:pt x="684" y="225"/>
                  </a:lnTo>
                  <a:lnTo>
                    <a:pt x="716" y="225"/>
                  </a:lnTo>
                  <a:lnTo>
                    <a:pt x="704" y="242"/>
                  </a:lnTo>
                  <a:lnTo>
                    <a:pt x="734" y="220"/>
                  </a:lnTo>
                  <a:lnTo>
                    <a:pt x="764" y="243"/>
                  </a:lnTo>
                  <a:lnTo>
                    <a:pt x="709" y="263"/>
                  </a:lnTo>
                  <a:lnTo>
                    <a:pt x="789" y="279"/>
                  </a:lnTo>
                  <a:lnTo>
                    <a:pt x="720" y="285"/>
                  </a:lnTo>
                  <a:lnTo>
                    <a:pt x="746" y="296"/>
                  </a:lnTo>
                  <a:lnTo>
                    <a:pt x="726" y="318"/>
                  </a:lnTo>
                  <a:lnTo>
                    <a:pt x="805" y="358"/>
                  </a:lnTo>
                  <a:lnTo>
                    <a:pt x="844" y="351"/>
                  </a:lnTo>
                  <a:lnTo>
                    <a:pt x="863" y="399"/>
                  </a:lnTo>
                  <a:lnTo>
                    <a:pt x="903" y="395"/>
                  </a:lnTo>
                  <a:lnTo>
                    <a:pt x="897" y="415"/>
                  </a:lnTo>
                  <a:lnTo>
                    <a:pt x="958" y="426"/>
                  </a:lnTo>
                  <a:lnTo>
                    <a:pt x="950" y="452"/>
                  </a:lnTo>
                  <a:lnTo>
                    <a:pt x="921" y="448"/>
                  </a:lnTo>
                  <a:lnTo>
                    <a:pt x="933" y="465"/>
                  </a:lnTo>
                  <a:lnTo>
                    <a:pt x="918" y="488"/>
                  </a:lnTo>
                  <a:lnTo>
                    <a:pt x="890" y="477"/>
                  </a:lnTo>
                  <a:lnTo>
                    <a:pt x="885" y="525"/>
                  </a:lnTo>
                  <a:lnTo>
                    <a:pt x="776" y="436"/>
                  </a:lnTo>
                  <a:lnTo>
                    <a:pt x="735" y="446"/>
                  </a:lnTo>
                  <a:lnTo>
                    <a:pt x="764" y="466"/>
                  </a:lnTo>
                  <a:lnTo>
                    <a:pt x="742" y="488"/>
                  </a:lnTo>
                  <a:lnTo>
                    <a:pt x="760" y="487"/>
                  </a:lnTo>
                  <a:lnTo>
                    <a:pt x="783" y="531"/>
                  </a:lnTo>
                  <a:lnTo>
                    <a:pt x="835" y="540"/>
                  </a:lnTo>
                  <a:lnTo>
                    <a:pt x="831" y="565"/>
                  </a:lnTo>
                  <a:lnTo>
                    <a:pt x="860" y="587"/>
                  </a:lnTo>
                  <a:lnTo>
                    <a:pt x="845" y="646"/>
                  </a:lnTo>
                  <a:lnTo>
                    <a:pt x="709" y="586"/>
                  </a:lnTo>
                  <a:lnTo>
                    <a:pt x="800" y="679"/>
                  </a:lnTo>
                  <a:lnTo>
                    <a:pt x="628" y="627"/>
                  </a:lnTo>
                  <a:lnTo>
                    <a:pt x="603" y="595"/>
                  </a:lnTo>
                  <a:lnTo>
                    <a:pt x="627" y="593"/>
                  </a:lnTo>
                  <a:lnTo>
                    <a:pt x="572" y="573"/>
                  </a:lnTo>
                  <a:lnTo>
                    <a:pt x="555" y="538"/>
                  </a:lnTo>
                  <a:lnTo>
                    <a:pt x="513" y="525"/>
                  </a:lnTo>
                  <a:lnTo>
                    <a:pt x="510" y="550"/>
                  </a:lnTo>
                  <a:lnTo>
                    <a:pt x="484" y="538"/>
                  </a:lnTo>
                  <a:lnTo>
                    <a:pt x="447" y="561"/>
                  </a:lnTo>
                  <a:lnTo>
                    <a:pt x="398" y="538"/>
                  </a:lnTo>
                  <a:lnTo>
                    <a:pt x="425" y="496"/>
                  </a:lnTo>
                  <a:lnTo>
                    <a:pt x="551" y="496"/>
                  </a:lnTo>
                  <a:lnTo>
                    <a:pt x="521" y="455"/>
                  </a:lnTo>
                  <a:lnTo>
                    <a:pt x="592" y="395"/>
                  </a:lnTo>
                  <a:lnTo>
                    <a:pt x="541" y="315"/>
                  </a:lnTo>
                  <a:lnTo>
                    <a:pt x="507" y="308"/>
                  </a:lnTo>
                  <a:lnTo>
                    <a:pt x="526" y="294"/>
                  </a:lnTo>
                  <a:lnTo>
                    <a:pt x="448" y="316"/>
                  </a:lnTo>
                  <a:lnTo>
                    <a:pt x="447" y="293"/>
                  </a:lnTo>
                  <a:lnTo>
                    <a:pt x="475" y="279"/>
                  </a:lnTo>
                  <a:lnTo>
                    <a:pt x="416" y="249"/>
                  </a:lnTo>
                  <a:lnTo>
                    <a:pt x="415" y="224"/>
                  </a:lnTo>
                  <a:lnTo>
                    <a:pt x="361" y="212"/>
                  </a:lnTo>
                  <a:lnTo>
                    <a:pt x="375" y="245"/>
                  </a:lnTo>
                  <a:lnTo>
                    <a:pt x="282" y="232"/>
                  </a:lnTo>
                  <a:lnTo>
                    <a:pt x="305" y="252"/>
                  </a:lnTo>
                  <a:lnTo>
                    <a:pt x="63" y="219"/>
                  </a:lnTo>
                  <a:lnTo>
                    <a:pt x="21" y="175"/>
                  </a:lnTo>
                  <a:lnTo>
                    <a:pt x="96" y="177"/>
                  </a:lnTo>
                  <a:lnTo>
                    <a:pt x="0" y="151"/>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8" name="30444247.875210.1258.37512.55">
              <a:extLst>
                <a:ext uri="{FF2B5EF4-FFF2-40B4-BE49-F238E27FC236}">
                  <a16:creationId xmlns:a16="http://schemas.microsoft.com/office/drawing/2014/main" id="{AF72FBA1-B43C-40C0-9012-92BD44F0C994}"/>
                </a:ext>
              </a:extLst>
            </p:cNvPr>
            <p:cNvSpPr>
              <a:spLocks noChangeAspect="1"/>
            </p:cNvSpPr>
            <p:nvPr/>
          </p:nvSpPr>
          <p:spPr bwMode="gray">
            <a:xfrm>
              <a:off x="3041226" y="2314296"/>
              <a:ext cx="199713" cy="136239"/>
            </a:xfrm>
            <a:custGeom>
              <a:avLst/>
              <a:gdLst/>
              <a:ahLst/>
              <a:cxnLst>
                <a:cxn ang="0">
                  <a:pos x="0" y="121"/>
                </a:cxn>
                <a:cxn ang="0">
                  <a:pos x="33" y="92"/>
                </a:cxn>
                <a:cxn ang="0">
                  <a:pos x="54" y="0"/>
                </a:cxn>
                <a:cxn ang="0">
                  <a:pos x="73" y="33"/>
                </a:cxn>
                <a:cxn ang="0">
                  <a:pos x="124" y="41"/>
                </a:cxn>
                <a:cxn ang="0">
                  <a:pos x="223" y="109"/>
                </a:cxn>
                <a:cxn ang="0">
                  <a:pos x="209" y="132"/>
                </a:cxn>
                <a:cxn ang="0">
                  <a:pos x="120" y="100"/>
                </a:cxn>
                <a:cxn ang="0">
                  <a:pos x="65" y="148"/>
                </a:cxn>
                <a:cxn ang="0">
                  <a:pos x="51" y="109"/>
                </a:cxn>
                <a:cxn ang="0">
                  <a:pos x="0" y="121"/>
                </a:cxn>
              </a:cxnLst>
              <a:rect l="0" t="0" r="r" b="b"/>
              <a:pathLst>
                <a:path w="223" h="148">
                  <a:moveTo>
                    <a:pt x="0" y="121"/>
                  </a:moveTo>
                  <a:lnTo>
                    <a:pt x="33" y="92"/>
                  </a:lnTo>
                  <a:lnTo>
                    <a:pt x="54" y="0"/>
                  </a:lnTo>
                  <a:lnTo>
                    <a:pt x="73" y="33"/>
                  </a:lnTo>
                  <a:lnTo>
                    <a:pt x="124" y="41"/>
                  </a:lnTo>
                  <a:lnTo>
                    <a:pt x="223" y="109"/>
                  </a:lnTo>
                  <a:lnTo>
                    <a:pt x="209" y="132"/>
                  </a:lnTo>
                  <a:lnTo>
                    <a:pt x="120" y="100"/>
                  </a:lnTo>
                  <a:lnTo>
                    <a:pt x="65" y="148"/>
                  </a:lnTo>
                  <a:lnTo>
                    <a:pt x="51" y="109"/>
                  </a:lnTo>
                  <a:lnTo>
                    <a:pt x="0" y="121"/>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9" name="30445287.375262.6251212.6255">
              <a:extLst>
                <a:ext uri="{FF2B5EF4-FFF2-40B4-BE49-F238E27FC236}">
                  <a16:creationId xmlns:a16="http://schemas.microsoft.com/office/drawing/2014/main" id="{BF022BE4-C0FF-45D0-A154-A6710F5F8BBE}"/>
                </a:ext>
              </a:extLst>
            </p:cNvPr>
            <p:cNvSpPr>
              <a:spLocks noChangeAspect="1"/>
            </p:cNvSpPr>
            <p:nvPr/>
          </p:nvSpPr>
          <p:spPr bwMode="gray">
            <a:xfrm>
              <a:off x="3883815" y="2951769"/>
              <a:ext cx="201614" cy="196794"/>
            </a:xfrm>
            <a:custGeom>
              <a:avLst/>
              <a:gdLst/>
              <a:ahLst/>
              <a:cxnLst>
                <a:cxn ang="0">
                  <a:pos x="0" y="168"/>
                </a:cxn>
                <a:cxn ang="0">
                  <a:pos x="92" y="11"/>
                </a:cxn>
                <a:cxn ang="0">
                  <a:pos x="127" y="0"/>
                </a:cxn>
                <a:cxn ang="0">
                  <a:pos x="85" y="84"/>
                </a:cxn>
                <a:cxn ang="0">
                  <a:pos x="114" y="65"/>
                </a:cxn>
                <a:cxn ang="0">
                  <a:pos x="133" y="100"/>
                </a:cxn>
                <a:cxn ang="0">
                  <a:pos x="192" y="100"/>
                </a:cxn>
                <a:cxn ang="0">
                  <a:pos x="180" y="133"/>
                </a:cxn>
                <a:cxn ang="0">
                  <a:pos x="210" y="131"/>
                </a:cxn>
                <a:cxn ang="0">
                  <a:pos x="189" y="165"/>
                </a:cxn>
                <a:cxn ang="0">
                  <a:pos x="217" y="146"/>
                </a:cxn>
                <a:cxn ang="0">
                  <a:pos x="224" y="179"/>
                </a:cxn>
                <a:cxn ang="0">
                  <a:pos x="195" y="215"/>
                </a:cxn>
                <a:cxn ang="0">
                  <a:pos x="192" y="188"/>
                </a:cxn>
                <a:cxn ang="0">
                  <a:pos x="178" y="202"/>
                </a:cxn>
                <a:cxn ang="0">
                  <a:pos x="178" y="161"/>
                </a:cxn>
                <a:cxn ang="0">
                  <a:pos x="123" y="202"/>
                </a:cxn>
                <a:cxn ang="0">
                  <a:pos x="155" y="175"/>
                </a:cxn>
                <a:cxn ang="0">
                  <a:pos x="109" y="179"/>
                </a:cxn>
                <a:cxn ang="0">
                  <a:pos x="120" y="162"/>
                </a:cxn>
                <a:cxn ang="0">
                  <a:pos x="0" y="168"/>
                </a:cxn>
              </a:cxnLst>
              <a:rect l="0" t="0" r="r" b="b"/>
              <a:pathLst>
                <a:path w="224" h="215">
                  <a:moveTo>
                    <a:pt x="0" y="168"/>
                  </a:moveTo>
                  <a:lnTo>
                    <a:pt x="92" y="11"/>
                  </a:lnTo>
                  <a:lnTo>
                    <a:pt x="127" y="0"/>
                  </a:lnTo>
                  <a:lnTo>
                    <a:pt x="85" y="84"/>
                  </a:lnTo>
                  <a:lnTo>
                    <a:pt x="114" y="65"/>
                  </a:lnTo>
                  <a:lnTo>
                    <a:pt x="133" y="100"/>
                  </a:lnTo>
                  <a:lnTo>
                    <a:pt x="192" y="100"/>
                  </a:lnTo>
                  <a:lnTo>
                    <a:pt x="180" y="133"/>
                  </a:lnTo>
                  <a:lnTo>
                    <a:pt x="210" y="131"/>
                  </a:lnTo>
                  <a:lnTo>
                    <a:pt x="189" y="165"/>
                  </a:lnTo>
                  <a:lnTo>
                    <a:pt x="217" y="146"/>
                  </a:lnTo>
                  <a:lnTo>
                    <a:pt x="224" y="179"/>
                  </a:lnTo>
                  <a:lnTo>
                    <a:pt x="195" y="215"/>
                  </a:lnTo>
                  <a:lnTo>
                    <a:pt x="192" y="188"/>
                  </a:lnTo>
                  <a:lnTo>
                    <a:pt x="178" y="202"/>
                  </a:lnTo>
                  <a:lnTo>
                    <a:pt x="178" y="161"/>
                  </a:lnTo>
                  <a:lnTo>
                    <a:pt x="123" y="202"/>
                  </a:lnTo>
                  <a:lnTo>
                    <a:pt x="155" y="175"/>
                  </a:lnTo>
                  <a:lnTo>
                    <a:pt x="109" y="179"/>
                  </a:lnTo>
                  <a:lnTo>
                    <a:pt x="120" y="162"/>
                  </a:lnTo>
                  <a:lnTo>
                    <a:pt x="0" y="168"/>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30" name="30448372.75212.8755.1255.8755">
              <a:extLst>
                <a:ext uri="{FF2B5EF4-FFF2-40B4-BE49-F238E27FC236}">
                  <a16:creationId xmlns:a16="http://schemas.microsoft.com/office/drawing/2014/main" id="{1FABE1E6-0298-4E4F-A96D-1CC422D0BA71}"/>
                </a:ext>
              </a:extLst>
            </p:cNvPr>
            <p:cNvSpPr>
              <a:spLocks noChangeAspect="1"/>
            </p:cNvSpPr>
            <p:nvPr/>
          </p:nvSpPr>
          <p:spPr bwMode="gray">
            <a:xfrm>
              <a:off x="3084970" y="4334369"/>
              <a:ext cx="95099" cy="84099"/>
            </a:xfrm>
            <a:custGeom>
              <a:avLst/>
              <a:gdLst/>
              <a:ahLst/>
              <a:cxnLst>
                <a:cxn ang="0">
                  <a:pos x="0" y="0"/>
                </a:cxn>
                <a:cxn ang="0">
                  <a:pos x="1" y="34"/>
                </a:cxn>
                <a:cxn ang="0">
                  <a:pos x="23" y="29"/>
                </a:cxn>
                <a:cxn ang="0">
                  <a:pos x="89" y="89"/>
                </a:cxn>
                <a:cxn ang="0">
                  <a:pos x="104" y="44"/>
                </a:cxn>
                <a:cxn ang="0">
                  <a:pos x="69" y="3"/>
                </a:cxn>
                <a:cxn ang="0">
                  <a:pos x="0" y="0"/>
                </a:cxn>
              </a:cxnLst>
              <a:rect l="0" t="0" r="r" b="b"/>
              <a:pathLst>
                <a:path w="104" h="89">
                  <a:moveTo>
                    <a:pt x="0" y="0"/>
                  </a:moveTo>
                  <a:lnTo>
                    <a:pt x="1" y="34"/>
                  </a:lnTo>
                  <a:lnTo>
                    <a:pt x="23" y="29"/>
                  </a:lnTo>
                  <a:lnTo>
                    <a:pt x="89" y="89"/>
                  </a:lnTo>
                  <a:lnTo>
                    <a:pt x="104" y="44"/>
                  </a:lnTo>
                  <a:lnTo>
                    <a:pt x="69" y="3"/>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31" name="30449349.375214.256.37520.3755">
              <a:extLst>
                <a:ext uri="{FF2B5EF4-FFF2-40B4-BE49-F238E27FC236}">
                  <a16:creationId xmlns:a16="http://schemas.microsoft.com/office/drawing/2014/main" id="{F8874C9E-6C62-4B9D-8A92-0580B090193C}"/>
                </a:ext>
              </a:extLst>
            </p:cNvPr>
            <p:cNvSpPr>
              <a:spLocks noChangeAspect="1"/>
            </p:cNvSpPr>
            <p:nvPr/>
          </p:nvSpPr>
          <p:spPr bwMode="gray">
            <a:xfrm>
              <a:off x="3107797" y="3957602"/>
              <a:ext cx="325241" cy="104285"/>
            </a:xfrm>
            <a:custGeom>
              <a:avLst/>
              <a:gdLst/>
              <a:ahLst/>
              <a:cxnLst>
                <a:cxn ang="0">
                  <a:pos x="0" y="44"/>
                </a:cxn>
                <a:cxn ang="0">
                  <a:pos x="48" y="5"/>
                </a:cxn>
                <a:cxn ang="0">
                  <a:pos x="140" y="0"/>
                </a:cxn>
                <a:cxn ang="0">
                  <a:pos x="358" y="96"/>
                </a:cxn>
                <a:cxn ang="0">
                  <a:pos x="242" y="113"/>
                </a:cxn>
                <a:cxn ang="0">
                  <a:pos x="262" y="91"/>
                </a:cxn>
                <a:cxn ang="0">
                  <a:pos x="206" y="55"/>
                </a:cxn>
                <a:cxn ang="0">
                  <a:pos x="97" y="34"/>
                </a:cxn>
                <a:cxn ang="0">
                  <a:pos x="103" y="18"/>
                </a:cxn>
                <a:cxn ang="0">
                  <a:pos x="0" y="44"/>
                </a:cxn>
              </a:cxnLst>
              <a:rect l="0" t="0" r="r" b="b"/>
              <a:pathLst>
                <a:path w="358" h="113">
                  <a:moveTo>
                    <a:pt x="0" y="44"/>
                  </a:moveTo>
                  <a:lnTo>
                    <a:pt x="48" y="5"/>
                  </a:lnTo>
                  <a:lnTo>
                    <a:pt x="140" y="0"/>
                  </a:lnTo>
                  <a:lnTo>
                    <a:pt x="358" y="96"/>
                  </a:lnTo>
                  <a:lnTo>
                    <a:pt x="242" y="113"/>
                  </a:lnTo>
                  <a:lnTo>
                    <a:pt x="262" y="91"/>
                  </a:lnTo>
                  <a:lnTo>
                    <a:pt x="206" y="55"/>
                  </a:lnTo>
                  <a:lnTo>
                    <a:pt x="97" y="34"/>
                  </a:lnTo>
                  <a:lnTo>
                    <a:pt x="103" y="18"/>
                  </a:lnTo>
                  <a:lnTo>
                    <a:pt x="0" y="4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32" name="30453355.75239.1253.6256.255">
              <a:extLst>
                <a:ext uri="{FF2B5EF4-FFF2-40B4-BE49-F238E27FC236}">
                  <a16:creationId xmlns:a16="http://schemas.microsoft.com/office/drawing/2014/main" id="{6996D859-C406-479B-893C-B4E406562D0E}"/>
                </a:ext>
              </a:extLst>
            </p:cNvPr>
            <p:cNvSpPr>
              <a:spLocks noChangeAspect="1"/>
            </p:cNvSpPr>
            <p:nvPr/>
          </p:nvSpPr>
          <p:spPr bwMode="gray">
            <a:xfrm>
              <a:off x="3507219" y="4061884"/>
              <a:ext cx="100805" cy="55506"/>
            </a:xfrm>
            <a:custGeom>
              <a:avLst/>
              <a:gdLst/>
              <a:ahLst/>
              <a:cxnLst>
                <a:cxn ang="0">
                  <a:pos x="0" y="0"/>
                </a:cxn>
                <a:cxn ang="0">
                  <a:pos x="0" y="63"/>
                </a:cxn>
                <a:cxn ang="0">
                  <a:pos x="113" y="42"/>
                </a:cxn>
                <a:cxn ang="0">
                  <a:pos x="63" y="6"/>
                </a:cxn>
                <a:cxn ang="0">
                  <a:pos x="0" y="0"/>
                </a:cxn>
              </a:cxnLst>
              <a:rect l="0" t="0" r="r" b="b"/>
              <a:pathLst>
                <a:path w="113" h="63">
                  <a:moveTo>
                    <a:pt x="0" y="0"/>
                  </a:moveTo>
                  <a:lnTo>
                    <a:pt x="0" y="63"/>
                  </a:lnTo>
                  <a:lnTo>
                    <a:pt x="113" y="42"/>
                  </a:lnTo>
                  <a:lnTo>
                    <a:pt x="63" y="6"/>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33" name="30454366.125204.62524.55">
              <a:extLst>
                <a:ext uri="{FF2B5EF4-FFF2-40B4-BE49-F238E27FC236}">
                  <a16:creationId xmlns:a16="http://schemas.microsoft.com/office/drawing/2014/main" id="{DD754F02-D769-4D64-A7E7-CC0FF107EE4E}"/>
                </a:ext>
              </a:extLst>
            </p:cNvPr>
            <p:cNvSpPr>
              <a:spLocks noChangeAspect="1"/>
            </p:cNvSpPr>
            <p:nvPr/>
          </p:nvSpPr>
          <p:spPr bwMode="gray">
            <a:xfrm>
              <a:off x="2951832" y="4228404"/>
              <a:ext cx="74177" cy="31958"/>
            </a:xfrm>
            <a:custGeom>
              <a:avLst/>
              <a:gdLst/>
              <a:ahLst/>
              <a:cxnLst>
                <a:cxn ang="0">
                  <a:pos x="0" y="26"/>
                </a:cxn>
                <a:cxn ang="0">
                  <a:pos x="22" y="0"/>
                </a:cxn>
                <a:cxn ang="0">
                  <a:pos x="77" y="34"/>
                </a:cxn>
                <a:cxn ang="0">
                  <a:pos x="0" y="26"/>
                </a:cxn>
              </a:cxnLst>
              <a:rect l="0" t="0" r="r" b="b"/>
              <a:pathLst>
                <a:path w="77" h="34">
                  <a:moveTo>
                    <a:pt x="0" y="26"/>
                  </a:moveTo>
                  <a:lnTo>
                    <a:pt x="22" y="0"/>
                  </a:lnTo>
                  <a:lnTo>
                    <a:pt x="77" y="34"/>
                  </a:lnTo>
                  <a:lnTo>
                    <a:pt x="0" y="26"/>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34" name="30455499259.6251.62535">
              <a:extLst>
                <a:ext uri="{FF2B5EF4-FFF2-40B4-BE49-F238E27FC236}">
                  <a16:creationId xmlns:a16="http://schemas.microsoft.com/office/drawing/2014/main" id="{E95A272B-12E6-458F-B52C-AF9CE49E953A}"/>
                </a:ext>
              </a:extLst>
            </p:cNvPr>
            <p:cNvSpPr>
              <a:spLocks noChangeAspect="1"/>
            </p:cNvSpPr>
            <p:nvPr/>
          </p:nvSpPr>
          <p:spPr bwMode="gray">
            <a:xfrm>
              <a:off x="3836265" y="6379671"/>
              <a:ext cx="47550" cy="26912"/>
            </a:xfrm>
            <a:custGeom>
              <a:avLst/>
              <a:gdLst/>
              <a:ahLst/>
              <a:cxnLst>
                <a:cxn ang="0">
                  <a:pos x="0" y="29"/>
                </a:cxn>
                <a:cxn ang="0">
                  <a:pos x="30" y="14"/>
                </a:cxn>
                <a:cxn ang="0">
                  <a:pos x="15" y="0"/>
                </a:cxn>
                <a:cxn ang="0">
                  <a:pos x="51" y="3"/>
                </a:cxn>
                <a:cxn ang="0">
                  <a:pos x="0" y="29"/>
                </a:cxn>
              </a:cxnLst>
              <a:rect l="0" t="0" r="r" b="b"/>
              <a:pathLst>
                <a:path w="51" h="29">
                  <a:moveTo>
                    <a:pt x="0" y="29"/>
                  </a:moveTo>
                  <a:lnTo>
                    <a:pt x="30" y="14"/>
                  </a:lnTo>
                  <a:lnTo>
                    <a:pt x="15" y="0"/>
                  </a:lnTo>
                  <a:lnTo>
                    <a:pt x="51" y="3"/>
                  </a:lnTo>
                  <a:lnTo>
                    <a:pt x="0" y="2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35" name="30456498.87526223.3755">
              <a:extLst>
                <a:ext uri="{FF2B5EF4-FFF2-40B4-BE49-F238E27FC236}">
                  <a16:creationId xmlns:a16="http://schemas.microsoft.com/office/drawing/2014/main" id="{1834AD72-145E-41BA-AD9D-FB5FF873C70A}"/>
                </a:ext>
              </a:extLst>
            </p:cNvPr>
            <p:cNvSpPr>
              <a:spLocks noChangeAspect="1"/>
            </p:cNvSpPr>
            <p:nvPr/>
          </p:nvSpPr>
          <p:spPr bwMode="gray">
            <a:xfrm>
              <a:off x="3874304" y="6376309"/>
              <a:ext cx="53255" cy="33639"/>
            </a:xfrm>
            <a:custGeom>
              <a:avLst/>
              <a:gdLst/>
              <a:ahLst/>
              <a:cxnLst>
                <a:cxn ang="0">
                  <a:pos x="0" y="35"/>
                </a:cxn>
                <a:cxn ang="0">
                  <a:pos x="27" y="0"/>
                </a:cxn>
                <a:cxn ang="0">
                  <a:pos x="60" y="12"/>
                </a:cxn>
                <a:cxn ang="0">
                  <a:pos x="0" y="35"/>
                </a:cxn>
              </a:cxnLst>
              <a:rect l="0" t="0" r="r" b="b"/>
              <a:pathLst>
                <a:path w="60" h="35">
                  <a:moveTo>
                    <a:pt x="0" y="35"/>
                  </a:moveTo>
                  <a:lnTo>
                    <a:pt x="27" y="0"/>
                  </a:lnTo>
                  <a:lnTo>
                    <a:pt x="60" y="12"/>
                  </a:lnTo>
                  <a:lnTo>
                    <a:pt x="0" y="3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36" name="30460383271.8756.55.55">
              <a:extLst>
                <a:ext uri="{FF2B5EF4-FFF2-40B4-BE49-F238E27FC236}">
                  <a16:creationId xmlns:a16="http://schemas.microsoft.com/office/drawing/2014/main" id="{7289F91B-534B-4407-A8E9-216F090CA44F}"/>
                </a:ext>
              </a:extLst>
            </p:cNvPr>
            <p:cNvSpPr>
              <a:spLocks noChangeAspect="1"/>
            </p:cNvSpPr>
            <p:nvPr/>
          </p:nvSpPr>
          <p:spPr bwMode="gray">
            <a:xfrm>
              <a:off x="4032173" y="4500886"/>
              <a:ext cx="87493" cy="107646"/>
            </a:xfrm>
            <a:custGeom>
              <a:avLst/>
              <a:gdLst/>
              <a:ahLst/>
              <a:cxnLst>
                <a:cxn ang="0">
                  <a:pos x="0" y="110"/>
                </a:cxn>
                <a:cxn ang="0">
                  <a:pos x="14" y="0"/>
                </a:cxn>
                <a:cxn ang="0">
                  <a:pos x="96" y="49"/>
                </a:cxn>
                <a:cxn ang="0">
                  <a:pos x="47" y="114"/>
                </a:cxn>
                <a:cxn ang="0">
                  <a:pos x="0" y="110"/>
                </a:cxn>
              </a:cxnLst>
              <a:rect l="0" t="0" r="r" b="b"/>
              <a:pathLst>
                <a:path w="96" h="114">
                  <a:moveTo>
                    <a:pt x="0" y="110"/>
                  </a:moveTo>
                  <a:lnTo>
                    <a:pt x="14" y="0"/>
                  </a:lnTo>
                  <a:lnTo>
                    <a:pt x="96" y="49"/>
                  </a:lnTo>
                  <a:lnTo>
                    <a:pt x="47" y="114"/>
                  </a:lnTo>
                  <a:lnTo>
                    <a:pt x="0" y="11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37" name="30464181.25236.87583.625114.55">
              <a:extLst>
                <a:ext uri="{FF2B5EF4-FFF2-40B4-BE49-F238E27FC236}">
                  <a16:creationId xmlns:a16="http://schemas.microsoft.com/office/drawing/2014/main" id="{5E21AF02-A9E7-4F38-BDB8-7FA3567E7E14}"/>
                </a:ext>
              </a:extLst>
            </p:cNvPr>
            <p:cNvSpPr>
              <a:spLocks noChangeAspect="1"/>
            </p:cNvSpPr>
            <p:nvPr/>
          </p:nvSpPr>
          <p:spPr bwMode="gray">
            <a:xfrm>
              <a:off x="3471081" y="1234455"/>
              <a:ext cx="1835437" cy="1355688"/>
            </a:xfrm>
            <a:custGeom>
              <a:avLst/>
              <a:gdLst/>
              <a:ahLst/>
              <a:cxnLst>
                <a:cxn ang="0">
                  <a:pos x="226" y="350"/>
                </a:cxn>
                <a:cxn ang="0">
                  <a:pos x="263" y="287"/>
                </a:cxn>
                <a:cxn ang="0">
                  <a:pos x="176" y="256"/>
                </a:cxn>
                <a:cxn ang="0">
                  <a:pos x="378" y="140"/>
                </a:cxn>
                <a:cxn ang="0">
                  <a:pos x="585" y="96"/>
                </a:cxn>
                <a:cxn ang="0">
                  <a:pos x="746" y="152"/>
                </a:cxn>
                <a:cxn ang="0">
                  <a:pos x="706" y="88"/>
                </a:cxn>
                <a:cxn ang="0">
                  <a:pos x="951" y="122"/>
                </a:cxn>
                <a:cxn ang="0">
                  <a:pos x="1074" y="88"/>
                </a:cxn>
                <a:cxn ang="0">
                  <a:pos x="889" y="33"/>
                </a:cxn>
                <a:cxn ang="0">
                  <a:pos x="1111" y="63"/>
                </a:cxn>
                <a:cxn ang="0">
                  <a:pos x="1105" y="8"/>
                </a:cxn>
                <a:cxn ang="0">
                  <a:pos x="1529" y="29"/>
                </a:cxn>
                <a:cxn ang="0">
                  <a:pos x="1564" y="33"/>
                </a:cxn>
                <a:cxn ang="0">
                  <a:pos x="1704" y="80"/>
                </a:cxn>
                <a:cxn ang="0">
                  <a:pos x="1297" y="139"/>
                </a:cxn>
                <a:cxn ang="0">
                  <a:pos x="1513" y="170"/>
                </a:cxn>
                <a:cxn ang="0">
                  <a:pos x="1756" y="157"/>
                </a:cxn>
                <a:cxn ang="0">
                  <a:pos x="1929" y="133"/>
                </a:cxn>
                <a:cxn ang="0">
                  <a:pos x="1717" y="239"/>
                </a:cxn>
                <a:cxn ang="0">
                  <a:pos x="1855" y="275"/>
                </a:cxn>
                <a:cxn ang="0">
                  <a:pos x="1731" y="373"/>
                </a:cxn>
                <a:cxn ang="0">
                  <a:pos x="1748" y="448"/>
                </a:cxn>
                <a:cxn ang="0">
                  <a:pos x="1712" y="502"/>
                </a:cxn>
                <a:cxn ang="0">
                  <a:pos x="1771" y="554"/>
                </a:cxn>
                <a:cxn ang="0">
                  <a:pos x="1696" y="604"/>
                </a:cxn>
                <a:cxn ang="0">
                  <a:pos x="1735" y="660"/>
                </a:cxn>
                <a:cxn ang="0">
                  <a:pos x="1756" y="710"/>
                </a:cxn>
                <a:cxn ang="0">
                  <a:pos x="1537" y="745"/>
                </a:cxn>
                <a:cxn ang="0">
                  <a:pos x="1584" y="822"/>
                </a:cxn>
                <a:cxn ang="0">
                  <a:pos x="1700" y="846"/>
                </a:cxn>
                <a:cxn ang="0">
                  <a:pos x="1682" y="899"/>
                </a:cxn>
                <a:cxn ang="0">
                  <a:pos x="1514" y="840"/>
                </a:cxn>
                <a:cxn ang="0">
                  <a:pos x="1550" y="930"/>
                </a:cxn>
                <a:cxn ang="0">
                  <a:pos x="1555" y="1026"/>
                </a:cxn>
                <a:cxn ang="0">
                  <a:pos x="1364" y="1060"/>
                </a:cxn>
                <a:cxn ang="0">
                  <a:pos x="1230" y="1180"/>
                </a:cxn>
                <a:cxn ang="0">
                  <a:pos x="1171" y="1157"/>
                </a:cxn>
                <a:cxn ang="0">
                  <a:pos x="1059" y="1235"/>
                </a:cxn>
                <a:cxn ang="0">
                  <a:pos x="1052" y="1295"/>
                </a:cxn>
                <a:cxn ang="0">
                  <a:pos x="1048" y="1342"/>
                </a:cxn>
                <a:cxn ang="0">
                  <a:pos x="977" y="1461"/>
                </a:cxn>
                <a:cxn ang="0">
                  <a:pos x="828" y="1447"/>
                </a:cxn>
                <a:cxn ang="0">
                  <a:pos x="790" y="1412"/>
                </a:cxn>
                <a:cxn ang="0">
                  <a:pos x="718" y="1276"/>
                </a:cxn>
                <a:cxn ang="0">
                  <a:pos x="698" y="1209"/>
                </a:cxn>
                <a:cxn ang="0">
                  <a:pos x="676" y="1063"/>
                </a:cxn>
                <a:cxn ang="0">
                  <a:pos x="672" y="1042"/>
                </a:cxn>
                <a:cxn ang="0">
                  <a:pos x="687" y="946"/>
                </a:cxn>
                <a:cxn ang="0">
                  <a:pos x="746" y="908"/>
                </a:cxn>
                <a:cxn ang="0">
                  <a:pos x="702" y="861"/>
                </a:cxn>
                <a:cxn ang="0">
                  <a:pos x="635" y="861"/>
                </a:cxn>
                <a:cxn ang="0">
                  <a:pos x="582" y="828"/>
                </a:cxn>
                <a:cxn ang="0">
                  <a:pos x="540" y="671"/>
                </a:cxn>
                <a:cxn ang="0">
                  <a:pos x="402" y="560"/>
                </a:cxn>
                <a:cxn ang="0">
                  <a:pos x="222" y="575"/>
                </a:cxn>
                <a:cxn ang="0">
                  <a:pos x="50" y="502"/>
                </a:cxn>
                <a:cxn ang="0">
                  <a:pos x="220" y="469"/>
                </a:cxn>
              </a:cxnLst>
              <a:rect l="0" t="0" r="r" b="b"/>
              <a:pathLst>
                <a:path w="2028" h="1481">
                  <a:moveTo>
                    <a:pt x="0" y="415"/>
                  </a:moveTo>
                  <a:lnTo>
                    <a:pt x="11" y="393"/>
                  </a:lnTo>
                  <a:lnTo>
                    <a:pt x="143" y="350"/>
                  </a:lnTo>
                  <a:lnTo>
                    <a:pt x="226" y="350"/>
                  </a:lnTo>
                  <a:lnTo>
                    <a:pt x="273" y="317"/>
                  </a:lnTo>
                  <a:lnTo>
                    <a:pt x="259" y="306"/>
                  </a:lnTo>
                  <a:lnTo>
                    <a:pt x="288" y="295"/>
                  </a:lnTo>
                  <a:lnTo>
                    <a:pt x="263" y="287"/>
                  </a:lnTo>
                  <a:lnTo>
                    <a:pt x="309" y="273"/>
                  </a:lnTo>
                  <a:lnTo>
                    <a:pt x="292" y="262"/>
                  </a:lnTo>
                  <a:lnTo>
                    <a:pt x="233" y="284"/>
                  </a:lnTo>
                  <a:lnTo>
                    <a:pt x="176" y="256"/>
                  </a:lnTo>
                  <a:lnTo>
                    <a:pt x="250" y="239"/>
                  </a:lnTo>
                  <a:lnTo>
                    <a:pt x="291" y="192"/>
                  </a:lnTo>
                  <a:lnTo>
                    <a:pt x="382" y="191"/>
                  </a:lnTo>
                  <a:lnTo>
                    <a:pt x="378" y="140"/>
                  </a:lnTo>
                  <a:lnTo>
                    <a:pt x="445" y="139"/>
                  </a:lnTo>
                  <a:lnTo>
                    <a:pt x="514" y="174"/>
                  </a:lnTo>
                  <a:lnTo>
                    <a:pt x="433" y="128"/>
                  </a:lnTo>
                  <a:lnTo>
                    <a:pt x="585" y="96"/>
                  </a:lnTo>
                  <a:lnTo>
                    <a:pt x="622" y="118"/>
                  </a:lnTo>
                  <a:lnTo>
                    <a:pt x="628" y="163"/>
                  </a:lnTo>
                  <a:lnTo>
                    <a:pt x="647" y="125"/>
                  </a:lnTo>
                  <a:lnTo>
                    <a:pt x="746" y="152"/>
                  </a:lnTo>
                  <a:lnTo>
                    <a:pt x="712" y="130"/>
                  </a:lnTo>
                  <a:lnTo>
                    <a:pt x="760" y="133"/>
                  </a:lnTo>
                  <a:lnTo>
                    <a:pt x="718" y="108"/>
                  </a:lnTo>
                  <a:lnTo>
                    <a:pt x="706" y="88"/>
                  </a:lnTo>
                  <a:lnTo>
                    <a:pt x="728" y="84"/>
                  </a:lnTo>
                  <a:lnTo>
                    <a:pt x="923" y="146"/>
                  </a:lnTo>
                  <a:lnTo>
                    <a:pt x="908" y="125"/>
                  </a:lnTo>
                  <a:lnTo>
                    <a:pt x="951" y="122"/>
                  </a:lnTo>
                  <a:lnTo>
                    <a:pt x="923" y="104"/>
                  </a:lnTo>
                  <a:lnTo>
                    <a:pt x="989" y="108"/>
                  </a:lnTo>
                  <a:lnTo>
                    <a:pt x="885" y="63"/>
                  </a:lnTo>
                  <a:lnTo>
                    <a:pt x="1074" y="88"/>
                  </a:lnTo>
                  <a:lnTo>
                    <a:pt x="1032" y="62"/>
                  </a:lnTo>
                  <a:lnTo>
                    <a:pt x="920" y="58"/>
                  </a:lnTo>
                  <a:lnTo>
                    <a:pt x="958" y="55"/>
                  </a:lnTo>
                  <a:lnTo>
                    <a:pt x="889" y="33"/>
                  </a:lnTo>
                  <a:lnTo>
                    <a:pt x="970" y="38"/>
                  </a:lnTo>
                  <a:lnTo>
                    <a:pt x="937" y="29"/>
                  </a:lnTo>
                  <a:lnTo>
                    <a:pt x="973" y="22"/>
                  </a:lnTo>
                  <a:lnTo>
                    <a:pt x="1111" y="63"/>
                  </a:lnTo>
                  <a:lnTo>
                    <a:pt x="1096" y="48"/>
                  </a:lnTo>
                  <a:lnTo>
                    <a:pt x="1158" y="33"/>
                  </a:lnTo>
                  <a:lnTo>
                    <a:pt x="1106" y="29"/>
                  </a:lnTo>
                  <a:lnTo>
                    <a:pt x="1105" y="8"/>
                  </a:lnTo>
                  <a:lnTo>
                    <a:pt x="1139" y="0"/>
                  </a:lnTo>
                  <a:lnTo>
                    <a:pt x="1513" y="9"/>
                  </a:lnTo>
                  <a:lnTo>
                    <a:pt x="1540" y="20"/>
                  </a:lnTo>
                  <a:lnTo>
                    <a:pt x="1529" y="29"/>
                  </a:lnTo>
                  <a:lnTo>
                    <a:pt x="1278" y="31"/>
                  </a:lnTo>
                  <a:lnTo>
                    <a:pt x="1307" y="42"/>
                  </a:lnTo>
                  <a:lnTo>
                    <a:pt x="1209" y="55"/>
                  </a:lnTo>
                  <a:lnTo>
                    <a:pt x="1564" y="33"/>
                  </a:lnTo>
                  <a:lnTo>
                    <a:pt x="1576" y="52"/>
                  </a:lnTo>
                  <a:lnTo>
                    <a:pt x="1529" y="64"/>
                  </a:lnTo>
                  <a:lnTo>
                    <a:pt x="1610" y="56"/>
                  </a:lnTo>
                  <a:lnTo>
                    <a:pt x="1704" y="80"/>
                  </a:lnTo>
                  <a:lnTo>
                    <a:pt x="1564" y="118"/>
                  </a:lnTo>
                  <a:lnTo>
                    <a:pt x="1338" y="115"/>
                  </a:lnTo>
                  <a:lnTo>
                    <a:pt x="1392" y="122"/>
                  </a:lnTo>
                  <a:lnTo>
                    <a:pt x="1297" y="139"/>
                  </a:lnTo>
                  <a:lnTo>
                    <a:pt x="1297" y="158"/>
                  </a:lnTo>
                  <a:lnTo>
                    <a:pt x="1544" y="128"/>
                  </a:lnTo>
                  <a:lnTo>
                    <a:pt x="1565" y="140"/>
                  </a:lnTo>
                  <a:lnTo>
                    <a:pt x="1513" y="170"/>
                  </a:lnTo>
                  <a:lnTo>
                    <a:pt x="1674" y="122"/>
                  </a:lnTo>
                  <a:lnTo>
                    <a:pt x="1682" y="168"/>
                  </a:lnTo>
                  <a:lnTo>
                    <a:pt x="1603" y="247"/>
                  </a:lnTo>
                  <a:lnTo>
                    <a:pt x="1756" y="157"/>
                  </a:lnTo>
                  <a:lnTo>
                    <a:pt x="1755" y="170"/>
                  </a:lnTo>
                  <a:lnTo>
                    <a:pt x="1827" y="169"/>
                  </a:lnTo>
                  <a:lnTo>
                    <a:pt x="1849" y="139"/>
                  </a:lnTo>
                  <a:lnTo>
                    <a:pt x="1929" y="133"/>
                  </a:lnTo>
                  <a:lnTo>
                    <a:pt x="2028" y="161"/>
                  </a:lnTo>
                  <a:lnTo>
                    <a:pt x="1932" y="201"/>
                  </a:lnTo>
                  <a:lnTo>
                    <a:pt x="1937" y="217"/>
                  </a:lnTo>
                  <a:lnTo>
                    <a:pt x="1717" y="239"/>
                  </a:lnTo>
                  <a:lnTo>
                    <a:pt x="1893" y="242"/>
                  </a:lnTo>
                  <a:lnTo>
                    <a:pt x="1749" y="275"/>
                  </a:lnTo>
                  <a:lnTo>
                    <a:pt x="1759" y="300"/>
                  </a:lnTo>
                  <a:lnTo>
                    <a:pt x="1855" y="275"/>
                  </a:lnTo>
                  <a:lnTo>
                    <a:pt x="1785" y="306"/>
                  </a:lnTo>
                  <a:lnTo>
                    <a:pt x="1775" y="346"/>
                  </a:lnTo>
                  <a:lnTo>
                    <a:pt x="1799" y="337"/>
                  </a:lnTo>
                  <a:lnTo>
                    <a:pt x="1731" y="373"/>
                  </a:lnTo>
                  <a:lnTo>
                    <a:pt x="1707" y="448"/>
                  </a:lnTo>
                  <a:lnTo>
                    <a:pt x="1744" y="432"/>
                  </a:lnTo>
                  <a:lnTo>
                    <a:pt x="1794" y="448"/>
                  </a:lnTo>
                  <a:lnTo>
                    <a:pt x="1748" y="448"/>
                  </a:lnTo>
                  <a:lnTo>
                    <a:pt x="1748" y="470"/>
                  </a:lnTo>
                  <a:lnTo>
                    <a:pt x="1825" y="480"/>
                  </a:lnTo>
                  <a:lnTo>
                    <a:pt x="1827" y="507"/>
                  </a:lnTo>
                  <a:lnTo>
                    <a:pt x="1712" y="502"/>
                  </a:lnTo>
                  <a:lnTo>
                    <a:pt x="1744" y="514"/>
                  </a:lnTo>
                  <a:lnTo>
                    <a:pt x="1679" y="522"/>
                  </a:lnTo>
                  <a:lnTo>
                    <a:pt x="1712" y="553"/>
                  </a:lnTo>
                  <a:lnTo>
                    <a:pt x="1771" y="554"/>
                  </a:lnTo>
                  <a:lnTo>
                    <a:pt x="1735" y="572"/>
                  </a:lnTo>
                  <a:lnTo>
                    <a:pt x="1782" y="588"/>
                  </a:lnTo>
                  <a:lnTo>
                    <a:pt x="1781" y="627"/>
                  </a:lnTo>
                  <a:lnTo>
                    <a:pt x="1696" y="604"/>
                  </a:lnTo>
                  <a:lnTo>
                    <a:pt x="1746" y="624"/>
                  </a:lnTo>
                  <a:lnTo>
                    <a:pt x="1715" y="638"/>
                  </a:lnTo>
                  <a:lnTo>
                    <a:pt x="1744" y="635"/>
                  </a:lnTo>
                  <a:lnTo>
                    <a:pt x="1735" y="660"/>
                  </a:lnTo>
                  <a:lnTo>
                    <a:pt x="1797" y="672"/>
                  </a:lnTo>
                  <a:lnTo>
                    <a:pt x="1700" y="665"/>
                  </a:lnTo>
                  <a:lnTo>
                    <a:pt x="1682" y="679"/>
                  </a:lnTo>
                  <a:lnTo>
                    <a:pt x="1756" y="710"/>
                  </a:lnTo>
                  <a:lnTo>
                    <a:pt x="1746" y="736"/>
                  </a:lnTo>
                  <a:lnTo>
                    <a:pt x="1686" y="751"/>
                  </a:lnTo>
                  <a:lnTo>
                    <a:pt x="1627" y="714"/>
                  </a:lnTo>
                  <a:lnTo>
                    <a:pt x="1537" y="745"/>
                  </a:lnTo>
                  <a:lnTo>
                    <a:pt x="1601" y="765"/>
                  </a:lnTo>
                  <a:lnTo>
                    <a:pt x="1540" y="782"/>
                  </a:lnTo>
                  <a:lnTo>
                    <a:pt x="1606" y="785"/>
                  </a:lnTo>
                  <a:lnTo>
                    <a:pt x="1584" y="822"/>
                  </a:lnTo>
                  <a:lnTo>
                    <a:pt x="1610" y="800"/>
                  </a:lnTo>
                  <a:lnTo>
                    <a:pt x="1682" y="831"/>
                  </a:lnTo>
                  <a:lnTo>
                    <a:pt x="1660" y="855"/>
                  </a:lnTo>
                  <a:lnTo>
                    <a:pt x="1700" y="846"/>
                  </a:lnTo>
                  <a:lnTo>
                    <a:pt x="1682" y="872"/>
                  </a:lnTo>
                  <a:lnTo>
                    <a:pt x="1709" y="859"/>
                  </a:lnTo>
                  <a:lnTo>
                    <a:pt x="1713" y="923"/>
                  </a:lnTo>
                  <a:lnTo>
                    <a:pt x="1682" y="899"/>
                  </a:lnTo>
                  <a:lnTo>
                    <a:pt x="1682" y="923"/>
                  </a:lnTo>
                  <a:lnTo>
                    <a:pt x="1650" y="921"/>
                  </a:lnTo>
                  <a:lnTo>
                    <a:pt x="1610" y="869"/>
                  </a:lnTo>
                  <a:lnTo>
                    <a:pt x="1514" y="840"/>
                  </a:lnTo>
                  <a:lnTo>
                    <a:pt x="1581" y="875"/>
                  </a:lnTo>
                  <a:lnTo>
                    <a:pt x="1492" y="892"/>
                  </a:lnTo>
                  <a:lnTo>
                    <a:pt x="1467" y="923"/>
                  </a:lnTo>
                  <a:lnTo>
                    <a:pt x="1550" y="930"/>
                  </a:lnTo>
                  <a:lnTo>
                    <a:pt x="1480" y="947"/>
                  </a:lnTo>
                  <a:lnTo>
                    <a:pt x="1586" y="925"/>
                  </a:lnTo>
                  <a:lnTo>
                    <a:pt x="1689" y="953"/>
                  </a:lnTo>
                  <a:lnTo>
                    <a:pt x="1555" y="1026"/>
                  </a:lnTo>
                  <a:lnTo>
                    <a:pt x="1426" y="1058"/>
                  </a:lnTo>
                  <a:lnTo>
                    <a:pt x="1379" y="1060"/>
                  </a:lnTo>
                  <a:lnTo>
                    <a:pt x="1349" y="1027"/>
                  </a:lnTo>
                  <a:lnTo>
                    <a:pt x="1364" y="1060"/>
                  </a:lnTo>
                  <a:lnTo>
                    <a:pt x="1326" y="1080"/>
                  </a:lnTo>
                  <a:lnTo>
                    <a:pt x="1278" y="1158"/>
                  </a:lnTo>
                  <a:lnTo>
                    <a:pt x="1238" y="1157"/>
                  </a:lnTo>
                  <a:lnTo>
                    <a:pt x="1230" y="1180"/>
                  </a:lnTo>
                  <a:lnTo>
                    <a:pt x="1191" y="1184"/>
                  </a:lnTo>
                  <a:lnTo>
                    <a:pt x="1172" y="1176"/>
                  </a:lnTo>
                  <a:lnTo>
                    <a:pt x="1198" y="1159"/>
                  </a:lnTo>
                  <a:lnTo>
                    <a:pt x="1171" y="1157"/>
                  </a:lnTo>
                  <a:lnTo>
                    <a:pt x="1157" y="1196"/>
                  </a:lnTo>
                  <a:lnTo>
                    <a:pt x="1095" y="1201"/>
                  </a:lnTo>
                  <a:lnTo>
                    <a:pt x="1096" y="1232"/>
                  </a:lnTo>
                  <a:lnTo>
                    <a:pt x="1059" y="1235"/>
                  </a:lnTo>
                  <a:lnTo>
                    <a:pt x="1092" y="1261"/>
                  </a:lnTo>
                  <a:lnTo>
                    <a:pt x="1048" y="1267"/>
                  </a:lnTo>
                  <a:lnTo>
                    <a:pt x="1083" y="1295"/>
                  </a:lnTo>
                  <a:lnTo>
                    <a:pt x="1052" y="1295"/>
                  </a:lnTo>
                  <a:lnTo>
                    <a:pt x="1076" y="1302"/>
                  </a:lnTo>
                  <a:lnTo>
                    <a:pt x="1052" y="1334"/>
                  </a:lnTo>
                  <a:lnTo>
                    <a:pt x="1032" y="1328"/>
                  </a:lnTo>
                  <a:lnTo>
                    <a:pt x="1048" y="1342"/>
                  </a:lnTo>
                  <a:lnTo>
                    <a:pt x="1007" y="1355"/>
                  </a:lnTo>
                  <a:lnTo>
                    <a:pt x="1032" y="1399"/>
                  </a:lnTo>
                  <a:lnTo>
                    <a:pt x="1007" y="1459"/>
                  </a:lnTo>
                  <a:lnTo>
                    <a:pt x="977" y="1461"/>
                  </a:lnTo>
                  <a:lnTo>
                    <a:pt x="1000" y="1481"/>
                  </a:lnTo>
                  <a:lnTo>
                    <a:pt x="931" y="1481"/>
                  </a:lnTo>
                  <a:lnTo>
                    <a:pt x="923" y="1441"/>
                  </a:lnTo>
                  <a:lnTo>
                    <a:pt x="828" y="1447"/>
                  </a:lnTo>
                  <a:lnTo>
                    <a:pt x="850" y="1436"/>
                  </a:lnTo>
                  <a:lnTo>
                    <a:pt x="801" y="1419"/>
                  </a:lnTo>
                  <a:lnTo>
                    <a:pt x="826" y="1412"/>
                  </a:lnTo>
                  <a:lnTo>
                    <a:pt x="790" y="1412"/>
                  </a:lnTo>
                  <a:lnTo>
                    <a:pt x="802" y="1381"/>
                  </a:lnTo>
                  <a:lnTo>
                    <a:pt x="782" y="1388"/>
                  </a:lnTo>
                  <a:lnTo>
                    <a:pt x="718" y="1302"/>
                  </a:lnTo>
                  <a:lnTo>
                    <a:pt x="718" y="1276"/>
                  </a:lnTo>
                  <a:lnTo>
                    <a:pt x="765" y="1249"/>
                  </a:lnTo>
                  <a:lnTo>
                    <a:pt x="746" y="1240"/>
                  </a:lnTo>
                  <a:lnTo>
                    <a:pt x="698" y="1272"/>
                  </a:lnTo>
                  <a:lnTo>
                    <a:pt x="698" y="1209"/>
                  </a:lnTo>
                  <a:lnTo>
                    <a:pt x="654" y="1176"/>
                  </a:lnTo>
                  <a:lnTo>
                    <a:pt x="666" y="1125"/>
                  </a:lnTo>
                  <a:lnTo>
                    <a:pt x="639" y="1106"/>
                  </a:lnTo>
                  <a:lnTo>
                    <a:pt x="676" y="1063"/>
                  </a:lnTo>
                  <a:lnTo>
                    <a:pt x="654" y="1058"/>
                  </a:lnTo>
                  <a:lnTo>
                    <a:pt x="735" y="1058"/>
                  </a:lnTo>
                  <a:lnTo>
                    <a:pt x="727" y="1041"/>
                  </a:lnTo>
                  <a:lnTo>
                    <a:pt x="672" y="1042"/>
                  </a:lnTo>
                  <a:lnTo>
                    <a:pt x="754" y="1004"/>
                  </a:lnTo>
                  <a:lnTo>
                    <a:pt x="735" y="990"/>
                  </a:lnTo>
                  <a:lnTo>
                    <a:pt x="754" y="947"/>
                  </a:lnTo>
                  <a:lnTo>
                    <a:pt x="687" y="946"/>
                  </a:lnTo>
                  <a:lnTo>
                    <a:pt x="613" y="910"/>
                  </a:lnTo>
                  <a:lnTo>
                    <a:pt x="746" y="930"/>
                  </a:lnTo>
                  <a:lnTo>
                    <a:pt x="723" y="914"/>
                  </a:lnTo>
                  <a:lnTo>
                    <a:pt x="746" y="908"/>
                  </a:lnTo>
                  <a:lnTo>
                    <a:pt x="694" y="881"/>
                  </a:lnTo>
                  <a:lnTo>
                    <a:pt x="712" y="869"/>
                  </a:lnTo>
                  <a:lnTo>
                    <a:pt x="684" y="879"/>
                  </a:lnTo>
                  <a:lnTo>
                    <a:pt x="702" y="861"/>
                  </a:lnTo>
                  <a:lnTo>
                    <a:pt x="668" y="862"/>
                  </a:lnTo>
                  <a:lnTo>
                    <a:pt x="706" y="848"/>
                  </a:lnTo>
                  <a:lnTo>
                    <a:pt x="647" y="828"/>
                  </a:lnTo>
                  <a:lnTo>
                    <a:pt x="635" y="861"/>
                  </a:lnTo>
                  <a:lnTo>
                    <a:pt x="585" y="862"/>
                  </a:lnTo>
                  <a:lnTo>
                    <a:pt x="575" y="848"/>
                  </a:lnTo>
                  <a:lnTo>
                    <a:pt x="608" y="828"/>
                  </a:lnTo>
                  <a:lnTo>
                    <a:pt x="582" y="828"/>
                  </a:lnTo>
                  <a:lnTo>
                    <a:pt x="613" y="773"/>
                  </a:lnTo>
                  <a:lnTo>
                    <a:pt x="578" y="763"/>
                  </a:lnTo>
                  <a:lnTo>
                    <a:pt x="595" y="738"/>
                  </a:lnTo>
                  <a:lnTo>
                    <a:pt x="540" y="671"/>
                  </a:lnTo>
                  <a:lnTo>
                    <a:pt x="558" y="670"/>
                  </a:lnTo>
                  <a:lnTo>
                    <a:pt x="483" y="610"/>
                  </a:lnTo>
                  <a:lnTo>
                    <a:pt x="483" y="588"/>
                  </a:lnTo>
                  <a:lnTo>
                    <a:pt x="402" y="560"/>
                  </a:lnTo>
                  <a:lnTo>
                    <a:pt x="327" y="543"/>
                  </a:lnTo>
                  <a:lnTo>
                    <a:pt x="258" y="571"/>
                  </a:lnTo>
                  <a:lnTo>
                    <a:pt x="202" y="553"/>
                  </a:lnTo>
                  <a:lnTo>
                    <a:pt x="222" y="575"/>
                  </a:lnTo>
                  <a:lnTo>
                    <a:pt x="163" y="565"/>
                  </a:lnTo>
                  <a:lnTo>
                    <a:pt x="112" y="542"/>
                  </a:lnTo>
                  <a:lnTo>
                    <a:pt x="163" y="522"/>
                  </a:lnTo>
                  <a:lnTo>
                    <a:pt x="50" y="502"/>
                  </a:lnTo>
                  <a:lnTo>
                    <a:pt x="92" y="483"/>
                  </a:lnTo>
                  <a:lnTo>
                    <a:pt x="226" y="488"/>
                  </a:lnTo>
                  <a:lnTo>
                    <a:pt x="243" y="481"/>
                  </a:lnTo>
                  <a:lnTo>
                    <a:pt x="220" y="469"/>
                  </a:lnTo>
                  <a:lnTo>
                    <a:pt x="242" y="458"/>
                  </a:lnTo>
                  <a:lnTo>
                    <a:pt x="121" y="466"/>
                  </a:lnTo>
                  <a:lnTo>
                    <a:pt x="0" y="41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38" name="30465359.5200.58.1257.55">
              <a:extLst>
                <a:ext uri="{FF2B5EF4-FFF2-40B4-BE49-F238E27FC236}">
                  <a16:creationId xmlns:a16="http://schemas.microsoft.com/office/drawing/2014/main" id="{46AC3AA3-163B-4A2E-B7B0-9886B022A8F8}"/>
                </a:ext>
              </a:extLst>
            </p:cNvPr>
            <p:cNvSpPr>
              <a:spLocks noChangeAspect="1"/>
            </p:cNvSpPr>
            <p:nvPr/>
          </p:nvSpPr>
          <p:spPr bwMode="gray">
            <a:xfrm>
              <a:off x="2885261" y="4120754"/>
              <a:ext cx="121727" cy="131197"/>
            </a:xfrm>
            <a:custGeom>
              <a:avLst/>
              <a:gdLst/>
              <a:ahLst/>
              <a:cxnLst>
                <a:cxn ang="0">
                  <a:pos x="0" y="115"/>
                </a:cxn>
                <a:cxn ang="0">
                  <a:pos x="28" y="63"/>
                </a:cxn>
                <a:cxn ang="0">
                  <a:pos x="62" y="62"/>
                </a:cxn>
                <a:cxn ang="0">
                  <a:pos x="26" y="18"/>
                </a:cxn>
                <a:cxn ang="0">
                  <a:pos x="103" y="0"/>
                </a:cxn>
                <a:cxn ang="0">
                  <a:pos x="114" y="68"/>
                </a:cxn>
                <a:cxn ang="0">
                  <a:pos x="132" y="74"/>
                </a:cxn>
                <a:cxn ang="0">
                  <a:pos x="96" y="118"/>
                </a:cxn>
                <a:cxn ang="0">
                  <a:pos x="74" y="144"/>
                </a:cxn>
                <a:cxn ang="0">
                  <a:pos x="0" y="115"/>
                </a:cxn>
              </a:cxnLst>
              <a:rect l="0" t="0" r="r" b="b"/>
              <a:pathLst>
                <a:path w="132" h="144">
                  <a:moveTo>
                    <a:pt x="0" y="115"/>
                  </a:moveTo>
                  <a:lnTo>
                    <a:pt x="28" y="63"/>
                  </a:lnTo>
                  <a:lnTo>
                    <a:pt x="62" y="62"/>
                  </a:lnTo>
                  <a:lnTo>
                    <a:pt x="26" y="18"/>
                  </a:lnTo>
                  <a:lnTo>
                    <a:pt x="103" y="0"/>
                  </a:lnTo>
                  <a:lnTo>
                    <a:pt x="114" y="68"/>
                  </a:lnTo>
                  <a:lnTo>
                    <a:pt x="132" y="74"/>
                  </a:lnTo>
                  <a:lnTo>
                    <a:pt x="96" y="118"/>
                  </a:lnTo>
                  <a:lnTo>
                    <a:pt x="74" y="144"/>
                  </a:lnTo>
                  <a:lnTo>
                    <a:pt x="0" y="11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39" name="30466377.87525912.7595">
              <a:extLst>
                <a:ext uri="{FF2B5EF4-FFF2-40B4-BE49-F238E27FC236}">
                  <a16:creationId xmlns:a16="http://schemas.microsoft.com/office/drawing/2014/main" id="{247559B1-2FC0-4816-AD69-C123201FF524}"/>
                </a:ext>
              </a:extLst>
            </p:cNvPr>
            <p:cNvSpPr>
              <a:spLocks noChangeAspect="1"/>
            </p:cNvSpPr>
            <p:nvPr/>
          </p:nvSpPr>
          <p:spPr bwMode="gray">
            <a:xfrm>
              <a:off x="3826754" y="4418468"/>
              <a:ext cx="140748" cy="206885"/>
            </a:xfrm>
            <a:custGeom>
              <a:avLst/>
              <a:gdLst/>
              <a:ahLst/>
              <a:cxnLst>
                <a:cxn ang="0">
                  <a:pos x="0" y="75"/>
                </a:cxn>
                <a:cxn ang="0">
                  <a:pos x="24" y="106"/>
                </a:cxn>
                <a:cxn ang="0">
                  <a:pos x="54" y="130"/>
                </a:cxn>
                <a:cxn ang="0">
                  <a:pos x="47" y="193"/>
                </a:cxn>
                <a:cxn ang="0">
                  <a:pos x="65" y="227"/>
                </a:cxn>
                <a:cxn ang="0">
                  <a:pos x="160" y="213"/>
                </a:cxn>
                <a:cxn ang="0">
                  <a:pos x="106" y="143"/>
                </a:cxn>
                <a:cxn ang="0">
                  <a:pos x="143" y="83"/>
                </a:cxn>
                <a:cxn ang="0">
                  <a:pos x="48" y="0"/>
                </a:cxn>
                <a:cxn ang="0">
                  <a:pos x="17" y="24"/>
                </a:cxn>
                <a:cxn ang="0">
                  <a:pos x="29" y="46"/>
                </a:cxn>
                <a:cxn ang="0">
                  <a:pos x="0" y="75"/>
                </a:cxn>
              </a:cxnLst>
              <a:rect l="0" t="0" r="r" b="b"/>
              <a:pathLst>
                <a:path w="160" h="227">
                  <a:moveTo>
                    <a:pt x="0" y="75"/>
                  </a:moveTo>
                  <a:lnTo>
                    <a:pt x="24" y="106"/>
                  </a:lnTo>
                  <a:lnTo>
                    <a:pt x="54" y="130"/>
                  </a:lnTo>
                  <a:lnTo>
                    <a:pt x="47" y="193"/>
                  </a:lnTo>
                  <a:lnTo>
                    <a:pt x="65" y="227"/>
                  </a:lnTo>
                  <a:lnTo>
                    <a:pt x="160" y="213"/>
                  </a:lnTo>
                  <a:lnTo>
                    <a:pt x="106" y="143"/>
                  </a:lnTo>
                  <a:lnTo>
                    <a:pt x="143" y="83"/>
                  </a:lnTo>
                  <a:lnTo>
                    <a:pt x="48" y="0"/>
                  </a:lnTo>
                  <a:lnTo>
                    <a:pt x="17" y="24"/>
                  </a:lnTo>
                  <a:lnTo>
                    <a:pt x="29" y="46"/>
                  </a:lnTo>
                  <a:lnTo>
                    <a:pt x="0" y="7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40" name="30467355.75234.1253.62555">
              <a:extLst>
                <a:ext uri="{FF2B5EF4-FFF2-40B4-BE49-F238E27FC236}">
                  <a16:creationId xmlns:a16="http://schemas.microsoft.com/office/drawing/2014/main" id="{954D7719-7F7E-4B63-A55D-BD9EDC3C129F}"/>
                </a:ext>
              </a:extLst>
            </p:cNvPr>
            <p:cNvSpPr>
              <a:spLocks noChangeAspect="1"/>
            </p:cNvSpPr>
            <p:nvPr/>
          </p:nvSpPr>
          <p:spPr bwMode="gray">
            <a:xfrm>
              <a:off x="3427332" y="4061884"/>
              <a:ext cx="79883" cy="55506"/>
            </a:xfrm>
            <a:custGeom>
              <a:avLst/>
              <a:gdLst/>
              <a:ahLst/>
              <a:cxnLst>
                <a:cxn ang="0">
                  <a:pos x="0" y="46"/>
                </a:cxn>
                <a:cxn ang="0">
                  <a:pos x="65" y="45"/>
                </a:cxn>
                <a:cxn ang="0">
                  <a:pos x="34" y="4"/>
                </a:cxn>
                <a:cxn ang="0">
                  <a:pos x="86" y="0"/>
                </a:cxn>
                <a:cxn ang="0">
                  <a:pos x="86" y="63"/>
                </a:cxn>
                <a:cxn ang="0">
                  <a:pos x="0" y="46"/>
                </a:cxn>
              </a:cxnLst>
              <a:rect l="0" t="0" r="r" b="b"/>
              <a:pathLst>
                <a:path w="86" h="63">
                  <a:moveTo>
                    <a:pt x="0" y="46"/>
                  </a:moveTo>
                  <a:lnTo>
                    <a:pt x="65" y="45"/>
                  </a:lnTo>
                  <a:lnTo>
                    <a:pt x="34" y="4"/>
                  </a:lnTo>
                  <a:lnTo>
                    <a:pt x="86" y="0"/>
                  </a:lnTo>
                  <a:lnTo>
                    <a:pt x="86" y="63"/>
                  </a:lnTo>
                  <a:lnTo>
                    <a:pt x="0" y="46"/>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41" name="30468363.375205.8755.62511.55">
              <a:extLst>
                <a:ext uri="{FF2B5EF4-FFF2-40B4-BE49-F238E27FC236}">
                  <a16:creationId xmlns:a16="http://schemas.microsoft.com/office/drawing/2014/main" id="{F57ADE40-EE86-4ED0-9826-7C4AC0BC5299}"/>
                </a:ext>
              </a:extLst>
            </p:cNvPr>
            <p:cNvSpPr>
              <a:spLocks noChangeAspect="1"/>
            </p:cNvSpPr>
            <p:nvPr/>
          </p:nvSpPr>
          <p:spPr bwMode="gray">
            <a:xfrm>
              <a:off x="2974655" y="4182989"/>
              <a:ext cx="184493" cy="92509"/>
            </a:xfrm>
            <a:custGeom>
              <a:avLst/>
              <a:gdLst/>
              <a:ahLst/>
              <a:cxnLst>
                <a:cxn ang="0">
                  <a:pos x="0" y="50"/>
                </a:cxn>
                <a:cxn ang="0">
                  <a:pos x="36" y="6"/>
                </a:cxn>
                <a:cxn ang="0">
                  <a:pos x="146" y="0"/>
                </a:cxn>
                <a:cxn ang="0">
                  <a:pos x="204" y="31"/>
                </a:cxn>
                <a:cxn ang="0">
                  <a:pos x="156" y="38"/>
                </a:cxn>
                <a:cxn ang="0">
                  <a:pos x="70" y="101"/>
                </a:cxn>
                <a:cxn ang="0">
                  <a:pos x="55" y="84"/>
                </a:cxn>
                <a:cxn ang="0">
                  <a:pos x="0" y="50"/>
                </a:cxn>
              </a:cxnLst>
              <a:rect l="0" t="0" r="r" b="b"/>
              <a:pathLst>
                <a:path w="204" h="101">
                  <a:moveTo>
                    <a:pt x="0" y="50"/>
                  </a:moveTo>
                  <a:lnTo>
                    <a:pt x="36" y="6"/>
                  </a:lnTo>
                  <a:lnTo>
                    <a:pt x="146" y="0"/>
                  </a:lnTo>
                  <a:lnTo>
                    <a:pt x="204" y="31"/>
                  </a:lnTo>
                  <a:lnTo>
                    <a:pt x="156" y="38"/>
                  </a:lnTo>
                  <a:lnTo>
                    <a:pt x="70" y="101"/>
                  </a:lnTo>
                  <a:lnTo>
                    <a:pt x="55" y="84"/>
                  </a:lnTo>
                  <a:lnTo>
                    <a:pt x="0" y="5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42" name="30469245.875328.259.62520.6255">
              <a:extLst>
                <a:ext uri="{FF2B5EF4-FFF2-40B4-BE49-F238E27FC236}">
                  <a16:creationId xmlns:a16="http://schemas.microsoft.com/office/drawing/2014/main" id="{05AC7767-4B10-47AF-832A-D21CE3883CEC}"/>
                </a:ext>
              </a:extLst>
            </p:cNvPr>
            <p:cNvSpPr>
              <a:spLocks noChangeAspect="1"/>
            </p:cNvSpPr>
            <p:nvPr/>
          </p:nvSpPr>
          <p:spPr bwMode="gray">
            <a:xfrm>
              <a:off x="4937528" y="2280653"/>
              <a:ext cx="329046" cy="158106"/>
            </a:xfrm>
            <a:custGeom>
              <a:avLst/>
              <a:gdLst/>
              <a:ahLst/>
              <a:cxnLst>
                <a:cxn ang="0">
                  <a:pos x="0" y="60"/>
                </a:cxn>
                <a:cxn ang="0">
                  <a:pos x="23" y="52"/>
                </a:cxn>
                <a:cxn ang="0">
                  <a:pos x="9" y="37"/>
                </a:cxn>
                <a:cxn ang="0">
                  <a:pos x="41" y="47"/>
                </a:cxn>
                <a:cxn ang="0">
                  <a:pos x="27" y="19"/>
                </a:cxn>
                <a:cxn ang="0">
                  <a:pos x="63" y="36"/>
                </a:cxn>
                <a:cxn ang="0">
                  <a:pos x="45" y="3"/>
                </a:cxn>
                <a:cxn ang="0">
                  <a:pos x="103" y="29"/>
                </a:cxn>
                <a:cxn ang="0">
                  <a:pos x="107" y="71"/>
                </a:cxn>
                <a:cxn ang="0">
                  <a:pos x="137" y="23"/>
                </a:cxn>
                <a:cxn ang="0">
                  <a:pos x="167" y="41"/>
                </a:cxn>
                <a:cxn ang="0">
                  <a:pos x="191" y="18"/>
                </a:cxn>
                <a:cxn ang="0">
                  <a:pos x="211" y="48"/>
                </a:cxn>
                <a:cxn ang="0">
                  <a:pos x="206" y="19"/>
                </a:cxn>
                <a:cxn ang="0">
                  <a:pos x="266" y="19"/>
                </a:cxn>
                <a:cxn ang="0">
                  <a:pos x="274" y="0"/>
                </a:cxn>
                <a:cxn ang="0">
                  <a:pos x="301" y="18"/>
                </a:cxn>
                <a:cxn ang="0">
                  <a:pos x="333" y="11"/>
                </a:cxn>
                <a:cxn ang="0">
                  <a:pos x="310" y="23"/>
                </a:cxn>
                <a:cxn ang="0">
                  <a:pos x="366" y="77"/>
                </a:cxn>
                <a:cxn ang="0">
                  <a:pos x="318" y="124"/>
                </a:cxn>
                <a:cxn ang="0">
                  <a:pos x="182" y="169"/>
                </a:cxn>
                <a:cxn ang="0">
                  <a:pos x="61" y="148"/>
                </a:cxn>
                <a:cxn ang="0">
                  <a:pos x="90" y="104"/>
                </a:cxn>
                <a:cxn ang="0">
                  <a:pos x="19" y="89"/>
                </a:cxn>
                <a:cxn ang="0">
                  <a:pos x="88" y="85"/>
                </a:cxn>
                <a:cxn ang="0">
                  <a:pos x="63" y="73"/>
                </a:cxn>
                <a:cxn ang="0">
                  <a:pos x="89" y="60"/>
                </a:cxn>
                <a:cxn ang="0">
                  <a:pos x="0" y="60"/>
                </a:cxn>
              </a:cxnLst>
              <a:rect l="0" t="0" r="r" b="b"/>
              <a:pathLst>
                <a:path w="366" h="169">
                  <a:moveTo>
                    <a:pt x="0" y="60"/>
                  </a:moveTo>
                  <a:lnTo>
                    <a:pt x="23" y="52"/>
                  </a:lnTo>
                  <a:lnTo>
                    <a:pt x="9" y="37"/>
                  </a:lnTo>
                  <a:lnTo>
                    <a:pt x="41" y="47"/>
                  </a:lnTo>
                  <a:lnTo>
                    <a:pt x="27" y="19"/>
                  </a:lnTo>
                  <a:lnTo>
                    <a:pt x="63" y="36"/>
                  </a:lnTo>
                  <a:lnTo>
                    <a:pt x="45" y="3"/>
                  </a:lnTo>
                  <a:lnTo>
                    <a:pt x="103" y="29"/>
                  </a:lnTo>
                  <a:lnTo>
                    <a:pt x="107" y="71"/>
                  </a:lnTo>
                  <a:lnTo>
                    <a:pt x="137" y="23"/>
                  </a:lnTo>
                  <a:lnTo>
                    <a:pt x="167" y="41"/>
                  </a:lnTo>
                  <a:lnTo>
                    <a:pt x="191" y="18"/>
                  </a:lnTo>
                  <a:lnTo>
                    <a:pt x="211" y="48"/>
                  </a:lnTo>
                  <a:lnTo>
                    <a:pt x="206" y="19"/>
                  </a:lnTo>
                  <a:lnTo>
                    <a:pt x="266" y="19"/>
                  </a:lnTo>
                  <a:lnTo>
                    <a:pt x="274" y="0"/>
                  </a:lnTo>
                  <a:lnTo>
                    <a:pt x="301" y="18"/>
                  </a:lnTo>
                  <a:lnTo>
                    <a:pt x="333" y="11"/>
                  </a:lnTo>
                  <a:lnTo>
                    <a:pt x="310" y="23"/>
                  </a:lnTo>
                  <a:lnTo>
                    <a:pt x="366" y="77"/>
                  </a:lnTo>
                  <a:lnTo>
                    <a:pt x="318" y="124"/>
                  </a:lnTo>
                  <a:lnTo>
                    <a:pt x="182" y="169"/>
                  </a:lnTo>
                  <a:lnTo>
                    <a:pt x="61" y="148"/>
                  </a:lnTo>
                  <a:lnTo>
                    <a:pt x="90" y="104"/>
                  </a:lnTo>
                  <a:lnTo>
                    <a:pt x="19" y="89"/>
                  </a:lnTo>
                  <a:lnTo>
                    <a:pt x="88" y="85"/>
                  </a:lnTo>
                  <a:lnTo>
                    <a:pt x="63" y="73"/>
                  </a:lnTo>
                  <a:lnTo>
                    <a:pt x="89" y="60"/>
                  </a:lnTo>
                  <a:lnTo>
                    <a:pt x="0" y="6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43" name="30482330.25153.87535.7556.8755">
              <a:extLst>
                <a:ext uri="{FF2B5EF4-FFF2-40B4-BE49-F238E27FC236}">
                  <a16:creationId xmlns:a16="http://schemas.microsoft.com/office/drawing/2014/main" id="{B4C5FD3B-7C74-4D53-ABD5-B9AE3AA57910}"/>
                </a:ext>
              </a:extLst>
            </p:cNvPr>
            <p:cNvSpPr>
              <a:spLocks noChangeAspect="1"/>
            </p:cNvSpPr>
            <p:nvPr/>
          </p:nvSpPr>
          <p:spPr bwMode="gray">
            <a:xfrm>
              <a:off x="2139675" y="3648113"/>
              <a:ext cx="911061" cy="580287"/>
            </a:xfrm>
            <a:custGeom>
              <a:avLst/>
              <a:gdLst/>
              <a:ahLst/>
              <a:cxnLst>
                <a:cxn ang="0">
                  <a:pos x="0" y="7"/>
                </a:cxn>
                <a:cxn ang="0">
                  <a:pos x="48" y="106"/>
                </a:cxn>
                <a:cxn ang="0">
                  <a:pos x="105" y="152"/>
                </a:cxn>
                <a:cxn ang="0">
                  <a:pos x="100" y="179"/>
                </a:cxn>
                <a:cxn ang="0">
                  <a:pos x="72" y="185"/>
                </a:cxn>
                <a:cxn ang="0">
                  <a:pos x="135" y="207"/>
                </a:cxn>
                <a:cxn ang="0">
                  <a:pos x="169" y="252"/>
                </a:cxn>
                <a:cxn ang="0">
                  <a:pos x="166" y="289"/>
                </a:cxn>
                <a:cxn ang="0">
                  <a:pos x="239" y="351"/>
                </a:cxn>
                <a:cxn ang="0">
                  <a:pos x="256" y="330"/>
                </a:cxn>
                <a:cxn ang="0">
                  <a:pos x="85" y="91"/>
                </a:cxn>
                <a:cxn ang="0">
                  <a:pos x="74" y="26"/>
                </a:cxn>
                <a:cxn ang="0">
                  <a:pos x="111" y="43"/>
                </a:cxn>
                <a:cxn ang="0">
                  <a:pos x="175" y="147"/>
                </a:cxn>
                <a:cxn ang="0">
                  <a:pos x="264" y="226"/>
                </a:cxn>
                <a:cxn ang="0">
                  <a:pos x="261" y="256"/>
                </a:cxn>
                <a:cxn ang="0">
                  <a:pos x="385" y="363"/>
                </a:cxn>
                <a:cxn ang="0">
                  <a:pos x="400" y="409"/>
                </a:cxn>
                <a:cxn ang="0">
                  <a:pos x="385" y="439"/>
                </a:cxn>
                <a:cxn ang="0">
                  <a:pos x="414" y="480"/>
                </a:cxn>
                <a:cxn ang="0">
                  <a:pos x="653" y="592"/>
                </a:cxn>
                <a:cxn ang="0">
                  <a:pos x="757" y="584"/>
                </a:cxn>
                <a:cxn ang="0">
                  <a:pos x="826" y="637"/>
                </a:cxn>
                <a:cxn ang="0">
                  <a:pos x="854" y="585"/>
                </a:cxn>
                <a:cxn ang="0">
                  <a:pos x="888" y="584"/>
                </a:cxn>
                <a:cxn ang="0">
                  <a:pos x="852" y="540"/>
                </a:cxn>
                <a:cxn ang="0">
                  <a:pos x="929" y="522"/>
                </a:cxn>
                <a:cxn ang="0">
                  <a:pos x="957" y="502"/>
                </a:cxn>
                <a:cxn ang="0">
                  <a:pos x="966" y="491"/>
                </a:cxn>
                <a:cxn ang="0">
                  <a:pos x="975" y="516"/>
                </a:cxn>
                <a:cxn ang="0">
                  <a:pos x="1007" y="410"/>
                </a:cxn>
                <a:cxn ang="0">
                  <a:pos x="965" y="394"/>
                </a:cxn>
                <a:cxn ang="0">
                  <a:pos x="889" y="410"/>
                </a:cxn>
                <a:cxn ang="0">
                  <a:pos x="849" y="502"/>
                </a:cxn>
                <a:cxn ang="0">
                  <a:pos x="752" y="512"/>
                </a:cxn>
                <a:cxn ang="0">
                  <a:pos x="712" y="489"/>
                </a:cxn>
                <a:cxn ang="0">
                  <a:pos x="647" y="376"/>
                </a:cxn>
                <a:cxn ang="0">
                  <a:pos x="645" y="289"/>
                </a:cxn>
                <a:cxn ang="0">
                  <a:pos x="667" y="247"/>
                </a:cxn>
                <a:cxn ang="0">
                  <a:pos x="601" y="225"/>
                </a:cxn>
                <a:cxn ang="0">
                  <a:pos x="517" y="105"/>
                </a:cxn>
                <a:cxn ang="0">
                  <a:pos x="447" y="131"/>
                </a:cxn>
                <a:cxn ang="0">
                  <a:pos x="355" y="32"/>
                </a:cxn>
                <a:cxn ang="0">
                  <a:pos x="204" y="53"/>
                </a:cxn>
                <a:cxn ang="0">
                  <a:pos x="77" y="0"/>
                </a:cxn>
                <a:cxn ang="0">
                  <a:pos x="0" y="7"/>
                </a:cxn>
              </a:cxnLst>
              <a:rect l="0" t="0" r="r" b="b"/>
              <a:pathLst>
                <a:path w="1007" h="637">
                  <a:moveTo>
                    <a:pt x="0" y="7"/>
                  </a:moveTo>
                  <a:lnTo>
                    <a:pt x="48" y="106"/>
                  </a:lnTo>
                  <a:lnTo>
                    <a:pt x="105" y="152"/>
                  </a:lnTo>
                  <a:lnTo>
                    <a:pt x="100" y="179"/>
                  </a:lnTo>
                  <a:lnTo>
                    <a:pt x="72" y="185"/>
                  </a:lnTo>
                  <a:lnTo>
                    <a:pt x="135" y="207"/>
                  </a:lnTo>
                  <a:lnTo>
                    <a:pt x="169" y="252"/>
                  </a:lnTo>
                  <a:lnTo>
                    <a:pt x="166" y="289"/>
                  </a:lnTo>
                  <a:lnTo>
                    <a:pt x="239" y="351"/>
                  </a:lnTo>
                  <a:lnTo>
                    <a:pt x="256" y="330"/>
                  </a:lnTo>
                  <a:lnTo>
                    <a:pt x="85" y="91"/>
                  </a:lnTo>
                  <a:lnTo>
                    <a:pt x="74" y="26"/>
                  </a:lnTo>
                  <a:lnTo>
                    <a:pt x="111" y="43"/>
                  </a:lnTo>
                  <a:lnTo>
                    <a:pt x="175" y="147"/>
                  </a:lnTo>
                  <a:lnTo>
                    <a:pt x="264" y="226"/>
                  </a:lnTo>
                  <a:lnTo>
                    <a:pt x="261" y="256"/>
                  </a:lnTo>
                  <a:lnTo>
                    <a:pt x="385" y="363"/>
                  </a:lnTo>
                  <a:lnTo>
                    <a:pt x="400" y="409"/>
                  </a:lnTo>
                  <a:lnTo>
                    <a:pt x="385" y="439"/>
                  </a:lnTo>
                  <a:lnTo>
                    <a:pt x="414" y="480"/>
                  </a:lnTo>
                  <a:lnTo>
                    <a:pt x="653" y="592"/>
                  </a:lnTo>
                  <a:lnTo>
                    <a:pt x="757" y="584"/>
                  </a:lnTo>
                  <a:lnTo>
                    <a:pt x="826" y="637"/>
                  </a:lnTo>
                  <a:lnTo>
                    <a:pt x="854" y="585"/>
                  </a:lnTo>
                  <a:lnTo>
                    <a:pt x="888" y="584"/>
                  </a:lnTo>
                  <a:lnTo>
                    <a:pt x="852" y="540"/>
                  </a:lnTo>
                  <a:lnTo>
                    <a:pt x="929" y="522"/>
                  </a:lnTo>
                  <a:lnTo>
                    <a:pt x="957" y="502"/>
                  </a:lnTo>
                  <a:lnTo>
                    <a:pt x="966" y="491"/>
                  </a:lnTo>
                  <a:lnTo>
                    <a:pt x="975" y="516"/>
                  </a:lnTo>
                  <a:lnTo>
                    <a:pt x="1007" y="410"/>
                  </a:lnTo>
                  <a:lnTo>
                    <a:pt x="965" y="394"/>
                  </a:lnTo>
                  <a:lnTo>
                    <a:pt x="889" y="410"/>
                  </a:lnTo>
                  <a:lnTo>
                    <a:pt x="849" y="502"/>
                  </a:lnTo>
                  <a:lnTo>
                    <a:pt x="752" y="512"/>
                  </a:lnTo>
                  <a:lnTo>
                    <a:pt x="712" y="489"/>
                  </a:lnTo>
                  <a:lnTo>
                    <a:pt x="647" y="376"/>
                  </a:lnTo>
                  <a:lnTo>
                    <a:pt x="645" y="289"/>
                  </a:lnTo>
                  <a:lnTo>
                    <a:pt x="667" y="247"/>
                  </a:lnTo>
                  <a:lnTo>
                    <a:pt x="601" y="225"/>
                  </a:lnTo>
                  <a:lnTo>
                    <a:pt x="517" y="105"/>
                  </a:lnTo>
                  <a:lnTo>
                    <a:pt x="447" y="131"/>
                  </a:lnTo>
                  <a:lnTo>
                    <a:pt x="355" y="32"/>
                  </a:lnTo>
                  <a:lnTo>
                    <a:pt x="204" y="53"/>
                  </a:lnTo>
                  <a:lnTo>
                    <a:pt x="77" y="0"/>
                  </a:lnTo>
                  <a:lnTo>
                    <a:pt x="0" y="7"/>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44" name="30489365.125209.8757.757.55">
              <a:extLst>
                <a:ext uri="{FF2B5EF4-FFF2-40B4-BE49-F238E27FC236}">
                  <a16:creationId xmlns:a16="http://schemas.microsoft.com/office/drawing/2014/main" id="{7ACD3BCB-AE71-4019-AC3B-C9DF8D76E7F4}"/>
                </a:ext>
              </a:extLst>
            </p:cNvPr>
            <p:cNvSpPr>
              <a:spLocks noChangeAspect="1"/>
            </p:cNvSpPr>
            <p:nvPr/>
          </p:nvSpPr>
          <p:spPr bwMode="gray">
            <a:xfrm>
              <a:off x="3037420" y="4213263"/>
              <a:ext cx="121727" cy="124467"/>
            </a:xfrm>
            <a:custGeom>
              <a:avLst/>
              <a:gdLst/>
              <a:ahLst/>
              <a:cxnLst>
                <a:cxn ang="0">
                  <a:pos x="0" y="70"/>
                </a:cxn>
                <a:cxn ang="0">
                  <a:pos x="54" y="136"/>
                </a:cxn>
                <a:cxn ang="0">
                  <a:pos x="123" y="139"/>
                </a:cxn>
                <a:cxn ang="0">
                  <a:pos x="134" y="0"/>
                </a:cxn>
                <a:cxn ang="0">
                  <a:pos x="86" y="7"/>
                </a:cxn>
                <a:cxn ang="0">
                  <a:pos x="0" y="70"/>
                </a:cxn>
              </a:cxnLst>
              <a:rect l="0" t="0" r="r" b="b"/>
              <a:pathLst>
                <a:path w="134" h="139">
                  <a:moveTo>
                    <a:pt x="0" y="70"/>
                  </a:moveTo>
                  <a:lnTo>
                    <a:pt x="54" y="136"/>
                  </a:lnTo>
                  <a:lnTo>
                    <a:pt x="123" y="139"/>
                  </a:lnTo>
                  <a:lnTo>
                    <a:pt x="134" y="0"/>
                  </a:lnTo>
                  <a:lnTo>
                    <a:pt x="86" y="7"/>
                  </a:lnTo>
                  <a:lnTo>
                    <a:pt x="0" y="7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45" name="30491375.252184.7510.6255">
              <a:extLst>
                <a:ext uri="{FF2B5EF4-FFF2-40B4-BE49-F238E27FC236}">
                  <a16:creationId xmlns:a16="http://schemas.microsoft.com/office/drawing/2014/main" id="{B288B21B-C2EE-403F-8C35-5A99F284DF52}"/>
                </a:ext>
              </a:extLst>
            </p:cNvPr>
            <p:cNvSpPr>
              <a:spLocks noChangeAspect="1"/>
            </p:cNvSpPr>
            <p:nvPr/>
          </p:nvSpPr>
          <p:spPr bwMode="gray">
            <a:xfrm>
              <a:off x="3168662" y="4376418"/>
              <a:ext cx="169276" cy="77372"/>
            </a:xfrm>
            <a:custGeom>
              <a:avLst/>
              <a:gdLst/>
              <a:ahLst/>
              <a:cxnLst>
                <a:cxn ang="0">
                  <a:pos x="0" y="45"/>
                </a:cxn>
                <a:cxn ang="0">
                  <a:pos x="15" y="0"/>
                </a:cxn>
                <a:cxn ang="0">
                  <a:pos x="55" y="27"/>
                </a:cxn>
                <a:cxn ang="0">
                  <a:pos x="127" y="1"/>
                </a:cxn>
                <a:cxn ang="0">
                  <a:pos x="189" y="33"/>
                </a:cxn>
                <a:cxn ang="0">
                  <a:pos x="172" y="81"/>
                </a:cxn>
                <a:cxn ang="0">
                  <a:pos x="167" y="41"/>
                </a:cxn>
                <a:cxn ang="0">
                  <a:pos x="127" y="26"/>
                </a:cxn>
                <a:cxn ang="0">
                  <a:pos x="88" y="51"/>
                </a:cxn>
                <a:cxn ang="0">
                  <a:pos x="98" y="73"/>
                </a:cxn>
                <a:cxn ang="0">
                  <a:pos x="81" y="84"/>
                </a:cxn>
                <a:cxn ang="0">
                  <a:pos x="0" y="45"/>
                </a:cxn>
              </a:cxnLst>
              <a:rect l="0" t="0" r="r" b="b"/>
              <a:pathLst>
                <a:path w="189" h="84">
                  <a:moveTo>
                    <a:pt x="0" y="45"/>
                  </a:moveTo>
                  <a:lnTo>
                    <a:pt x="15" y="0"/>
                  </a:lnTo>
                  <a:lnTo>
                    <a:pt x="55" y="27"/>
                  </a:lnTo>
                  <a:lnTo>
                    <a:pt x="127" y="1"/>
                  </a:lnTo>
                  <a:lnTo>
                    <a:pt x="189" y="33"/>
                  </a:lnTo>
                  <a:lnTo>
                    <a:pt x="172" y="81"/>
                  </a:lnTo>
                  <a:lnTo>
                    <a:pt x="167" y="41"/>
                  </a:lnTo>
                  <a:lnTo>
                    <a:pt x="127" y="26"/>
                  </a:lnTo>
                  <a:lnTo>
                    <a:pt x="88" y="51"/>
                  </a:lnTo>
                  <a:lnTo>
                    <a:pt x="98" y="73"/>
                  </a:lnTo>
                  <a:lnTo>
                    <a:pt x="81" y="84"/>
                  </a:lnTo>
                  <a:lnTo>
                    <a:pt x="0" y="4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46" name="30495429.75256.3751615.55">
              <a:extLst>
                <a:ext uri="{FF2B5EF4-FFF2-40B4-BE49-F238E27FC236}">
                  <a16:creationId xmlns:a16="http://schemas.microsoft.com/office/drawing/2014/main" id="{D5C95C1F-227A-4178-B966-287D8D8FD911}"/>
                </a:ext>
              </a:extLst>
            </p:cNvPr>
            <p:cNvSpPr>
              <a:spLocks noChangeAspect="1"/>
            </p:cNvSpPr>
            <p:nvPr/>
          </p:nvSpPr>
          <p:spPr bwMode="gray">
            <a:xfrm>
              <a:off x="3781105" y="5259465"/>
              <a:ext cx="251064" cy="259026"/>
            </a:xfrm>
            <a:custGeom>
              <a:avLst/>
              <a:gdLst/>
              <a:ahLst/>
              <a:cxnLst>
                <a:cxn ang="0">
                  <a:pos x="0" y="106"/>
                </a:cxn>
                <a:cxn ang="0">
                  <a:pos x="21" y="16"/>
                </a:cxn>
                <a:cxn ang="0">
                  <a:pos x="118" y="0"/>
                </a:cxn>
                <a:cxn ang="0">
                  <a:pos x="151" y="30"/>
                </a:cxn>
                <a:cxn ang="0">
                  <a:pos x="159" y="97"/>
                </a:cxn>
                <a:cxn ang="0">
                  <a:pos x="228" y="108"/>
                </a:cxn>
                <a:cxn ang="0">
                  <a:pos x="238" y="155"/>
                </a:cxn>
                <a:cxn ang="0">
                  <a:pos x="272" y="164"/>
                </a:cxn>
                <a:cxn ang="0">
                  <a:pos x="267" y="223"/>
                </a:cxn>
                <a:cxn ang="0">
                  <a:pos x="232" y="283"/>
                </a:cxn>
                <a:cxn ang="0">
                  <a:pos x="142" y="279"/>
                </a:cxn>
                <a:cxn ang="0">
                  <a:pos x="161" y="212"/>
                </a:cxn>
                <a:cxn ang="0">
                  <a:pos x="0" y="106"/>
                </a:cxn>
              </a:cxnLst>
              <a:rect l="0" t="0" r="r" b="b"/>
              <a:pathLst>
                <a:path w="272" h="283">
                  <a:moveTo>
                    <a:pt x="0" y="106"/>
                  </a:moveTo>
                  <a:lnTo>
                    <a:pt x="21" y="16"/>
                  </a:lnTo>
                  <a:lnTo>
                    <a:pt x="118" y="0"/>
                  </a:lnTo>
                  <a:lnTo>
                    <a:pt x="151" y="30"/>
                  </a:lnTo>
                  <a:lnTo>
                    <a:pt x="159" y="97"/>
                  </a:lnTo>
                  <a:lnTo>
                    <a:pt x="228" y="108"/>
                  </a:lnTo>
                  <a:lnTo>
                    <a:pt x="238" y="155"/>
                  </a:lnTo>
                  <a:lnTo>
                    <a:pt x="272" y="164"/>
                  </a:lnTo>
                  <a:lnTo>
                    <a:pt x="267" y="223"/>
                  </a:lnTo>
                  <a:lnTo>
                    <a:pt x="232" y="283"/>
                  </a:lnTo>
                  <a:lnTo>
                    <a:pt x="142" y="279"/>
                  </a:lnTo>
                  <a:lnTo>
                    <a:pt x="161" y="212"/>
                  </a:lnTo>
                  <a:lnTo>
                    <a:pt x="0" y="106"/>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47" name="30496393.625221.12534.12523.6255">
              <a:extLst>
                <a:ext uri="{FF2B5EF4-FFF2-40B4-BE49-F238E27FC236}">
                  <a16:creationId xmlns:a16="http://schemas.microsoft.com/office/drawing/2014/main" id="{7CCDCE99-E9F9-4592-A8F2-023C59AAE764}"/>
                </a:ext>
              </a:extLst>
            </p:cNvPr>
            <p:cNvSpPr>
              <a:spLocks noChangeAspect="1"/>
            </p:cNvSpPr>
            <p:nvPr/>
          </p:nvSpPr>
          <p:spPr bwMode="gray">
            <a:xfrm>
              <a:off x="3218112" y="4674132"/>
              <a:ext cx="380401" cy="551694"/>
            </a:xfrm>
            <a:custGeom>
              <a:avLst/>
              <a:gdLst/>
              <a:ahLst/>
              <a:cxnLst>
                <a:cxn ang="0">
                  <a:pos x="0" y="142"/>
                </a:cxn>
                <a:cxn ang="0">
                  <a:pos x="8" y="190"/>
                </a:cxn>
                <a:cxn ang="0">
                  <a:pos x="83" y="274"/>
                </a:cxn>
                <a:cxn ang="0">
                  <a:pos x="167" y="472"/>
                </a:cxn>
                <a:cxn ang="0">
                  <a:pos x="358" y="604"/>
                </a:cxn>
                <a:cxn ang="0">
                  <a:pos x="391" y="580"/>
                </a:cxn>
                <a:cxn ang="0">
                  <a:pos x="409" y="538"/>
                </a:cxn>
                <a:cxn ang="0">
                  <a:pos x="380" y="523"/>
                </a:cxn>
                <a:cxn ang="0">
                  <a:pos x="398" y="512"/>
                </a:cxn>
                <a:cxn ang="0">
                  <a:pos x="419" y="408"/>
                </a:cxn>
                <a:cxn ang="0">
                  <a:pos x="389" y="360"/>
                </a:cxn>
                <a:cxn ang="0">
                  <a:pos x="360" y="360"/>
                </a:cxn>
                <a:cxn ang="0">
                  <a:pos x="360" y="305"/>
                </a:cxn>
                <a:cxn ang="0">
                  <a:pos x="324" y="329"/>
                </a:cxn>
                <a:cxn ang="0">
                  <a:pos x="279" y="308"/>
                </a:cxn>
                <a:cxn ang="0">
                  <a:pos x="250" y="246"/>
                </a:cxn>
                <a:cxn ang="0">
                  <a:pos x="296" y="169"/>
                </a:cxn>
                <a:cxn ang="0">
                  <a:pos x="380" y="135"/>
                </a:cxn>
                <a:cxn ang="0">
                  <a:pos x="357" y="121"/>
                </a:cxn>
                <a:cxn ang="0">
                  <a:pos x="371" y="81"/>
                </a:cxn>
                <a:cxn ang="0">
                  <a:pos x="276" y="74"/>
                </a:cxn>
                <a:cxn ang="0">
                  <a:pos x="203" y="0"/>
                </a:cxn>
                <a:cxn ang="0">
                  <a:pos x="187" y="55"/>
                </a:cxn>
                <a:cxn ang="0">
                  <a:pos x="111" y="100"/>
                </a:cxn>
                <a:cxn ang="0">
                  <a:pos x="72" y="158"/>
                </a:cxn>
                <a:cxn ang="0">
                  <a:pos x="29" y="148"/>
                </a:cxn>
                <a:cxn ang="0">
                  <a:pos x="34" y="114"/>
                </a:cxn>
                <a:cxn ang="0">
                  <a:pos x="0" y="142"/>
                </a:cxn>
              </a:cxnLst>
              <a:rect l="0" t="0" r="r" b="b"/>
              <a:pathLst>
                <a:path w="419" h="604">
                  <a:moveTo>
                    <a:pt x="0" y="142"/>
                  </a:moveTo>
                  <a:lnTo>
                    <a:pt x="8" y="190"/>
                  </a:lnTo>
                  <a:lnTo>
                    <a:pt x="83" y="274"/>
                  </a:lnTo>
                  <a:lnTo>
                    <a:pt x="167" y="472"/>
                  </a:lnTo>
                  <a:lnTo>
                    <a:pt x="358" y="604"/>
                  </a:lnTo>
                  <a:lnTo>
                    <a:pt x="391" y="580"/>
                  </a:lnTo>
                  <a:lnTo>
                    <a:pt x="409" y="538"/>
                  </a:lnTo>
                  <a:lnTo>
                    <a:pt x="380" y="523"/>
                  </a:lnTo>
                  <a:lnTo>
                    <a:pt x="398" y="512"/>
                  </a:lnTo>
                  <a:lnTo>
                    <a:pt x="419" y="408"/>
                  </a:lnTo>
                  <a:lnTo>
                    <a:pt x="389" y="360"/>
                  </a:lnTo>
                  <a:lnTo>
                    <a:pt x="360" y="360"/>
                  </a:lnTo>
                  <a:lnTo>
                    <a:pt x="360" y="305"/>
                  </a:lnTo>
                  <a:lnTo>
                    <a:pt x="324" y="329"/>
                  </a:lnTo>
                  <a:lnTo>
                    <a:pt x="279" y="308"/>
                  </a:lnTo>
                  <a:lnTo>
                    <a:pt x="250" y="246"/>
                  </a:lnTo>
                  <a:lnTo>
                    <a:pt x="296" y="169"/>
                  </a:lnTo>
                  <a:lnTo>
                    <a:pt x="380" y="135"/>
                  </a:lnTo>
                  <a:lnTo>
                    <a:pt x="357" y="121"/>
                  </a:lnTo>
                  <a:lnTo>
                    <a:pt x="371" y="81"/>
                  </a:lnTo>
                  <a:lnTo>
                    <a:pt x="276" y="74"/>
                  </a:lnTo>
                  <a:lnTo>
                    <a:pt x="203" y="0"/>
                  </a:lnTo>
                  <a:lnTo>
                    <a:pt x="187" y="55"/>
                  </a:lnTo>
                  <a:lnTo>
                    <a:pt x="111" y="100"/>
                  </a:lnTo>
                  <a:lnTo>
                    <a:pt x="72" y="158"/>
                  </a:lnTo>
                  <a:lnTo>
                    <a:pt x="29" y="148"/>
                  </a:lnTo>
                  <a:lnTo>
                    <a:pt x="34" y="114"/>
                  </a:lnTo>
                  <a:lnTo>
                    <a:pt x="0" y="142"/>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48" name="30514382.52657.257.755">
              <a:extLst>
                <a:ext uri="{FF2B5EF4-FFF2-40B4-BE49-F238E27FC236}">
                  <a16:creationId xmlns:a16="http://schemas.microsoft.com/office/drawing/2014/main" id="{0D615B68-F4C8-4844-A135-BF55A2BCDE91}"/>
                </a:ext>
              </a:extLst>
            </p:cNvPr>
            <p:cNvSpPr>
              <a:spLocks noChangeAspect="1"/>
            </p:cNvSpPr>
            <p:nvPr/>
          </p:nvSpPr>
          <p:spPr bwMode="gray">
            <a:xfrm>
              <a:off x="3921854" y="4492475"/>
              <a:ext cx="121727" cy="119422"/>
            </a:xfrm>
            <a:custGeom>
              <a:avLst/>
              <a:gdLst/>
              <a:ahLst/>
              <a:cxnLst>
                <a:cxn ang="0">
                  <a:pos x="0" y="60"/>
                </a:cxn>
                <a:cxn ang="0">
                  <a:pos x="37" y="0"/>
                </a:cxn>
                <a:cxn ang="0">
                  <a:pos x="138" y="11"/>
                </a:cxn>
                <a:cxn ang="0">
                  <a:pos x="124" y="121"/>
                </a:cxn>
                <a:cxn ang="0">
                  <a:pos x="54" y="130"/>
                </a:cxn>
                <a:cxn ang="0">
                  <a:pos x="0" y="60"/>
                </a:cxn>
              </a:cxnLst>
              <a:rect l="0" t="0" r="r" b="b"/>
              <a:pathLst>
                <a:path w="138" h="130">
                  <a:moveTo>
                    <a:pt x="0" y="60"/>
                  </a:moveTo>
                  <a:lnTo>
                    <a:pt x="37" y="0"/>
                  </a:lnTo>
                  <a:lnTo>
                    <a:pt x="138" y="11"/>
                  </a:lnTo>
                  <a:lnTo>
                    <a:pt x="124" y="121"/>
                  </a:lnTo>
                  <a:lnTo>
                    <a:pt x="54" y="130"/>
                  </a:lnTo>
                  <a:lnTo>
                    <a:pt x="0" y="6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49" name="30521373.25257.6251.3751.755">
              <a:extLst>
                <a:ext uri="{FF2B5EF4-FFF2-40B4-BE49-F238E27FC236}">
                  <a16:creationId xmlns:a16="http://schemas.microsoft.com/office/drawing/2014/main" id="{54CB539D-4EFD-4E73-ACB5-8A02B498337D}"/>
                </a:ext>
              </a:extLst>
            </p:cNvPr>
            <p:cNvSpPr>
              <a:spLocks noChangeAspect="1"/>
            </p:cNvSpPr>
            <p:nvPr/>
          </p:nvSpPr>
          <p:spPr bwMode="gray">
            <a:xfrm>
              <a:off x="3803932" y="4344460"/>
              <a:ext cx="28528" cy="20183"/>
            </a:xfrm>
            <a:custGeom>
              <a:avLst/>
              <a:gdLst/>
              <a:ahLst/>
              <a:cxnLst>
                <a:cxn ang="0">
                  <a:pos x="0" y="23"/>
                </a:cxn>
                <a:cxn ang="0">
                  <a:pos x="31" y="19"/>
                </a:cxn>
                <a:cxn ang="0">
                  <a:pos x="33" y="0"/>
                </a:cxn>
                <a:cxn ang="0">
                  <a:pos x="0" y="23"/>
                </a:cxn>
              </a:cxnLst>
              <a:rect l="0" t="0" r="r" b="b"/>
              <a:pathLst>
                <a:path w="33" h="23">
                  <a:moveTo>
                    <a:pt x="0" y="23"/>
                  </a:moveTo>
                  <a:lnTo>
                    <a:pt x="31" y="19"/>
                  </a:lnTo>
                  <a:lnTo>
                    <a:pt x="33" y="0"/>
                  </a:lnTo>
                  <a:lnTo>
                    <a:pt x="0" y="23"/>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50" name="3053123057.8754956.255">
              <a:extLst>
                <a:ext uri="{FF2B5EF4-FFF2-40B4-BE49-F238E27FC236}">
                  <a16:creationId xmlns:a16="http://schemas.microsoft.com/office/drawing/2014/main" id="{ACE3F08F-EB4E-4972-B4CD-1BAD80A5BDB8}"/>
                </a:ext>
              </a:extLst>
            </p:cNvPr>
            <p:cNvSpPr>
              <a:spLocks noChangeAspect="1"/>
            </p:cNvSpPr>
            <p:nvPr/>
          </p:nvSpPr>
          <p:spPr bwMode="gray">
            <a:xfrm>
              <a:off x="600951" y="2024992"/>
              <a:ext cx="901550" cy="793902"/>
            </a:xfrm>
            <a:custGeom>
              <a:avLst/>
              <a:gdLst/>
              <a:ahLst/>
              <a:cxnLst>
                <a:cxn ang="0">
                  <a:pos x="64" y="348"/>
                </a:cxn>
                <a:cxn ang="0">
                  <a:pos x="66" y="386"/>
                </a:cxn>
                <a:cxn ang="0">
                  <a:pos x="180" y="404"/>
                </a:cxn>
                <a:cxn ang="0">
                  <a:pos x="222" y="389"/>
                </a:cxn>
                <a:cxn ang="0">
                  <a:pos x="98" y="492"/>
                </a:cxn>
                <a:cxn ang="0">
                  <a:pos x="94" y="541"/>
                </a:cxn>
                <a:cxn ang="0">
                  <a:pos x="94" y="574"/>
                </a:cxn>
                <a:cxn ang="0">
                  <a:pos x="116" y="609"/>
                </a:cxn>
                <a:cxn ang="0">
                  <a:pos x="165" y="641"/>
                </a:cxn>
                <a:cxn ang="0">
                  <a:pos x="186" y="609"/>
                </a:cxn>
                <a:cxn ang="0">
                  <a:pos x="200" y="690"/>
                </a:cxn>
                <a:cxn ang="0">
                  <a:pos x="303" y="699"/>
                </a:cxn>
                <a:cxn ang="0">
                  <a:pos x="330" y="690"/>
                </a:cxn>
                <a:cxn ang="0">
                  <a:pos x="312" y="777"/>
                </a:cxn>
                <a:cxn ang="0">
                  <a:pos x="262" y="822"/>
                </a:cxn>
                <a:cxn ang="0">
                  <a:pos x="156" y="868"/>
                </a:cxn>
                <a:cxn ang="0">
                  <a:pos x="278" y="836"/>
                </a:cxn>
                <a:cxn ang="0">
                  <a:pos x="297" y="788"/>
                </a:cxn>
                <a:cxn ang="0">
                  <a:pos x="464" y="710"/>
                </a:cxn>
                <a:cxn ang="0">
                  <a:pos x="465" y="656"/>
                </a:cxn>
                <a:cxn ang="0">
                  <a:pos x="591" y="507"/>
                </a:cxn>
                <a:cxn ang="0">
                  <a:pos x="623" y="547"/>
                </a:cxn>
                <a:cxn ang="0">
                  <a:pos x="634" y="579"/>
                </a:cxn>
                <a:cxn ang="0">
                  <a:pos x="539" y="633"/>
                </a:cxn>
                <a:cxn ang="0">
                  <a:pos x="542" y="664"/>
                </a:cxn>
                <a:cxn ang="0">
                  <a:pos x="663" y="596"/>
                </a:cxn>
                <a:cxn ang="0">
                  <a:pos x="671" y="558"/>
                </a:cxn>
                <a:cxn ang="0">
                  <a:pos x="721" y="567"/>
                </a:cxn>
                <a:cxn ang="0">
                  <a:pos x="797" y="622"/>
                </a:cxn>
                <a:cxn ang="0">
                  <a:pos x="947" y="619"/>
                </a:cxn>
                <a:cxn ang="0">
                  <a:pos x="942" y="648"/>
                </a:cxn>
                <a:cxn ang="0">
                  <a:pos x="997" y="652"/>
                </a:cxn>
                <a:cxn ang="0">
                  <a:pos x="902" y="609"/>
                </a:cxn>
                <a:cxn ang="0">
                  <a:pos x="545" y="58"/>
                </a:cxn>
                <a:cxn ang="0">
                  <a:pos x="432" y="16"/>
                </a:cxn>
                <a:cxn ang="0">
                  <a:pos x="392" y="32"/>
                </a:cxn>
                <a:cxn ang="0">
                  <a:pos x="378" y="0"/>
                </a:cxn>
                <a:cxn ang="0">
                  <a:pos x="274" y="37"/>
                </a:cxn>
                <a:cxn ang="0">
                  <a:pos x="264" y="49"/>
                </a:cxn>
                <a:cxn ang="0">
                  <a:pos x="213" y="89"/>
                </a:cxn>
                <a:cxn ang="0">
                  <a:pos x="149" y="131"/>
                </a:cxn>
                <a:cxn ang="0">
                  <a:pos x="66" y="172"/>
                </a:cxn>
                <a:cxn ang="0">
                  <a:pos x="146" y="249"/>
                </a:cxn>
                <a:cxn ang="0">
                  <a:pos x="200" y="274"/>
                </a:cxn>
                <a:cxn ang="0">
                  <a:pos x="238" y="296"/>
                </a:cxn>
                <a:cxn ang="0">
                  <a:pos x="146" y="307"/>
                </a:cxn>
                <a:cxn ang="0">
                  <a:pos x="113" y="279"/>
                </a:cxn>
              </a:cxnLst>
              <a:rect l="0" t="0" r="r" b="b"/>
              <a:pathLst>
                <a:path w="997" h="868">
                  <a:moveTo>
                    <a:pt x="0" y="331"/>
                  </a:moveTo>
                  <a:lnTo>
                    <a:pt x="64" y="348"/>
                  </a:lnTo>
                  <a:lnTo>
                    <a:pt x="39" y="355"/>
                  </a:lnTo>
                  <a:lnTo>
                    <a:pt x="66" y="386"/>
                  </a:lnTo>
                  <a:lnTo>
                    <a:pt x="165" y="384"/>
                  </a:lnTo>
                  <a:lnTo>
                    <a:pt x="180" y="404"/>
                  </a:lnTo>
                  <a:lnTo>
                    <a:pt x="244" y="378"/>
                  </a:lnTo>
                  <a:lnTo>
                    <a:pt x="222" y="389"/>
                  </a:lnTo>
                  <a:lnTo>
                    <a:pt x="234" y="443"/>
                  </a:lnTo>
                  <a:lnTo>
                    <a:pt x="98" y="492"/>
                  </a:lnTo>
                  <a:lnTo>
                    <a:pt x="61" y="549"/>
                  </a:lnTo>
                  <a:lnTo>
                    <a:pt x="94" y="541"/>
                  </a:lnTo>
                  <a:lnTo>
                    <a:pt x="69" y="554"/>
                  </a:lnTo>
                  <a:lnTo>
                    <a:pt x="94" y="574"/>
                  </a:lnTo>
                  <a:lnTo>
                    <a:pt x="145" y="580"/>
                  </a:lnTo>
                  <a:lnTo>
                    <a:pt x="116" y="609"/>
                  </a:lnTo>
                  <a:lnTo>
                    <a:pt x="139" y="638"/>
                  </a:lnTo>
                  <a:lnTo>
                    <a:pt x="165" y="641"/>
                  </a:lnTo>
                  <a:lnTo>
                    <a:pt x="219" y="580"/>
                  </a:lnTo>
                  <a:lnTo>
                    <a:pt x="186" y="609"/>
                  </a:lnTo>
                  <a:lnTo>
                    <a:pt x="213" y="667"/>
                  </a:lnTo>
                  <a:lnTo>
                    <a:pt x="200" y="690"/>
                  </a:lnTo>
                  <a:lnTo>
                    <a:pt x="262" y="657"/>
                  </a:lnTo>
                  <a:lnTo>
                    <a:pt x="303" y="699"/>
                  </a:lnTo>
                  <a:lnTo>
                    <a:pt x="316" y="674"/>
                  </a:lnTo>
                  <a:lnTo>
                    <a:pt x="330" y="690"/>
                  </a:lnTo>
                  <a:lnTo>
                    <a:pt x="377" y="668"/>
                  </a:lnTo>
                  <a:lnTo>
                    <a:pt x="312" y="777"/>
                  </a:lnTo>
                  <a:lnTo>
                    <a:pt x="263" y="799"/>
                  </a:lnTo>
                  <a:lnTo>
                    <a:pt x="262" y="822"/>
                  </a:lnTo>
                  <a:lnTo>
                    <a:pt x="200" y="824"/>
                  </a:lnTo>
                  <a:lnTo>
                    <a:pt x="156" y="868"/>
                  </a:lnTo>
                  <a:lnTo>
                    <a:pt x="213" y="835"/>
                  </a:lnTo>
                  <a:lnTo>
                    <a:pt x="278" y="836"/>
                  </a:lnTo>
                  <a:lnTo>
                    <a:pt x="314" y="810"/>
                  </a:lnTo>
                  <a:lnTo>
                    <a:pt x="297" y="788"/>
                  </a:lnTo>
                  <a:lnTo>
                    <a:pt x="337" y="792"/>
                  </a:lnTo>
                  <a:lnTo>
                    <a:pt x="464" y="710"/>
                  </a:lnTo>
                  <a:lnTo>
                    <a:pt x="488" y="679"/>
                  </a:lnTo>
                  <a:lnTo>
                    <a:pt x="465" y="656"/>
                  </a:lnTo>
                  <a:lnTo>
                    <a:pt x="575" y="557"/>
                  </a:lnTo>
                  <a:lnTo>
                    <a:pt x="591" y="507"/>
                  </a:lnTo>
                  <a:lnTo>
                    <a:pt x="579" y="557"/>
                  </a:lnTo>
                  <a:lnTo>
                    <a:pt x="623" y="547"/>
                  </a:lnTo>
                  <a:lnTo>
                    <a:pt x="600" y="568"/>
                  </a:lnTo>
                  <a:lnTo>
                    <a:pt x="634" y="579"/>
                  </a:lnTo>
                  <a:lnTo>
                    <a:pt x="554" y="586"/>
                  </a:lnTo>
                  <a:lnTo>
                    <a:pt x="539" y="633"/>
                  </a:lnTo>
                  <a:lnTo>
                    <a:pt x="568" y="631"/>
                  </a:lnTo>
                  <a:lnTo>
                    <a:pt x="542" y="664"/>
                  </a:lnTo>
                  <a:lnTo>
                    <a:pt x="648" y="622"/>
                  </a:lnTo>
                  <a:lnTo>
                    <a:pt x="663" y="596"/>
                  </a:lnTo>
                  <a:lnTo>
                    <a:pt x="646" y="583"/>
                  </a:lnTo>
                  <a:lnTo>
                    <a:pt x="671" y="558"/>
                  </a:lnTo>
                  <a:lnTo>
                    <a:pt x="667" y="579"/>
                  </a:lnTo>
                  <a:lnTo>
                    <a:pt x="721" y="567"/>
                  </a:lnTo>
                  <a:lnTo>
                    <a:pt x="710" y="587"/>
                  </a:lnTo>
                  <a:lnTo>
                    <a:pt x="797" y="622"/>
                  </a:lnTo>
                  <a:lnTo>
                    <a:pt x="925" y="638"/>
                  </a:lnTo>
                  <a:lnTo>
                    <a:pt x="947" y="619"/>
                  </a:lnTo>
                  <a:lnTo>
                    <a:pt x="965" y="629"/>
                  </a:lnTo>
                  <a:lnTo>
                    <a:pt x="942" y="648"/>
                  </a:lnTo>
                  <a:lnTo>
                    <a:pt x="979" y="667"/>
                  </a:lnTo>
                  <a:lnTo>
                    <a:pt x="997" y="652"/>
                  </a:lnTo>
                  <a:lnTo>
                    <a:pt x="964" y="609"/>
                  </a:lnTo>
                  <a:lnTo>
                    <a:pt x="902" y="609"/>
                  </a:lnTo>
                  <a:lnTo>
                    <a:pt x="902" y="99"/>
                  </a:lnTo>
                  <a:lnTo>
                    <a:pt x="545" y="58"/>
                  </a:lnTo>
                  <a:lnTo>
                    <a:pt x="531" y="33"/>
                  </a:lnTo>
                  <a:lnTo>
                    <a:pt x="432" y="16"/>
                  </a:lnTo>
                  <a:lnTo>
                    <a:pt x="421" y="37"/>
                  </a:lnTo>
                  <a:lnTo>
                    <a:pt x="392" y="32"/>
                  </a:lnTo>
                  <a:lnTo>
                    <a:pt x="420" y="14"/>
                  </a:lnTo>
                  <a:lnTo>
                    <a:pt x="378" y="0"/>
                  </a:lnTo>
                  <a:lnTo>
                    <a:pt x="338" y="33"/>
                  </a:lnTo>
                  <a:lnTo>
                    <a:pt x="274" y="37"/>
                  </a:lnTo>
                  <a:lnTo>
                    <a:pt x="271" y="67"/>
                  </a:lnTo>
                  <a:lnTo>
                    <a:pt x="264" y="49"/>
                  </a:lnTo>
                  <a:lnTo>
                    <a:pt x="204" y="66"/>
                  </a:lnTo>
                  <a:lnTo>
                    <a:pt x="213" y="89"/>
                  </a:lnTo>
                  <a:lnTo>
                    <a:pt x="186" y="82"/>
                  </a:lnTo>
                  <a:lnTo>
                    <a:pt x="149" y="131"/>
                  </a:lnTo>
                  <a:lnTo>
                    <a:pt x="61" y="150"/>
                  </a:lnTo>
                  <a:lnTo>
                    <a:pt x="66" y="172"/>
                  </a:lnTo>
                  <a:lnTo>
                    <a:pt x="40" y="177"/>
                  </a:lnTo>
                  <a:lnTo>
                    <a:pt x="146" y="249"/>
                  </a:lnTo>
                  <a:lnTo>
                    <a:pt x="286" y="283"/>
                  </a:lnTo>
                  <a:lnTo>
                    <a:pt x="200" y="274"/>
                  </a:lnTo>
                  <a:lnTo>
                    <a:pt x="204" y="294"/>
                  </a:lnTo>
                  <a:lnTo>
                    <a:pt x="238" y="296"/>
                  </a:lnTo>
                  <a:lnTo>
                    <a:pt x="209" y="311"/>
                  </a:lnTo>
                  <a:lnTo>
                    <a:pt x="146" y="307"/>
                  </a:lnTo>
                  <a:lnTo>
                    <a:pt x="146" y="276"/>
                  </a:lnTo>
                  <a:lnTo>
                    <a:pt x="113" y="279"/>
                  </a:lnTo>
                  <a:lnTo>
                    <a:pt x="0" y="331"/>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51" name="30532271.2582.752.754.8755">
              <a:extLst>
                <a:ext uri="{FF2B5EF4-FFF2-40B4-BE49-F238E27FC236}">
                  <a16:creationId xmlns:a16="http://schemas.microsoft.com/office/drawing/2014/main" id="{3E4E74B3-3CE5-44B9-806F-750C701EF0B7}"/>
                </a:ext>
              </a:extLst>
            </p:cNvPr>
            <p:cNvSpPr>
              <a:spLocks noChangeAspect="1"/>
            </p:cNvSpPr>
            <p:nvPr/>
          </p:nvSpPr>
          <p:spPr bwMode="gray">
            <a:xfrm>
              <a:off x="1000373" y="2691062"/>
              <a:ext cx="77982" cy="43734"/>
            </a:xfrm>
            <a:custGeom>
              <a:avLst/>
              <a:gdLst/>
              <a:ahLst/>
              <a:cxnLst>
                <a:cxn ang="0">
                  <a:pos x="0" y="21"/>
                </a:cxn>
                <a:cxn ang="0">
                  <a:pos x="25" y="51"/>
                </a:cxn>
                <a:cxn ang="0">
                  <a:pos x="88" y="8"/>
                </a:cxn>
                <a:cxn ang="0">
                  <a:pos x="29" y="0"/>
                </a:cxn>
                <a:cxn ang="0">
                  <a:pos x="36" y="19"/>
                </a:cxn>
                <a:cxn ang="0">
                  <a:pos x="0" y="21"/>
                </a:cxn>
              </a:cxnLst>
              <a:rect l="0" t="0" r="r" b="b"/>
              <a:pathLst>
                <a:path w="88" h="51">
                  <a:moveTo>
                    <a:pt x="0" y="21"/>
                  </a:moveTo>
                  <a:lnTo>
                    <a:pt x="25" y="51"/>
                  </a:lnTo>
                  <a:lnTo>
                    <a:pt x="88" y="8"/>
                  </a:lnTo>
                  <a:lnTo>
                    <a:pt x="29" y="0"/>
                  </a:lnTo>
                  <a:lnTo>
                    <a:pt x="36" y="19"/>
                  </a:lnTo>
                  <a:lnTo>
                    <a:pt x="0" y="21"/>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52" name="30533265.75114.2513.5155">
              <a:extLst>
                <a:ext uri="{FF2B5EF4-FFF2-40B4-BE49-F238E27FC236}">
                  <a16:creationId xmlns:a16="http://schemas.microsoft.com/office/drawing/2014/main" id="{686BD952-4320-46E0-8C1F-3F9D17DFC843}"/>
                </a:ext>
              </a:extLst>
            </p:cNvPr>
            <p:cNvSpPr>
              <a:spLocks noChangeAspect="1"/>
            </p:cNvSpPr>
            <p:nvPr/>
          </p:nvSpPr>
          <p:spPr bwMode="gray">
            <a:xfrm>
              <a:off x="1506306" y="2601915"/>
              <a:ext cx="239653" cy="220341"/>
            </a:xfrm>
            <a:custGeom>
              <a:avLst/>
              <a:gdLst/>
              <a:ahLst/>
              <a:cxnLst>
                <a:cxn ang="0">
                  <a:pos x="0" y="23"/>
                </a:cxn>
                <a:cxn ang="0">
                  <a:pos x="11" y="59"/>
                </a:cxn>
                <a:cxn ang="0">
                  <a:pos x="48" y="73"/>
                </a:cxn>
                <a:cxn ang="0">
                  <a:pos x="64" y="62"/>
                </a:cxn>
                <a:cxn ang="0">
                  <a:pos x="33" y="44"/>
                </a:cxn>
                <a:cxn ang="0">
                  <a:pos x="64" y="44"/>
                </a:cxn>
                <a:cxn ang="0">
                  <a:pos x="92" y="74"/>
                </a:cxn>
                <a:cxn ang="0">
                  <a:pos x="84" y="20"/>
                </a:cxn>
                <a:cxn ang="0">
                  <a:pos x="106" y="67"/>
                </a:cxn>
                <a:cxn ang="0">
                  <a:pos x="162" y="95"/>
                </a:cxn>
                <a:cxn ang="0">
                  <a:pos x="151" y="128"/>
                </a:cxn>
                <a:cxn ang="0">
                  <a:pos x="216" y="169"/>
                </a:cxn>
                <a:cxn ang="0">
                  <a:pos x="198" y="203"/>
                </a:cxn>
                <a:cxn ang="0">
                  <a:pos x="232" y="176"/>
                </a:cxn>
                <a:cxn ang="0">
                  <a:pos x="239" y="239"/>
                </a:cxn>
                <a:cxn ang="0">
                  <a:pos x="264" y="228"/>
                </a:cxn>
                <a:cxn ang="0">
                  <a:pos x="266" y="180"/>
                </a:cxn>
                <a:cxn ang="0">
                  <a:pos x="203" y="154"/>
                </a:cxn>
                <a:cxn ang="0">
                  <a:pos x="85" y="0"/>
                </a:cxn>
                <a:cxn ang="0">
                  <a:pos x="18" y="44"/>
                </a:cxn>
                <a:cxn ang="0">
                  <a:pos x="0" y="23"/>
                </a:cxn>
              </a:cxnLst>
              <a:rect l="0" t="0" r="r" b="b"/>
              <a:pathLst>
                <a:path w="266" h="239">
                  <a:moveTo>
                    <a:pt x="0" y="23"/>
                  </a:moveTo>
                  <a:lnTo>
                    <a:pt x="11" y="59"/>
                  </a:lnTo>
                  <a:lnTo>
                    <a:pt x="48" y="73"/>
                  </a:lnTo>
                  <a:lnTo>
                    <a:pt x="64" y="62"/>
                  </a:lnTo>
                  <a:lnTo>
                    <a:pt x="33" y="44"/>
                  </a:lnTo>
                  <a:lnTo>
                    <a:pt x="64" y="44"/>
                  </a:lnTo>
                  <a:lnTo>
                    <a:pt x="92" y="74"/>
                  </a:lnTo>
                  <a:lnTo>
                    <a:pt x="84" y="20"/>
                  </a:lnTo>
                  <a:lnTo>
                    <a:pt x="106" y="67"/>
                  </a:lnTo>
                  <a:lnTo>
                    <a:pt x="162" y="95"/>
                  </a:lnTo>
                  <a:lnTo>
                    <a:pt x="151" y="128"/>
                  </a:lnTo>
                  <a:lnTo>
                    <a:pt x="216" y="169"/>
                  </a:lnTo>
                  <a:lnTo>
                    <a:pt x="198" y="203"/>
                  </a:lnTo>
                  <a:lnTo>
                    <a:pt x="232" y="176"/>
                  </a:lnTo>
                  <a:lnTo>
                    <a:pt x="239" y="239"/>
                  </a:lnTo>
                  <a:lnTo>
                    <a:pt x="264" y="228"/>
                  </a:lnTo>
                  <a:lnTo>
                    <a:pt x="266" y="180"/>
                  </a:lnTo>
                  <a:lnTo>
                    <a:pt x="203" y="154"/>
                  </a:lnTo>
                  <a:lnTo>
                    <a:pt x="85" y="0"/>
                  </a:lnTo>
                  <a:lnTo>
                    <a:pt x="18" y="44"/>
                  </a:lnTo>
                  <a:lnTo>
                    <a:pt x="0" y="23"/>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53" name="30534270.125117.6252.252.3755">
              <a:extLst>
                <a:ext uri="{FF2B5EF4-FFF2-40B4-BE49-F238E27FC236}">
                  <a16:creationId xmlns:a16="http://schemas.microsoft.com/office/drawing/2014/main" id="{1A695E4D-BACB-4FAF-ADFB-463087A63761}"/>
                </a:ext>
              </a:extLst>
            </p:cNvPr>
            <p:cNvSpPr>
              <a:spLocks noChangeAspect="1"/>
            </p:cNvSpPr>
            <p:nvPr/>
          </p:nvSpPr>
          <p:spPr bwMode="gray">
            <a:xfrm>
              <a:off x="1559561" y="2672557"/>
              <a:ext cx="38039" cy="37004"/>
            </a:xfrm>
            <a:custGeom>
              <a:avLst/>
              <a:gdLst/>
              <a:ahLst/>
              <a:cxnLst>
                <a:cxn ang="0">
                  <a:pos x="0" y="0"/>
                </a:cxn>
                <a:cxn ang="0">
                  <a:pos x="13" y="38"/>
                </a:cxn>
                <a:cxn ang="0">
                  <a:pos x="16" y="19"/>
                </a:cxn>
                <a:cxn ang="0">
                  <a:pos x="45" y="35"/>
                </a:cxn>
                <a:cxn ang="0">
                  <a:pos x="19" y="19"/>
                </a:cxn>
                <a:cxn ang="0">
                  <a:pos x="44" y="7"/>
                </a:cxn>
                <a:cxn ang="0">
                  <a:pos x="0" y="0"/>
                </a:cxn>
              </a:cxnLst>
              <a:rect l="0" t="0" r="r" b="b"/>
              <a:pathLst>
                <a:path w="45" h="38">
                  <a:moveTo>
                    <a:pt x="0" y="0"/>
                  </a:moveTo>
                  <a:lnTo>
                    <a:pt x="13" y="38"/>
                  </a:lnTo>
                  <a:lnTo>
                    <a:pt x="16" y="19"/>
                  </a:lnTo>
                  <a:lnTo>
                    <a:pt x="45" y="35"/>
                  </a:lnTo>
                  <a:lnTo>
                    <a:pt x="19" y="19"/>
                  </a:lnTo>
                  <a:lnTo>
                    <a:pt x="44" y="7"/>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54" name="30535272118.753.251.55">
              <a:extLst>
                <a:ext uri="{FF2B5EF4-FFF2-40B4-BE49-F238E27FC236}">
                  <a16:creationId xmlns:a16="http://schemas.microsoft.com/office/drawing/2014/main" id="{0B23FEC3-2B0B-4499-8599-157A7688E10D}"/>
                </a:ext>
              </a:extLst>
            </p:cNvPr>
            <p:cNvSpPr>
              <a:spLocks noChangeAspect="1"/>
            </p:cNvSpPr>
            <p:nvPr/>
          </p:nvSpPr>
          <p:spPr bwMode="gray">
            <a:xfrm>
              <a:off x="1576678" y="2702834"/>
              <a:ext cx="24727" cy="53825"/>
            </a:xfrm>
            <a:custGeom>
              <a:avLst/>
              <a:gdLst/>
              <a:ahLst/>
              <a:cxnLst>
                <a:cxn ang="0">
                  <a:pos x="0" y="0"/>
                </a:cxn>
                <a:cxn ang="0">
                  <a:pos x="24" y="11"/>
                </a:cxn>
                <a:cxn ang="0">
                  <a:pos x="26" y="59"/>
                </a:cxn>
                <a:cxn ang="0">
                  <a:pos x="0" y="0"/>
                </a:cxn>
              </a:cxnLst>
              <a:rect l="0" t="0" r="r" b="b"/>
              <a:pathLst>
                <a:path w="26" h="59">
                  <a:moveTo>
                    <a:pt x="0" y="0"/>
                  </a:moveTo>
                  <a:lnTo>
                    <a:pt x="24" y="11"/>
                  </a:lnTo>
                  <a:lnTo>
                    <a:pt x="26" y="59"/>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55" name="30536270.25120.3752.1251.8755">
              <a:extLst>
                <a:ext uri="{FF2B5EF4-FFF2-40B4-BE49-F238E27FC236}">
                  <a16:creationId xmlns:a16="http://schemas.microsoft.com/office/drawing/2014/main" id="{8082442E-9ADF-44B1-9764-A1C18106BDBA}"/>
                </a:ext>
              </a:extLst>
            </p:cNvPr>
            <p:cNvSpPr>
              <a:spLocks noChangeAspect="1"/>
            </p:cNvSpPr>
            <p:nvPr/>
          </p:nvSpPr>
          <p:spPr bwMode="gray">
            <a:xfrm>
              <a:off x="1603310" y="2675922"/>
              <a:ext cx="28532" cy="33639"/>
            </a:xfrm>
            <a:custGeom>
              <a:avLst/>
              <a:gdLst/>
              <a:ahLst/>
              <a:cxnLst>
                <a:cxn ang="0">
                  <a:pos x="0" y="0"/>
                </a:cxn>
                <a:cxn ang="0">
                  <a:pos x="7" y="36"/>
                </a:cxn>
                <a:cxn ang="0">
                  <a:pos x="28" y="36"/>
                </a:cxn>
                <a:cxn ang="0">
                  <a:pos x="18" y="4"/>
                </a:cxn>
                <a:cxn ang="0">
                  <a:pos x="33" y="26"/>
                </a:cxn>
                <a:cxn ang="0">
                  <a:pos x="20" y="0"/>
                </a:cxn>
                <a:cxn ang="0">
                  <a:pos x="0" y="0"/>
                </a:cxn>
              </a:cxnLst>
              <a:rect l="0" t="0" r="r" b="b"/>
              <a:pathLst>
                <a:path w="33" h="36">
                  <a:moveTo>
                    <a:pt x="0" y="0"/>
                  </a:moveTo>
                  <a:lnTo>
                    <a:pt x="7" y="36"/>
                  </a:lnTo>
                  <a:lnTo>
                    <a:pt x="28" y="36"/>
                  </a:lnTo>
                  <a:lnTo>
                    <a:pt x="18" y="4"/>
                  </a:lnTo>
                  <a:lnTo>
                    <a:pt x="33" y="26"/>
                  </a:lnTo>
                  <a:lnTo>
                    <a:pt x="20" y="0"/>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56" name="30537273.3751221.3751.55">
              <a:extLst>
                <a:ext uri="{FF2B5EF4-FFF2-40B4-BE49-F238E27FC236}">
                  <a16:creationId xmlns:a16="http://schemas.microsoft.com/office/drawing/2014/main" id="{96D25649-EBBD-46EB-AB3B-FD376486C528}"/>
                </a:ext>
              </a:extLst>
            </p:cNvPr>
            <p:cNvSpPr>
              <a:spLocks noChangeAspect="1"/>
            </p:cNvSpPr>
            <p:nvPr/>
          </p:nvSpPr>
          <p:spPr bwMode="gray">
            <a:xfrm>
              <a:off x="1629938" y="2726382"/>
              <a:ext cx="20922" cy="21867"/>
            </a:xfrm>
            <a:custGeom>
              <a:avLst/>
              <a:gdLst/>
              <a:ahLst/>
              <a:cxnLst>
                <a:cxn ang="0">
                  <a:pos x="0" y="0"/>
                </a:cxn>
                <a:cxn ang="0">
                  <a:pos x="27" y="26"/>
                </a:cxn>
                <a:cxn ang="0">
                  <a:pos x="29" y="3"/>
                </a:cxn>
                <a:cxn ang="0">
                  <a:pos x="0" y="0"/>
                </a:cxn>
              </a:cxnLst>
              <a:rect l="0" t="0" r="r" b="b"/>
              <a:pathLst>
                <a:path w="29" h="26">
                  <a:moveTo>
                    <a:pt x="0" y="0"/>
                  </a:moveTo>
                  <a:lnTo>
                    <a:pt x="27" y="26"/>
                  </a:lnTo>
                  <a:lnTo>
                    <a:pt x="29" y="3"/>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57" name="30538275.25122.3753.52.6255">
              <a:extLst>
                <a:ext uri="{FF2B5EF4-FFF2-40B4-BE49-F238E27FC236}">
                  <a16:creationId xmlns:a16="http://schemas.microsoft.com/office/drawing/2014/main" id="{CEDB1681-8833-4C7D-B801-A3E1D8BCAE0D}"/>
                </a:ext>
              </a:extLst>
            </p:cNvPr>
            <p:cNvSpPr>
              <a:spLocks noChangeAspect="1"/>
            </p:cNvSpPr>
            <p:nvPr/>
          </p:nvSpPr>
          <p:spPr bwMode="gray">
            <a:xfrm>
              <a:off x="1635643" y="2756659"/>
              <a:ext cx="41844" cy="55506"/>
            </a:xfrm>
            <a:custGeom>
              <a:avLst/>
              <a:gdLst/>
              <a:ahLst/>
              <a:cxnLst>
                <a:cxn ang="0">
                  <a:pos x="0" y="0"/>
                </a:cxn>
                <a:cxn ang="0">
                  <a:pos x="36" y="22"/>
                </a:cxn>
                <a:cxn ang="0">
                  <a:pos x="46" y="62"/>
                </a:cxn>
                <a:cxn ang="0">
                  <a:pos x="0" y="0"/>
                </a:cxn>
              </a:cxnLst>
              <a:rect l="0" t="0" r="r" b="b"/>
              <a:pathLst>
                <a:path w="46" h="62">
                  <a:moveTo>
                    <a:pt x="0" y="0"/>
                  </a:moveTo>
                  <a:lnTo>
                    <a:pt x="36" y="22"/>
                  </a:lnTo>
                  <a:lnTo>
                    <a:pt x="46" y="62"/>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58" name="30539276.25126.521.3755">
              <a:extLst>
                <a:ext uri="{FF2B5EF4-FFF2-40B4-BE49-F238E27FC236}">
                  <a16:creationId xmlns:a16="http://schemas.microsoft.com/office/drawing/2014/main" id="{F17EA35D-05D3-4385-BA50-15241E77E298}"/>
                </a:ext>
              </a:extLst>
            </p:cNvPr>
            <p:cNvSpPr>
              <a:spLocks noChangeAspect="1"/>
            </p:cNvSpPr>
            <p:nvPr/>
          </p:nvSpPr>
          <p:spPr bwMode="gray">
            <a:xfrm>
              <a:off x="1702214" y="2773477"/>
              <a:ext cx="22823" cy="30277"/>
            </a:xfrm>
            <a:custGeom>
              <a:avLst/>
              <a:gdLst/>
              <a:ahLst/>
              <a:cxnLst>
                <a:cxn ang="0">
                  <a:pos x="0" y="21"/>
                </a:cxn>
                <a:cxn ang="0">
                  <a:pos x="11" y="0"/>
                </a:cxn>
                <a:cxn ang="0">
                  <a:pos x="23" y="36"/>
                </a:cxn>
                <a:cxn ang="0">
                  <a:pos x="0" y="21"/>
                </a:cxn>
              </a:cxnLst>
              <a:rect l="0" t="0" r="r" b="b"/>
              <a:pathLst>
                <a:path w="23" h="36">
                  <a:moveTo>
                    <a:pt x="0" y="21"/>
                  </a:moveTo>
                  <a:lnTo>
                    <a:pt x="11" y="0"/>
                  </a:lnTo>
                  <a:lnTo>
                    <a:pt x="23" y="36"/>
                  </a:lnTo>
                  <a:lnTo>
                    <a:pt x="0" y="21"/>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59" name="30540292.625139.62552.75108.55">
              <a:extLst>
                <a:ext uri="{FF2B5EF4-FFF2-40B4-BE49-F238E27FC236}">
                  <a16:creationId xmlns:a16="http://schemas.microsoft.com/office/drawing/2014/main" id="{006EAAC8-255E-453C-B3BA-2DF61DBF46BB}"/>
                </a:ext>
              </a:extLst>
            </p:cNvPr>
            <p:cNvSpPr>
              <a:spLocks noChangeAspect="1"/>
            </p:cNvSpPr>
            <p:nvPr/>
          </p:nvSpPr>
          <p:spPr bwMode="gray">
            <a:xfrm>
              <a:off x="1911434" y="3039233"/>
              <a:ext cx="1740338" cy="852773"/>
            </a:xfrm>
            <a:custGeom>
              <a:avLst/>
              <a:gdLst/>
              <a:ahLst/>
              <a:cxnLst>
                <a:cxn ang="0">
                  <a:pos x="22" y="128"/>
                </a:cxn>
                <a:cxn ang="0">
                  <a:pos x="27" y="140"/>
                </a:cxn>
                <a:cxn ang="0">
                  <a:pos x="59" y="461"/>
                </a:cxn>
                <a:cxn ang="0">
                  <a:pos x="78" y="495"/>
                </a:cxn>
                <a:cxn ang="0">
                  <a:pos x="203" y="615"/>
                </a:cxn>
                <a:cxn ang="0">
                  <a:pos x="331" y="664"/>
                </a:cxn>
                <a:cxn ang="0">
                  <a:pos x="609" y="696"/>
                </a:cxn>
                <a:cxn ang="0">
                  <a:pos x="771" y="769"/>
                </a:cxn>
                <a:cxn ang="0">
                  <a:pos x="921" y="911"/>
                </a:cxn>
                <a:cxn ang="0">
                  <a:pos x="983" y="802"/>
                </a:cxn>
                <a:cxn ang="0">
                  <a:pos x="1090" y="769"/>
                </a:cxn>
                <a:cxn ang="0">
                  <a:pos x="1178" y="755"/>
                </a:cxn>
                <a:cxn ang="0">
                  <a:pos x="1216" y="748"/>
                </a:cxn>
                <a:cxn ang="0">
                  <a:pos x="1226" y="752"/>
                </a:cxn>
                <a:cxn ang="0">
                  <a:pos x="1398" y="794"/>
                </a:cxn>
                <a:cxn ang="0">
                  <a:pos x="1447" y="934"/>
                </a:cxn>
                <a:cxn ang="0">
                  <a:pos x="1484" y="871"/>
                </a:cxn>
                <a:cxn ang="0">
                  <a:pos x="1466" y="670"/>
                </a:cxn>
                <a:cxn ang="0">
                  <a:pos x="1602" y="542"/>
                </a:cxn>
                <a:cxn ang="0">
                  <a:pos x="1609" y="499"/>
                </a:cxn>
                <a:cxn ang="0">
                  <a:pos x="1580" y="440"/>
                </a:cxn>
                <a:cxn ang="0">
                  <a:pos x="1604" y="417"/>
                </a:cxn>
                <a:cxn ang="0">
                  <a:pos x="1633" y="495"/>
                </a:cxn>
                <a:cxn ang="0">
                  <a:pos x="1642" y="399"/>
                </a:cxn>
                <a:cxn ang="0">
                  <a:pos x="1694" y="351"/>
                </a:cxn>
                <a:cxn ang="0">
                  <a:pos x="1795" y="297"/>
                </a:cxn>
                <a:cxn ang="0">
                  <a:pos x="1921" y="199"/>
                </a:cxn>
                <a:cxn ang="0">
                  <a:pos x="1899" y="157"/>
                </a:cxn>
                <a:cxn ang="0">
                  <a:pos x="1844" y="85"/>
                </a:cxn>
                <a:cxn ang="0">
                  <a:pos x="1633" y="206"/>
                </a:cxn>
                <a:cxn ang="0">
                  <a:pos x="1523" y="260"/>
                </a:cxn>
                <a:cxn ang="0">
                  <a:pos x="1431" y="326"/>
                </a:cxn>
                <a:cxn ang="0">
                  <a:pos x="1387" y="308"/>
                </a:cxn>
                <a:cxn ang="0">
                  <a:pos x="1404" y="281"/>
                </a:cxn>
                <a:cxn ang="0">
                  <a:pos x="1395" y="224"/>
                </a:cxn>
                <a:cxn ang="0">
                  <a:pos x="1373" y="175"/>
                </a:cxn>
                <a:cxn ang="0">
                  <a:pos x="1282" y="199"/>
                </a:cxn>
                <a:cxn ang="0">
                  <a:pos x="1237" y="314"/>
                </a:cxn>
                <a:cxn ang="0">
                  <a:pos x="1252" y="177"/>
                </a:cxn>
                <a:cxn ang="0">
                  <a:pos x="1270" y="147"/>
                </a:cxn>
                <a:cxn ang="0">
                  <a:pos x="1343" y="124"/>
                </a:cxn>
                <a:cxn ang="0">
                  <a:pos x="1208" y="111"/>
                </a:cxn>
                <a:cxn ang="0">
                  <a:pos x="1149" y="120"/>
                </a:cxn>
                <a:cxn ang="0">
                  <a:pos x="1163" y="62"/>
                </a:cxn>
                <a:cxn ang="0">
                  <a:pos x="984" y="0"/>
                </a:cxn>
                <a:cxn ang="0">
                  <a:pos x="63" y="19"/>
                </a:cxn>
                <a:cxn ang="0">
                  <a:pos x="59" y="85"/>
                </a:cxn>
                <a:cxn ang="0">
                  <a:pos x="0" y="52"/>
                </a:cxn>
              </a:cxnLst>
              <a:rect l="0" t="0" r="r" b="b"/>
              <a:pathLst>
                <a:path w="1924" h="934">
                  <a:moveTo>
                    <a:pt x="0" y="52"/>
                  </a:moveTo>
                  <a:lnTo>
                    <a:pt x="22" y="128"/>
                  </a:lnTo>
                  <a:lnTo>
                    <a:pt x="49" y="136"/>
                  </a:lnTo>
                  <a:lnTo>
                    <a:pt x="27" y="140"/>
                  </a:lnTo>
                  <a:lnTo>
                    <a:pt x="11" y="371"/>
                  </a:lnTo>
                  <a:lnTo>
                    <a:pt x="59" y="461"/>
                  </a:lnTo>
                  <a:lnTo>
                    <a:pt x="91" y="461"/>
                  </a:lnTo>
                  <a:lnTo>
                    <a:pt x="78" y="495"/>
                  </a:lnTo>
                  <a:lnTo>
                    <a:pt x="140" y="593"/>
                  </a:lnTo>
                  <a:lnTo>
                    <a:pt x="203" y="615"/>
                  </a:lnTo>
                  <a:lnTo>
                    <a:pt x="254" y="671"/>
                  </a:lnTo>
                  <a:lnTo>
                    <a:pt x="331" y="664"/>
                  </a:lnTo>
                  <a:lnTo>
                    <a:pt x="458" y="717"/>
                  </a:lnTo>
                  <a:lnTo>
                    <a:pt x="609" y="696"/>
                  </a:lnTo>
                  <a:lnTo>
                    <a:pt x="701" y="795"/>
                  </a:lnTo>
                  <a:lnTo>
                    <a:pt x="771" y="769"/>
                  </a:lnTo>
                  <a:lnTo>
                    <a:pt x="855" y="889"/>
                  </a:lnTo>
                  <a:lnTo>
                    <a:pt x="921" y="911"/>
                  </a:lnTo>
                  <a:lnTo>
                    <a:pt x="914" y="843"/>
                  </a:lnTo>
                  <a:lnTo>
                    <a:pt x="983" y="802"/>
                  </a:lnTo>
                  <a:lnTo>
                    <a:pt x="989" y="770"/>
                  </a:lnTo>
                  <a:lnTo>
                    <a:pt x="1090" y="769"/>
                  </a:lnTo>
                  <a:lnTo>
                    <a:pt x="1176" y="795"/>
                  </a:lnTo>
                  <a:lnTo>
                    <a:pt x="1178" y="755"/>
                  </a:lnTo>
                  <a:lnTo>
                    <a:pt x="1143" y="750"/>
                  </a:lnTo>
                  <a:lnTo>
                    <a:pt x="1216" y="748"/>
                  </a:lnTo>
                  <a:lnTo>
                    <a:pt x="1220" y="729"/>
                  </a:lnTo>
                  <a:lnTo>
                    <a:pt x="1226" y="752"/>
                  </a:lnTo>
                  <a:lnTo>
                    <a:pt x="1362" y="761"/>
                  </a:lnTo>
                  <a:lnTo>
                    <a:pt x="1398" y="794"/>
                  </a:lnTo>
                  <a:lnTo>
                    <a:pt x="1403" y="854"/>
                  </a:lnTo>
                  <a:lnTo>
                    <a:pt x="1447" y="934"/>
                  </a:lnTo>
                  <a:lnTo>
                    <a:pt x="1473" y="931"/>
                  </a:lnTo>
                  <a:lnTo>
                    <a:pt x="1484" y="871"/>
                  </a:lnTo>
                  <a:lnTo>
                    <a:pt x="1439" y="729"/>
                  </a:lnTo>
                  <a:lnTo>
                    <a:pt x="1466" y="670"/>
                  </a:lnTo>
                  <a:lnTo>
                    <a:pt x="1635" y="554"/>
                  </a:lnTo>
                  <a:lnTo>
                    <a:pt x="1602" y="542"/>
                  </a:lnTo>
                  <a:lnTo>
                    <a:pt x="1633" y="538"/>
                  </a:lnTo>
                  <a:lnTo>
                    <a:pt x="1609" y="499"/>
                  </a:lnTo>
                  <a:lnTo>
                    <a:pt x="1615" y="466"/>
                  </a:lnTo>
                  <a:lnTo>
                    <a:pt x="1580" y="440"/>
                  </a:lnTo>
                  <a:lnTo>
                    <a:pt x="1615" y="458"/>
                  </a:lnTo>
                  <a:lnTo>
                    <a:pt x="1604" y="417"/>
                  </a:lnTo>
                  <a:lnTo>
                    <a:pt x="1628" y="404"/>
                  </a:lnTo>
                  <a:lnTo>
                    <a:pt x="1633" y="495"/>
                  </a:lnTo>
                  <a:lnTo>
                    <a:pt x="1659" y="441"/>
                  </a:lnTo>
                  <a:lnTo>
                    <a:pt x="1642" y="399"/>
                  </a:lnTo>
                  <a:lnTo>
                    <a:pt x="1660" y="424"/>
                  </a:lnTo>
                  <a:lnTo>
                    <a:pt x="1694" y="351"/>
                  </a:lnTo>
                  <a:lnTo>
                    <a:pt x="1829" y="318"/>
                  </a:lnTo>
                  <a:lnTo>
                    <a:pt x="1795" y="297"/>
                  </a:lnTo>
                  <a:lnTo>
                    <a:pt x="1819" y="241"/>
                  </a:lnTo>
                  <a:lnTo>
                    <a:pt x="1921" y="199"/>
                  </a:lnTo>
                  <a:lnTo>
                    <a:pt x="1924" y="176"/>
                  </a:lnTo>
                  <a:lnTo>
                    <a:pt x="1899" y="157"/>
                  </a:lnTo>
                  <a:lnTo>
                    <a:pt x="1899" y="103"/>
                  </a:lnTo>
                  <a:lnTo>
                    <a:pt x="1844" y="85"/>
                  </a:lnTo>
                  <a:lnTo>
                    <a:pt x="1803" y="173"/>
                  </a:lnTo>
                  <a:lnTo>
                    <a:pt x="1633" y="206"/>
                  </a:lnTo>
                  <a:lnTo>
                    <a:pt x="1620" y="245"/>
                  </a:lnTo>
                  <a:lnTo>
                    <a:pt x="1523" y="260"/>
                  </a:lnTo>
                  <a:lnTo>
                    <a:pt x="1529" y="272"/>
                  </a:lnTo>
                  <a:lnTo>
                    <a:pt x="1431" y="326"/>
                  </a:lnTo>
                  <a:lnTo>
                    <a:pt x="1389" y="325"/>
                  </a:lnTo>
                  <a:lnTo>
                    <a:pt x="1387" y="308"/>
                  </a:lnTo>
                  <a:lnTo>
                    <a:pt x="1395" y="292"/>
                  </a:lnTo>
                  <a:lnTo>
                    <a:pt x="1404" y="281"/>
                  </a:lnTo>
                  <a:lnTo>
                    <a:pt x="1409" y="264"/>
                  </a:lnTo>
                  <a:lnTo>
                    <a:pt x="1395" y="224"/>
                  </a:lnTo>
                  <a:lnTo>
                    <a:pt x="1360" y="239"/>
                  </a:lnTo>
                  <a:lnTo>
                    <a:pt x="1373" y="175"/>
                  </a:lnTo>
                  <a:lnTo>
                    <a:pt x="1322" y="157"/>
                  </a:lnTo>
                  <a:lnTo>
                    <a:pt x="1282" y="199"/>
                  </a:lnTo>
                  <a:lnTo>
                    <a:pt x="1267" y="311"/>
                  </a:lnTo>
                  <a:lnTo>
                    <a:pt x="1237" y="314"/>
                  </a:lnTo>
                  <a:lnTo>
                    <a:pt x="1227" y="261"/>
                  </a:lnTo>
                  <a:lnTo>
                    <a:pt x="1252" y="177"/>
                  </a:lnTo>
                  <a:lnTo>
                    <a:pt x="1229" y="191"/>
                  </a:lnTo>
                  <a:lnTo>
                    <a:pt x="1270" y="147"/>
                  </a:lnTo>
                  <a:lnTo>
                    <a:pt x="1359" y="146"/>
                  </a:lnTo>
                  <a:lnTo>
                    <a:pt x="1343" y="124"/>
                  </a:lnTo>
                  <a:lnTo>
                    <a:pt x="1337" y="124"/>
                  </a:lnTo>
                  <a:lnTo>
                    <a:pt x="1208" y="111"/>
                  </a:lnTo>
                  <a:lnTo>
                    <a:pt x="1229" y="84"/>
                  </a:lnTo>
                  <a:lnTo>
                    <a:pt x="1149" y="120"/>
                  </a:lnTo>
                  <a:lnTo>
                    <a:pt x="1088" y="120"/>
                  </a:lnTo>
                  <a:lnTo>
                    <a:pt x="1163" y="62"/>
                  </a:lnTo>
                  <a:lnTo>
                    <a:pt x="1005" y="30"/>
                  </a:lnTo>
                  <a:lnTo>
                    <a:pt x="984" y="0"/>
                  </a:lnTo>
                  <a:lnTo>
                    <a:pt x="983" y="19"/>
                  </a:lnTo>
                  <a:lnTo>
                    <a:pt x="63" y="19"/>
                  </a:lnTo>
                  <a:lnTo>
                    <a:pt x="81" y="56"/>
                  </a:lnTo>
                  <a:lnTo>
                    <a:pt x="59" y="85"/>
                  </a:lnTo>
                  <a:lnTo>
                    <a:pt x="66" y="55"/>
                  </a:lnTo>
                  <a:lnTo>
                    <a:pt x="0" y="52"/>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60" name="30542451.375264.25109.8755">
              <a:extLst>
                <a:ext uri="{FF2B5EF4-FFF2-40B4-BE49-F238E27FC236}">
                  <a16:creationId xmlns:a16="http://schemas.microsoft.com/office/drawing/2014/main" id="{3012C722-C37F-4281-8DD9-7B6E6913EC86}"/>
                </a:ext>
              </a:extLst>
            </p:cNvPr>
            <p:cNvSpPr>
              <a:spLocks noChangeAspect="1"/>
            </p:cNvSpPr>
            <p:nvPr/>
          </p:nvSpPr>
          <p:spPr bwMode="gray">
            <a:xfrm>
              <a:off x="3908542" y="5609320"/>
              <a:ext cx="157865" cy="161471"/>
            </a:xfrm>
            <a:custGeom>
              <a:avLst/>
              <a:gdLst/>
              <a:ahLst/>
              <a:cxnLst>
                <a:cxn ang="0">
                  <a:pos x="0" y="144"/>
                </a:cxn>
                <a:cxn ang="0">
                  <a:pos x="29" y="7"/>
                </a:cxn>
                <a:cxn ang="0">
                  <a:pos x="53" y="0"/>
                </a:cxn>
                <a:cxn ang="0">
                  <a:pos x="154" y="70"/>
                </a:cxn>
                <a:cxn ang="0">
                  <a:pos x="174" y="99"/>
                </a:cxn>
                <a:cxn ang="0">
                  <a:pos x="166" y="135"/>
                </a:cxn>
                <a:cxn ang="0">
                  <a:pos x="119" y="179"/>
                </a:cxn>
                <a:cxn ang="0">
                  <a:pos x="0" y="144"/>
                </a:cxn>
              </a:cxnLst>
              <a:rect l="0" t="0" r="r" b="b"/>
              <a:pathLst>
                <a:path w="174" h="179">
                  <a:moveTo>
                    <a:pt x="0" y="144"/>
                  </a:moveTo>
                  <a:lnTo>
                    <a:pt x="29" y="7"/>
                  </a:lnTo>
                  <a:lnTo>
                    <a:pt x="53" y="0"/>
                  </a:lnTo>
                  <a:lnTo>
                    <a:pt x="154" y="70"/>
                  </a:lnTo>
                  <a:lnTo>
                    <a:pt x="174" y="99"/>
                  </a:lnTo>
                  <a:lnTo>
                    <a:pt x="166" y="135"/>
                  </a:lnTo>
                  <a:lnTo>
                    <a:pt x="119" y="179"/>
                  </a:lnTo>
                  <a:lnTo>
                    <a:pt x="0" y="14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61" name="30543434.75236.12566.537.1255">
              <a:extLst>
                <a:ext uri="{FF2B5EF4-FFF2-40B4-BE49-F238E27FC236}">
                  <a16:creationId xmlns:a16="http://schemas.microsoft.com/office/drawing/2014/main" id="{B8D50D49-314B-4686-85C1-8937A812847F}"/>
                </a:ext>
              </a:extLst>
            </p:cNvPr>
            <p:cNvSpPr>
              <a:spLocks noChangeAspect="1"/>
            </p:cNvSpPr>
            <p:nvPr/>
          </p:nvSpPr>
          <p:spPr bwMode="gray">
            <a:xfrm>
              <a:off x="3446141" y="5340199"/>
              <a:ext cx="593426" cy="1074795"/>
            </a:xfrm>
            <a:custGeom>
              <a:avLst/>
              <a:gdLst/>
              <a:ahLst/>
              <a:cxnLst>
                <a:cxn ang="0">
                  <a:pos x="0" y="1089"/>
                </a:cxn>
                <a:cxn ang="0">
                  <a:pos x="6" y="1114"/>
                </a:cxn>
                <a:cxn ang="0">
                  <a:pos x="33" y="1106"/>
                </a:cxn>
                <a:cxn ang="0">
                  <a:pos x="44" y="1165"/>
                </a:cxn>
                <a:cxn ang="0">
                  <a:pos x="165" y="1177"/>
                </a:cxn>
                <a:cxn ang="0">
                  <a:pos x="132" y="1147"/>
                </a:cxn>
                <a:cxn ang="0">
                  <a:pos x="157" y="1067"/>
                </a:cxn>
                <a:cxn ang="0">
                  <a:pos x="180" y="1082"/>
                </a:cxn>
                <a:cxn ang="0">
                  <a:pos x="256" y="971"/>
                </a:cxn>
                <a:cxn ang="0">
                  <a:pos x="197" y="908"/>
                </a:cxn>
                <a:cxn ang="0">
                  <a:pos x="263" y="869"/>
                </a:cxn>
                <a:cxn ang="0">
                  <a:pos x="272" y="811"/>
                </a:cxn>
                <a:cxn ang="0">
                  <a:pos x="303" y="785"/>
                </a:cxn>
                <a:cxn ang="0">
                  <a:pos x="276" y="774"/>
                </a:cxn>
                <a:cxn ang="0">
                  <a:pos x="326" y="774"/>
                </a:cxn>
                <a:cxn ang="0">
                  <a:pos x="320" y="747"/>
                </a:cxn>
                <a:cxn ang="0">
                  <a:pos x="298" y="766"/>
                </a:cxn>
                <a:cxn ang="0">
                  <a:pos x="276" y="745"/>
                </a:cxn>
                <a:cxn ang="0">
                  <a:pos x="274" y="703"/>
                </a:cxn>
                <a:cxn ang="0">
                  <a:pos x="363" y="707"/>
                </a:cxn>
                <a:cxn ang="0">
                  <a:pos x="371" y="620"/>
                </a:cxn>
                <a:cxn ang="0">
                  <a:pos x="513" y="606"/>
                </a:cxn>
                <a:cxn ang="0">
                  <a:pos x="554" y="546"/>
                </a:cxn>
                <a:cxn ang="0">
                  <a:pos x="498" y="437"/>
                </a:cxn>
                <a:cxn ang="0">
                  <a:pos x="527" y="300"/>
                </a:cxn>
                <a:cxn ang="0">
                  <a:pos x="657" y="187"/>
                </a:cxn>
                <a:cxn ang="0">
                  <a:pos x="652" y="136"/>
                </a:cxn>
                <a:cxn ang="0">
                  <a:pos x="626" y="135"/>
                </a:cxn>
                <a:cxn ang="0">
                  <a:pos x="591" y="195"/>
                </a:cxn>
                <a:cxn ang="0">
                  <a:pos x="501" y="191"/>
                </a:cxn>
                <a:cxn ang="0">
                  <a:pos x="520" y="124"/>
                </a:cxn>
                <a:cxn ang="0">
                  <a:pos x="359" y="18"/>
                </a:cxn>
                <a:cxn ang="0">
                  <a:pos x="305" y="9"/>
                </a:cxn>
                <a:cxn ang="0">
                  <a:pos x="301" y="31"/>
                </a:cxn>
                <a:cxn ang="0">
                  <a:pos x="239" y="0"/>
                </a:cxn>
                <a:cxn ang="0">
                  <a:pos x="204" y="38"/>
                </a:cxn>
                <a:cxn ang="0">
                  <a:pos x="201" y="80"/>
                </a:cxn>
                <a:cxn ang="0">
                  <a:pos x="164" y="98"/>
                </a:cxn>
                <a:cxn ang="0">
                  <a:pos x="165" y="179"/>
                </a:cxn>
                <a:cxn ang="0">
                  <a:pos x="125" y="224"/>
                </a:cxn>
                <a:cxn ang="0">
                  <a:pos x="94" y="338"/>
                </a:cxn>
                <a:cxn ang="0">
                  <a:pos x="117" y="447"/>
                </a:cxn>
                <a:cxn ang="0">
                  <a:pos x="74" y="539"/>
                </a:cxn>
                <a:cxn ang="0">
                  <a:pos x="44" y="769"/>
                </a:cxn>
                <a:cxn ang="0">
                  <a:pos x="68" y="853"/>
                </a:cxn>
                <a:cxn ang="0">
                  <a:pos x="46" y="860"/>
                </a:cxn>
                <a:cxn ang="0">
                  <a:pos x="57" y="934"/>
                </a:cxn>
                <a:cxn ang="0">
                  <a:pos x="0" y="1089"/>
                </a:cxn>
              </a:cxnLst>
              <a:rect l="0" t="0" r="r" b="b"/>
              <a:pathLst>
                <a:path w="657" h="1177">
                  <a:moveTo>
                    <a:pt x="0" y="1089"/>
                  </a:moveTo>
                  <a:lnTo>
                    <a:pt x="6" y="1114"/>
                  </a:lnTo>
                  <a:lnTo>
                    <a:pt x="33" y="1106"/>
                  </a:lnTo>
                  <a:lnTo>
                    <a:pt x="44" y="1165"/>
                  </a:lnTo>
                  <a:lnTo>
                    <a:pt x="165" y="1177"/>
                  </a:lnTo>
                  <a:lnTo>
                    <a:pt x="132" y="1147"/>
                  </a:lnTo>
                  <a:lnTo>
                    <a:pt x="157" y="1067"/>
                  </a:lnTo>
                  <a:lnTo>
                    <a:pt x="180" y="1082"/>
                  </a:lnTo>
                  <a:lnTo>
                    <a:pt x="256" y="971"/>
                  </a:lnTo>
                  <a:lnTo>
                    <a:pt x="197" y="908"/>
                  </a:lnTo>
                  <a:lnTo>
                    <a:pt x="263" y="869"/>
                  </a:lnTo>
                  <a:lnTo>
                    <a:pt x="272" y="811"/>
                  </a:lnTo>
                  <a:lnTo>
                    <a:pt x="303" y="785"/>
                  </a:lnTo>
                  <a:lnTo>
                    <a:pt x="276" y="774"/>
                  </a:lnTo>
                  <a:lnTo>
                    <a:pt x="326" y="774"/>
                  </a:lnTo>
                  <a:lnTo>
                    <a:pt x="320" y="747"/>
                  </a:lnTo>
                  <a:lnTo>
                    <a:pt x="298" y="766"/>
                  </a:lnTo>
                  <a:lnTo>
                    <a:pt x="276" y="745"/>
                  </a:lnTo>
                  <a:lnTo>
                    <a:pt x="274" y="703"/>
                  </a:lnTo>
                  <a:lnTo>
                    <a:pt x="363" y="707"/>
                  </a:lnTo>
                  <a:lnTo>
                    <a:pt x="371" y="620"/>
                  </a:lnTo>
                  <a:lnTo>
                    <a:pt x="513" y="606"/>
                  </a:lnTo>
                  <a:lnTo>
                    <a:pt x="554" y="546"/>
                  </a:lnTo>
                  <a:lnTo>
                    <a:pt x="498" y="437"/>
                  </a:lnTo>
                  <a:lnTo>
                    <a:pt x="527" y="300"/>
                  </a:lnTo>
                  <a:lnTo>
                    <a:pt x="657" y="187"/>
                  </a:lnTo>
                  <a:lnTo>
                    <a:pt x="652" y="136"/>
                  </a:lnTo>
                  <a:lnTo>
                    <a:pt x="626" y="135"/>
                  </a:lnTo>
                  <a:lnTo>
                    <a:pt x="591" y="195"/>
                  </a:lnTo>
                  <a:lnTo>
                    <a:pt x="501" y="191"/>
                  </a:lnTo>
                  <a:lnTo>
                    <a:pt x="520" y="124"/>
                  </a:lnTo>
                  <a:lnTo>
                    <a:pt x="359" y="18"/>
                  </a:lnTo>
                  <a:lnTo>
                    <a:pt x="305" y="9"/>
                  </a:lnTo>
                  <a:lnTo>
                    <a:pt x="301" y="31"/>
                  </a:lnTo>
                  <a:lnTo>
                    <a:pt x="239" y="0"/>
                  </a:lnTo>
                  <a:lnTo>
                    <a:pt x="204" y="38"/>
                  </a:lnTo>
                  <a:lnTo>
                    <a:pt x="201" y="80"/>
                  </a:lnTo>
                  <a:lnTo>
                    <a:pt x="164" y="98"/>
                  </a:lnTo>
                  <a:lnTo>
                    <a:pt x="165" y="179"/>
                  </a:lnTo>
                  <a:lnTo>
                    <a:pt x="125" y="224"/>
                  </a:lnTo>
                  <a:lnTo>
                    <a:pt x="94" y="338"/>
                  </a:lnTo>
                  <a:lnTo>
                    <a:pt x="117" y="447"/>
                  </a:lnTo>
                  <a:lnTo>
                    <a:pt x="74" y="539"/>
                  </a:lnTo>
                  <a:lnTo>
                    <a:pt x="44" y="769"/>
                  </a:lnTo>
                  <a:lnTo>
                    <a:pt x="68" y="853"/>
                  </a:lnTo>
                  <a:lnTo>
                    <a:pt x="46" y="860"/>
                  </a:lnTo>
                  <a:lnTo>
                    <a:pt x="57" y="934"/>
                  </a:lnTo>
                  <a:lnTo>
                    <a:pt x="0" y="108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62" name="30544502.252455.756.6255">
              <a:extLst>
                <a:ext uri="{FF2B5EF4-FFF2-40B4-BE49-F238E27FC236}">
                  <a16:creationId xmlns:a16="http://schemas.microsoft.com/office/drawing/2014/main" id="{C7E7B489-03C4-412F-A94F-5BD66EF16B7D}"/>
                </a:ext>
              </a:extLst>
            </p:cNvPr>
            <p:cNvSpPr>
              <a:spLocks noChangeAspect="1"/>
            </p:cNvSpPr>
            <p:nvPr/>
          </p:nvSpPr>
          <p:spPr bwMode="gray">
            <a:xfrm>
              <a:off x="3600414" y="6433496"/>
              <a:ext cx="104610" cy="92509"/>
            </a:xfrm>
            <a:custGeom>
              <a:avLst/>
              <a:gdLst/>
              <a:ahLst/>
              <a:cxnLst>
                <a:cxn ang="0">
                  <a:pos x="0" y="0"/>
                </a:cxn>
                <a:cxn ang="0">
                  <a:pos x="3" y="102"/>
                </a:cxn>
                <a:cxn ang="0">
                  <a:pos x="117" y="91"/>
                </a:cxn>
                <a:cxn ang="0">
                  <a:pos x="26" y="50"/>
                </a:cxn>
                <a:cxn ang="0">
                  <a:pos x="0" y="0"/>
                </a:cxn>
              </a:cxnLst>
              <a:rect l="0" t="0" r="r" b="b"/>
              <a:pathLst>
                <a:path w="117" h="102">
                  <a:moveTo>
                    <a:pt x="0" y="0"/>
                  </a:moveTo>
                  <a:lnTo>
                    <a:pt x="3" y="102"/>
                  </a:lnTo>
                  <a:lnTo>
                    <a:pt x="117" y="91"/>
                  </a:lnTo>
                  <a:lnTo>
                    <a:pt x="26" y="50"/>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63" name="30545383.875235.257573.55">
              <a:extLst>
                <a:ext uri="{FF2B5EF4-FFF2-40B4-BE49-F238E27FC236}">
                  <a16:creationId xmlns:a16="http://schemas.microsoft.com/office/drawing/2014/main" id="{0D554B66-8AAB-488D-9ED1-21C7448678FE}"/>
                </a:ext>
              </a:extLst>
            </p:cNvPr>
            <p:cNvSpPr>
              <a:spLocks noChangeAspect="1"/>
            </p:cNvSpPr>
            <p:nvPr/>
          </p:nvSpPr>
          <p:spPr bwMode="gray">
            <a:xfrm>
              <a:off x="3442548" y="4516023"/>
              <a:ext cx="1181146" cy="1212718"/>
            </a:xfrm>
            <a:custGeom>
              <a:avLst/>
              <a:gdLst/>
              <a:ahLst/>
              <a:cxnLst>
                <a:cxn ang="0">
                  <a:pos x="29" y="483"/>
                </a:cxn>
                <a:cxn ang="0">
                  <a:pos x="110" y="480"/>
                </a:cxn>
                <a:cxn ang="0">
                  <a:pos x="139" y="535"/>
                </a:cxn>
                <a:cxn ang="0">
                  <a:pos x="280" y="490"/>
                </a:cxn>
                <a:cxn ang="0">
                  <a:pos x="437" y="625"/>
                </a:cxn>
                <a:cxn ang="0">
                  <a:pos x="517" y="718"/>
                </a:cxn>
                <a:cxn ang="0">
                  <a:pos x="526" y="846"/>
                </a:cxn>
                <a:cxn ang="0">
                  <a:pos x="603" y="924"/>
                </a:cxn>
                <a:cxn ang="0">
                  <a:pos x="647" y="980"/>
                </a:cxn>
                <a:cxn ang="0">
                  <a:pos x="668" y="1040"/>
                </a:cxn>
                <a:cxn ang="0">
                  <a:pos x="543" y="1204"/>
                </a:cxn>
                <a:cxn ang="0">
                  <a:pos x="668" y="1267"/>
                </a:cxn>
                <a:cxn ang="0">
                  <a:pos x="680" y="1332"/>
                </a:cxn>
                <a:cxn ang="0">
                  <a:pos x="849" y="1033"/>
                </a:cxn>
                <a:cxn ang="0">
                  <a:pos x="1057" y="942"/>
                </a:cxn>
                <a:cxn ang="0">
                  <a:pos x="1156" y="759"/>
                </a:cxn>
                <a:cxn ang="0">
                  <a:pos x="1290" y="469"/>
                </a:cxn>
                <a:cxn ang="0">
                  <a:pos x="1282" y="345"/>
                </a:cxn>
                <a:cxn ang="0">
                  <a:pos x="1146" y="274"/>
                </a:cxn>
                <a:cxn ang="0">
                  <a:pos x="967" y="222"/>
                </a:cxn>
                <a:cxn ang="0">
                  <a:pos x="863" y="194"/>
                </a:cxn>
                <a:cxn ang="0">
                  <a:pos x="817" y="231"/>
                </a:cxn>
                <a:cxn ang="0">
                  <a:pos x="776" y="230"/>
                </a:cxn>
                <a:cxn ang="0">
                  <a:pos x="801" y="120"/>
                </a:cxn>
                <a:cxn ang="0">
                  <a:pos x="697" y="102"/>
                </a:cxn>
                <a:cxn ang="0">
                  <a:pos x="580" y="107"/>
                </a:cxn>
                <a:cxn ang="0">
                  <a:pos x="467" y="87"/>
                </a:cxn>
                <a:cxn ang="0">
                  <a:pos x="444" y="0"/>
                </a:cxn>
                <a:cxn ang="0">
                  <a:pos x="303" y="28"/>
                </a:cxn>
                <a:cxn ang="0">
                  <a:pos x="352" y="99"/>
                </a:cxn>
                <a:cxn ang="0">
                  <a:pos x="233" y="128"/>
                </a:cxn>
                <a:cxn ang="0">
                  <a:pos x="134" y="117"/>
                </a:cxn>
                <a:cxn ang="0">
                  <a:pos x="128" y="154"/>
                </a:cxn>
                <a:cxn ang="0">
                  <a:pos x="130" y="310"/>
                </a:cxn>
                <a:cxn ang="0">
                  <a:pos x="0" y="421"/>
                </a:cxn>
              </a:cxnLst>
              <a:rect l="0" t="0" r="r" b="b"/>
              <a:pathLst>
                <a:path w="1303" h="1332">
                  <a:moveTo>
                    <a:pt x="0" y="421"/>
                  </a:moveTo>
                  <a:lnTo>
                    <a:pt x="29" y="483"/>
                  </a:lnTo>
                  <a:lnTo>
                    <a:pt x="74" y="504"/>
                  </a:lnTo>
                  <a:lnTo>
                    <a:pt x="110" y="480"/>
                  </a:lnTo>
                  <a:lnTo>
                    <a:pt x="110" y="535"/>
                  </a:lnTo>
                  <a:lnTo>
                    <a:pt x="139" y="535"/>
                  </a:lnTo>
                  <a:lnTo>
                    <a:pt x="180" y="538"/>
                  </a:lnTo>
                  <a:lnTo>
                    <a:pt x="280" y="490"/>
                  </a:lnTo>
                  <a:lnTo>
                    <a:pt x="288" y="565"/>
                  </a:lnTo>
                  <a:lnTo>
                    <a:pt x="437" y="625"/>
                  </a:lnTo>
                  <a:lnTo>
                    <a:pt x="460" y="714"/>
                  </a:lnTo>
                  <a:lnTo>
                    <a:pt x="517" y="718"/>
                  </a:lnTo>
                  <a:lnTo>
                    <a:pt x="538" y="777"/>
                  </a:lnTo>
                  <a:lnTo>
                    <a:pt x="526" y="846"/>
                  </a:lnTo>
                  <a:lnTo>
                    <a:pt x="534" y="913"/>
                  </a:lnTo>
                  <a:lnTo>
                    <a:pt x="603" y="924"/>
                  </a:lnTo>
                  <a:lnTo>
                    <a:pt x="613" y="971"/>
                  </a:lnTo>
                  <a:lnTo>
                    <a:pt x="647" y="980"/>
                  </a:lnTo>
                  <a:lnTo>
                    <a:pt x="642" y="1039"/>
                  </a:lnTo>
                  <a:lnTo>
                    <a:pt x="668" y="1040"/>
                  </a:lnTo>
                  <a:lnTo>
                    <a:pt x="673" y="1091"/>
                  </a:lnTo>
                  <a:lnTo>
                    <a:pt x="543" y="1204"/>
                  </a:lnTo>
                  <a:lnTo>
                    <a:pt x="567" y="1197"/>
                  </a:lnTo>
                  <a:lnTo>
                    <a:pt x="668" y="1267"/>
                  </a:lnTo>
                  <a:lnTo>
                    <a:pt x="688" y="1296"/>
                  </a:lnTo>
                  <a:lnTo>
                    <a:pt x="680" y="1332"/>
                  </a:lnTo>
                  <a:lnTo>
                    <a:pt x="839" y="1134"/>
                  </a:lnTo>
                  <a:lnTo>
                    <a:pt x="849" y="1033"/>
                  </a:lnTo>
                  <a:lnTo>
                    <a:pt x="977" y="942"/>
                  </a:lnTo>
                  <a:lnTo>
                    <a:pt x="1057" y="942"/>
                  </a:lnTo>
                  <a:lnTo>
                    <a:pt x="1090" y="911"/>
                  </a:lnTo>
                  <a:lnTo>
                    <a:pt x="1156" y="759"/>
                  </a:lnTo>
                  <a:lnTo>
                    <a:pt x="1164" y="611"/>
                  </a:lnTo>
                  <a:lnTo>
                    <a:pt x="1290" y="469"/>
                  </a:lnTo>
                  <a:lnTo>
                    <a:pt x="1303" y="407"/>
                  </a:lnTo>
                  <a:lnTo>
                    <a:pt x="1282" y="345"/>
                  </a:lnTo>
                  <a:lnTo>
                    <a:pt x="1230" y="337"/>
                  </a:lnTo>
                  <a:lnTo>
                    <a:pt x="1146" y="274"/>
                  </a:lnTo>
                  <a:lnTo>
                    <a:pt x="982" y="260"/>
                  </a:lnTo>
                  <a:lnTo>
                    <a:pt x="967" y="222"/>
                  </a:lnTo>
                  <a:lnTo>
                    <a:pt x="893" y="193"/>
                  </a:lnTo>
                  <a:lnTo>
                    <a:pt x="863" y="194"/>
                  </a:lnTo>
                  <a:lnTo>
                    <a:pt x="819" y="252"/>
                  </a:lnTo>
                  <a:lnTo>
                    <a:pt x="817" y="231"/>
                  </a:lnTo>
                  <a:lnTo>
                    <a:pt x="747" y="241"/>
                  </a:lnTo>
                  <a:lnTo>
                    <a:pt x="776" y="230"/>
                  </a:lnTo>
                  <a:lnTo>
                    <a:pt x="749" y="184"/>
                  </a:lnTo>
                  <a:lnTo>
                    <a:pt x="801" y="120"/>
                  </a:lnTo>
                  <a:lnTo>
                    <a:pt x="746" y="37"/>
                  </a:lnTo>
                  <a:lnTo>
                    <a:pt x="697" y="102"/>
                  </a:lnTo>
                  <a:lnTo>
                    <a:pt x="650" y="98"/>
                  </a:lnTo>
                  <a:lnTo>
                    <a:pt x="580" y="107"/>
                  </a:lnTo>
                  <a:lnTo>
                    <a:pt x="485" y="121"/>
                  </a:lnTo>
                  <a:lnTo>
                    <a:pt x="467" y="87"/>
                  </a:lnTo>
                  <a:lnTo>
                    <a:pt x="474" y="24"/>
                  </a:lnTo>
                  <a:lnTo>
                    <a:pt x="444" y="0"/>
                  </a:lnTo>
                  <a:lnTo>
                    <a:pt x="361" y="40"/>
                  </a:lnTo>
                  <a:lnTo>
                    <a:pt x="303" y="28"/>
                  </a:lnTo>
                  <a:lnTo>
                    <a:pt x="320" y="91"/>
                  </a:lnTo>
                  <a:lnTo>
                    <a:pt x="352" y="99"/>
                  </a:lnTo>
                  <a:lnTo>
                    <a:pt x="272" y="145"/>
                  </a:lnTo>
                  <a:lnTo>
                    <a:pt x="233" y="128"/>
                  </a:lnTo>
                  <a:lnTo>
                    <a:pt x="214" y="105"/>
                  </a:lnTo>
                  <a:lnTo>
                    <a:pt x="134" y="117"/>
                  </a:lnTo>
                  <a:lnTo>
                    <a:pt x="159" y="151"/>
                  </a:lnTo>
                  <a:lnTo>
                    <a:pt x="128" y="154"/>
                  </a:lnTo>
                  <a:lnTo>
                    <a:pt x="145" y="213"/>
                  </a:lnTo>
                  <a:lnTo>
                    <a:pt x="130" y="310"/>
                  </a:lnTo>
                  <a:lnTo>
                    <a:pt x="46" y="344"/>
                  </a:lnTo>
                  <a:lnTo>
                    <a:pt x="0" y="421"/>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64" name="30546426.37523278.7515.6255">
              <a:extLst>
                <a:ext uri="{FF2B5EF4-FFF2-40B4-BE49-F238E27FC236}">
                  <a16:creationId xmlns:a16="http://schemas.microsoft.com/office/drawing/2014/main" id="{1BCB3FA8-6555-4D9E-BD93-DA91745A27D3}"/>
                </a:ext>
              </a:extLst>
            </p:cNvPr>
            <p:cNvSpPr>
              <a:spLocks noChangeAspect="1"/>
            </p:cNvSpPr>
            <p:nvPr/>
          </p:nvSpPr>
          <p:spPr bwMode="gray">
            <a:xfrm>
              <a:off x="3393098" y="5202275"/>
              <a:ext cx="249163" cy="1274950"/>
            </a:xfrm>
            <a:custGeom>
              <a:avLst/>
              <a:gdLst/>
              <a:ahLst/>
              <a:cxnLst>
                <a:cxn ang="0">
                  <a:pos x="0" y="1091"/>
                </a:cxn>
                <a:cxn ang="0">
                  <a:pos x="22" y="1053"/>
                </a:cxn>
                <a:cxn ang="0">
                  <a:pos x="59" y="1080"/>
                </a:cxn>
                <a:cxn ang="0">
                  <a:pos x="95" y="1009"/>
                </a:cxn>
                <a:cxn ang="0">
                  <a:pos x="81" y="981"/>
                </a:cxn>
                <a:cxn ang="0">
                  <a:pos x="110" y="882"/>
                </a:cxn>
                <a:cxn ang="0">
                  <a:pos x="58" y="874"/>
                </a:cxn>
                <a:cxn ang="0">
                  <a:pos x="66" y="714"/>
                </a:cxn>
                <a:cxn ang="0">
                  <a:pos x="135" y="548"/>
                </a:cxn>
                <a:cxn ang="0">
                  <a:pos x="133" y="407"/>
                </a:cxn>
                <a:cxn ang="0">
                  <a:pos x="181" y="142"/>
                </a:cxn>
                <a:cxn ang="0">
                  <a:pos x="166" y="24"/>
                </a:cxn>
                <a:cxn ang="0">
                  <a:pos x="199" y="0"/>
                </a:cxn>
                <a:cxn ang="0">
                  <a:pos x="234" y="61"/>
                </a:cxn>
                <a:cxn ang="0">
                  <a:pos x="254" y="185"/>
                </a:cxn>
                <a:cxn ang="0">
                  <a:pos x="278" y="187"/>
                </a:cxn>
                <a:cxn ang="0">
                  <a:pos x="275" y="229"/>
                </a:cxn>
                <a:cxn ang="0">
                  <a:pos x="238" y="247"/>
                </a:cxn>
                <a:cxn ang="0">
                  <a:pos x="239" y="328"/>
                </a:cxn>
                <a:cxn ang="0">
                  <a:pos x="199" y="373"/>
                </a:cxn>
                <a:cxn ang="0">
                  <a:pos x="168" y="487"/>
                </a:cxn>
                <a:cxn ang="0">
                  <a:pos x="191" y="596"/>
                </a:cxn>
                <a:cxn ang="0">
                  <a:pos x="148" y="688"/>
                </a:cxn>
                <a:cxn ang="0">
                  <a:pos x="118" y="918"/>
                </a:cxn>
                <a:cxn ang="0">
                  <a:pos x="142" y="1002"/>
                </a:cxn>
                <a:cxn ang="0">
                  <a:pos x="120" y="1009"/>
                </a:cxn>
                <a:cxn ang="0">
                  <a:pos x="131" y="1083"/>
                </a:cxn>
                <a:cxn ang="0">
                  <a:pos x="74" y="1238"/>
                </a:cxn>
                <a:cxn ang="0">
                  <a:pos x="80" y="1263"/>
                </a:cxn>
                <a:cxn ang="0">
                  <a:pos x="107" y="1255"/>
                </a:cxn>
                <a:cxn ang="0">
                  <a:pos x="118" y="1314"/>
                </a:cxn>
                <a:cxn ang="0">
                  <a:pos x="239" y="1326"/>
                </a:cxn>
                <a:cxn ang="0">
                  <a:pos x="158" y="1350"/>
                </a:cxn>
                <a:cxn ang="0">
                  <a:pos x="148" y="1395"/>
                </a:cxn>
                <a:cxn ang="0">
                  <a:pos x="113" y="1383"/>
                </a:cxn>
                <a:cxn ang="0">
                  <a:pos x="153" y="1354"/>
                </a:cxn>
                <a:cxn ang="0">
                  <a:pos x="94" y="1341"/>
                </a:cxn>
                <a:cxn ang="0">
                  <a:pos x="87" y="1292"/>
                </a:cxn>
                <a:cxn ang="0">
                  <a:pos x="72" y="1315"/>
                </a:cxn>
                <a:cxn ang="0">
                  <a:pos x="50" y="1270"/>
                </a:cxn>
                <a:cxn ang="0">
                  <a:pos x="61" y="1256"/>
                </a:cxn>
                <a:cxn ang="0">
                  <a:pos x="34" y="1236"/>
                </a:cxn>
                <a:cxn ang="0">
                  <a:pos x="58" y="1209"/>
                </a:cxn>
                <a:cxn ang="0">
                  <a:pos x="36" y="1142"/>
                </a:cxn>
                <a:cxn ang="0">
                  <a:pos x="78" y="1149"/>
                </a:cxn>
                <a:cxn ang="0">
                  <a:pos x="36" y="1114"/>
                </a:cxn>
                <a:cxn ang="0">
                  <a:pos x="45" y="1088"/>
                </a:cxn>
                <a:cxn ang="0">
                  <a:pos x="0" y="1091"/>
                </a:cxn>
              </a:cxnLst>
              <a:rect l="0" t="0" r="r" b="b"/>
              <a:pathLst>
                <a:path w="278" h="1395">
                  <a:moveTo>
                    <a:pt x="0" y="1091"/>
                  </a:moveTo>
                  <a:lnTo>
                    <a:pt x="22" y="1053"/>
                  </a:lnTo>
                  <a:lnTo>
                    <a:pt x="59" y="1080"/>
                  </a:lnTo>
                  <a:lnTo>
                    <a:pt x="95" y="1009"/>
                  </a:lnTo>
                  <a:lnTo>
                    <a:pt x="81" y="981"/>
                  </a:lnTo>
                  <a:lnTo>
                    <a:pt x="110" y="882"/>
                  </a:lnTo>
                  <a:lnTo>
                    <a:pt x="58" y="874"/>
                  </a:lnTo>
                  <a:lnTo>
                    <a:pt x="66" y="714"/>
                  </a:lnTo>
                  <a:lnTo>
                    <a:pt x="135" y="548"/>
                  </a:lnTo>
                  <a:lnTo>
                    <a:pt x="133" y="407"/>
                  </a:lnTo>
                  <a:lnTo>
                    <a:pt x="181" y="142"/>
                  </a:lnTo>
                  <a:lnTo>
                    <a:pt x="166" y="24"/>
                  </a:lnTo>
                  <a:lnTo>
                    <a:pt x="199" y="0"/>
                  </a:lnTo>
                  <a:lnTo>
                    <a:pt x="234" y="61"/>
                  </a:lnTo>
                  <a:lnTo>
                    <a:pt x="254" y="185"/>
                  </a:lnTo>
                  <a:lnTo>
                    <a:pt x="278" y="187"/>
                  </a:lnTo>
                  <a:lnTo>
                    <a:pt x="275" y="229"/>
                  </a:lnTo>
                  <a:lnTo>
                    <a:pt x="238" y="247"/>
                  </a:lnTo>
                  <a:lnTo>
                    <a:pt x="239" y="328"/>
                  </a:lnTo>
                  <a:lnTo>
                    <a:pt x="199" y="373"/>
                  </a:lnTo>
                  <a:lnTo>
                    <a:pt x="168" y="487"/>
                  </a:lnTo>
                  <a:lnTo>
                    <a:pt x="191" y="596"/>
                  </a:lnTo>
                  <a:lnTo>
                    <a:pt x="148" y="688"/>
                  </a:lnTo>
                  <a:lnTo>
                    <a:pt x="118" y="918"/>
                  </a:lnTo>
                  <a:lnTo>
                    <a:pt x="142" y="1002"/>
                  </a:lnTo>
                  <a:lnTo>
                    <a:pt x="120" y="1009"/>
                  </a:lnTo>
                  <a:lnTo>
                    <a:pt x="131" y="1083"/>
                  </a:lnTo>
                  <a:lnTo>
                    <a:pt x="74" y="1238"/>
                  </a:lnTo>
                  <a:lnTo>
                    <a:pt x="80" y="1263"/>
                  </a:lnTo>
                  <a:lnTo>
                    <a:pt x="107" y="1255"/>
                  </a:lnTo>
                  <a:lnTo>
                    <a:pt x="118" y="1314"/>
                  </a:lnTo>
                  <a:lnTo>
                    <a:pt x="239" y="1326"/>
                  </a:lnTo>
                  <a:lnTo>
                    <a:pt x="158" y="1350"/>
                  </a:lnTo>
                  <a:lnTo>
                    <a:pt x="148" y="1395"/>
                  </a:lnTo>
                  <a:lnTo>
                    <a:pt x="113" y="1383"/>
                  </a:lnTo>
                  <a:lnTo>
                    <a:pt x="153" y="1354"/>
                  </a:lnTo>
                  <a:lnTo>
                    <a:pt x="94" y="1341"/>
                  </a:lnTo>
                  <a:lnTo>
                    <a:pt x="87" y="1292"/>
                  </a:lnTo>
                  <a:lnTo>
                    <a:pt x="72" y="1315"/>
                  </a:lnTo>
                  <a:lnTo>
                    <a:pt x="50" y="1270"/>
                  </a:lnTo>
                  <a:lnTo>
                    <a:pt x="61" y="1256"/>
                  </a:lnTo>
                  <a:lnTo>
                    <a:pt x="34" y="1236"/>
                  </a:lnTo>
                  <a:lnTo>
                    <a:pt x="58" y="1209"/>
                  </a:lnTo>
                  <a:lnTo>
                    <a:pt x="36" y="1142"/>
                  </a:lnTo>
                  <a:lnTo>
                    <a:pt x="78" y="1149"/>
                  </a:lnTo>
                  <a:lnTo>
                    <a:pt x="36" y="1114"/>
                  </a:lnTo>
                  <a:lnTo>
                    <a:pt x="45" y="1088"/>
                  </a:lnTo>
                  <a:lnTo>
                    <a:pt x="0" y="1091"/>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65" name="30547492.375232.87531.255">
              <a:extLst>
                <a:ext uri="{FF2B5EF4-FFF2-40B4-BE49-F238E27FC236}">
                  <a16:creationId xmlns:a16="http://schemas.microsoft.com/office/drawing/2014/main" id="{A318B422-0816-408B-BE6D-D949D69EB63B}"/>
                </a:ext>
              </a:extLst>
            </p:cNvPr>
            <p:cNvSpPr>
              <a:spLocks noChangeAspect="1"/>
            </p:cNvSpPr>
            <p:nvPr/>
          </p:nvSpPr>
          <p:spPr bwMode="gray">
            <a:xfrm>
              <a:off x="3404510" y="6272025"/>
              <a:ext cx="22823" cy="48779"/>
            </a:xfrm>
            <a:custGeom>
              <a:avLst/>
              <a:gdLst/>
              <a:ahLst/>
              <a:cxnLst>
                <a:cxn ang="0">
                  <a:pos x="0" y="23"/>
                </a:cxn>
                <a:cxn ang="0">
                  <a:pos x="8" y="0"/>
                </a:cxn>
                <a:cxn ang="0">
                  <a:pos x="22" y="51"/>
                </a:cxn>
                <a:cxn ang="0">
                  <a:pos x="0" y="23"/>
                </a:cxn>
              </a:cxnLst>
              <a:rect l="0" t="0" r="r" b="b"/>
              <a:pathLst>
                <a:path w="22" h="51">
                  <a:moveTo>
                    <a:pt x="0" y="23"/>
                  </a:moveTo>
                  <a:lnTo>
                    <a:pt x="8" y="0"/>
                  </a:lnTo>
                  <a:lnTo>
                    <a:pt x="22" y="51"/>
                  </a:lnTo>
                  <a:lnTo>
                    <a:pt x="0" y="23"/>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66" name="30548476.5234.1253.751.1255">
              <a:extLst>
                <a:ext uri="{FF2B5EF4-FFF2-40B4-BE49-F238E27FC236}">
                  <a16:creationId xmlns:a16="http://schemas.microsoft.com/office/drawing/2014/main" id="{7C8DFC21-F444-4095-BDAC-010C577B0916}"/>
                </a:ext>
              </a:extLst>
            </p:cNvPr>
            <p:cNvSpPr>
              <a:spLocks noChangeAspect="1"/>
            </p:cNvSpPr>
            <p:nvPr/>
          </p:nvSpPr>
          <p:spPr bwMode="gray">
            <a:xfrm>
              <a:off x="3427332" y="6014680"/>
              <a:ext cx="15216" cy="62232"/>
            </a:xfrm>
            <a:custGeom>
              <a:avLst/>
              <a:gdLst/>
              <a:ahLst/>
              <a:cxnLst>
                <a:cxn ang="0">
                  <a:pos x="0" y="56"/>
                </a:cxn>
                <a:cxn ang="0">
                  <a:pos x="19" y="0"/>
                </a:cxn>
                <a:cxn ang="0">
                  <a:pos x="19" y="66"/>
                </a:cxn>
                <a:cxn ang="0">
                  <a:pos x="0" y="56"/>
                </a:cxn>
              </a:cxnLst>
              <a:rect l="0" t="0" r="r" b="b"/>
              <a:pathLst>
                <a:path w="19" h="66">
                  <a:moveTo>
                    <a:pt x="0" y="56"/>
                  </a:moveTo>
                  <a:lnTo>
                    <a:pt x="19" y="0"/>
                  </a:lnTo>
                  <a:lnTo>
                    <a:pt x="19" y="66"/>
                  </a:lnTo>
                  <a:lnTo>
                    <a:pt x="0" y="56"/>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67" name="30549504.125235.51.752.55">
              <a:extLst>
                <a:ext uri="{FF2B5EF4-FFF2-40B4-BE49-F238E27FC236}">
                  <a16:creationId xmlns:a16="http://schemas.microsoft.com/office/drawing/2014/main" id="{F99193AE-1CE4-4721-B723-7B511EBA5AFC}"/>
                </a:ext>
              </a:extLst>
            </p:cNvPr>
            <p:cNvSpPr>
              <a:spLocks noChangeAspect="1"/>
            </p:cNvSpPr>
            <p:nvPr/>
          </p:nvSpPr>
          <p:spPr bwMode="gray">
            <a:xfrm>
              <a:off x="3450159" y="6463773"/>
              <a:ext cx="38039" cy="28593"/>
            </a:xfrm>
            <a:custGeom>
              <a:avLst/>
              <a:gdLst/>
              <a:ahLst/>
              <a:cxnLst>
                <a:cxn ang="0">
                  <a:pos x="0" y="0"/>
                </a:cxn>
                <a:cxn ang="0">
                  <a:pos x="42" y="6"/>
                </a:cxn>
                <a:cxn ang="0">
                  <a:pos x="44" y="28"/>
                </a:cxn>
                <a:cxn ang="0">
                  <a:pos x="0" y="0"/>
                </a:cxn>
              </a:cxnLst>
              <a:rect l="0" t="0" r="r" b="b"/>
              <a:pathLst>
                <a:path w="44" h="28">
                  <a:moveTo>
                    <a:pt x="0" y="0"/>
                  </a:moveTo>
                  <a:lnTo>
                    <a:pt x="42" y="6"/>
                  </a:lnTo>
                  <a:lnTo>
                    <a:pt x="44" y="28"/>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68" name="30550500.52363.753.6255">
              <a:extLst>
                <a:ext uri="{FF2B5EF4-FFF2-40B4-BE49-F238E27FC236}">
                  <a16:creationId xmlns:a16="http://schemas.microsoft.com/office/drawing/2014/main" id="{861E4628-236D-451E-BBCD-B3C024EEE65D}"/>
                </a:ext>
              </a:extLst>
            </p:cNvPr>
            <p:cNvSpPr>
              <a:spLocks noChangeAspect="1"/>
            </p:cNvSpPr>
            <p:nvPr/>
          </p:nvSpPr>
          <p:spPr bwMode="gray">
            <a:xfrm>
              <a:off x="3455864" y="6403218"/>
              <a:ext cx="60865" cy="62235"/>
            </a:xfrm>
            <a:custGeom>
              <a:avLst/>
              <a:gdLst/>
              <a:ahLst/>
              <a:cxnLst>
                <a:cxn ang="0">
                  <a:pos x="0" y="11"/>
                </a:cxn>
                <a:cxn ang="0">
                  <a:pos x="18" y="0"/>
                </a:cxn>
                <a:cxn ang="0">
                  <a:pos x="17" y="30"/>
                </a:cxn>
                <a:cxn ang="0">
                  <a:pos x="66" y="41"/>
                </a:cxn>
                <a:cxn ang="0">
                  <a:pos x="34" y="66"/>
                </a:cxn>
                <a:cxn ang="0">
                  <a:pos x="0" y="11"/>
                </a:cxn>
              </a:cxnLst>
              <a:rect l="0" t="0" r="r" b="b"/>
              <a:pathLst>
                <a:path w="66" h="66">
                  <a:moveTo>
                    <a:pt x="0" y="11"/>
                  </a:moveTo>
                  <a:lnTo>
                    <a:pt x="18" y="0"/>
                  </a:lnTo>
                  <a:lnTo>
                    <a:pt x="17" y="30"/>
                  </a:lnTo>
                  <a:lnTo>
                    <a:pt x="66" y="41"/>
                  </a:lnTo>
                  <a:lnTo>
                    <a:pt x="34" y="66"/>
                  </a:lnTo>
                  <a:lnTo>
                    <a:pt x="0" y="11"/>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69" name="30551505.375238.625125">
              <a:extLst>
                <a:ext uri="{FF2B5EF4-FFF2-40B4-BE49-F238E27FC236}">
                  <a16:creationId xmlns:a16="http://schemas.microsoft.com/office/drawing/2014/main" id="{20B4BEB5-388E-42AE-9E77-87C25EEAF478}"/>
                </a:ext>
              </a:extLst>
            </p:cNvPr>
            <p:cNvSpPr>
              <a:spLocks noChangeAspect="1"/>
            </p:cNvSpPr>
            <p:nvPr/>
          </p:nvSpPr>
          <p:spPr bwMode="gray">
            <a:xfrm>
              <a:off x="3499609" y="6483956"/>
              <a:ext cx="32333" cy="15137"/>
            </a:xfrm>
            <a:custGeom>
              <a:avLst/>
              <a:gdLst/>
              <a:ahLst/>
              <a:cxnLst>
                <a:cxn ang="0">
                  <a:pos x="0" y="12"/>
                </a:cxn>
                <a:cxn ang="0">
                  <a:pos x="10" y="0"/>
                </a:cxn>
                <a:cxn ang="0">
                  <a:pos x="36" y="16"/>
                </a:cxn>
                <a:cxn ang="0">
                  <a:pos x="0" y="12"/>
                </a:cxn>
              </a:cxnLst>
              <a:rect l="0" t="0" r="r" b="b"/>
              <a:pathLst>
                <a:path w="36" h="16">
                  <a:moveTo>
                    <a:pt x="0" y="12"/>
                  </a:moveTo>
                  <a:lnTo>
                    <a:pt x="10" y="0"/>
                  </a:lnTo>
                  <a:lnTo>
                    <a:pt x="36" y="16"/>
                  </a:lnTo>
                  <a:lnTo>
                    <a:pt x="0" y="12"/>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70" name="30552502.252405.755.255">
              <a:extLst>
                <a:ext uri="{FF2B5EF4-FFF2-40B4-BE49-F238E27FC236}">
                  <a16:creationId xmlns:a16="http://schemas.microsoft.com/office/drawing/2014/main" id="{8A1DF2AB-450E-4836-A193-D818E56D443C}"/>
                </a:ext>
              </a:extLst>
            </p:cNvPr>
            <p:cNvSpPr>
              <a:spLocks noChangeAspect="1"/>
            </p:cNvSpPr>
            <p:nvPr/>
          </p:nvSpPr>
          <p:spPr bwMode="gray">
            <a:xfrm>
              <a:off x="3522435" y="6433496"/>
              <a:ext cx="81787" cy="92509"/>
            </a:xfrm>
            <a:custGeom>
              <a:avLst/>
              <a:gdLst/>
              <a:ahLst/>
              <a:cxnLst>
                <a:cxn ang="0">
                  <a:pos x="0" y="83"/>
                </a:cxn>
                <a:cxn ang="0">
                  <a:pos x="15" y="68"/>
                </a:cxn>
                <a:cxn ang="0">
                  <a:pos x="64" y="77"/>
                </a:cxn>
                <a:cxn ang="0">
                  <a:pos x="42" y="51"/>
                </a:cxn>
                <a:cxn ang="0">
                  <a:pos x="66" y="35"/>
                </a:cxn>
                <a:cxn ang="0">
                  <a:pos x="30" y="30"/>
                </a:cxn>
                <a:cxn ang="0">
                  <a:pos x="30" y="6"/>
                </a:cxn>
                <a:cxn ang="0">
                  <a:pos x="89" y="0"/>
                </a:cxn>
                <a:cxn ang="0">
                  <a:pos x="92" y="102"/>
                </a:cxn>
                <a:cxn ang="0">
                  <a:pos x="0" y="83"/>
                </a:cxn>
              </a:cxnLst>
              <a:rect l="0" t="0" r="r" b="b"/>
              <a:pathLst>
                <a:path w="92" h="102">
                  <a:moveTo>
                    <a:pt x="0" y="83"/>
                  </a:moveTo>
                  <a:lnTo>
                    <a:pt x="15" y="68"/>
                  </a:lnTo>
                  <a:lnTo>
                    <a:pt x="64" y="77"/>
                  </a:lnTo>
                  <a:lnTo>
                    <a:pt x="42" y="51"/>
                  </a:lnTo>
                  <a:lnTo>
                    <a:pt x="66" y="35"/>
                  </a:lnTo>
                  <a:lnTo>
                    <a:pt x="30" y="30"/>
                  </a:lnTo>
                  <a:lnTo>
                    <a:pt x="30" y="6"/>
                  </a:lnTo>
                  <a:lnTo>
                    <a:pt x="89" y="0"/>
                  </a:lnTo>
                  <a:lnTo>
                    <a:pt x="92" y="102"/>
                  </a:lnTo>
                  <a:lnTo>
                    <a:pt x="0" y="83"/>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71" name="30553508.875242.6251.1253.8755">
              <a:extLst>
                <a:ext uri="{FF2B5EF4-FFF2-40B4-BE49-F238E27FC236}">
                  <a16:creationId xmlns:a16="http://schemas.microsoft.com/office/drawing/2014/main" id="{2C108361-87AA-4BFA-B8EF-530F9F32B940}"/>
                </a:ext>
              </a:extLst>
            </p:cNvPr>
            <p:cNvSpPr>
              <a:spLocks noChangeAspect="1"/>
            </p:cNvSpPr>
            <p:nvPr/>
          </p:nvSpPr>
          <p:spPr bwMode="gray">
            <a:xfrm>
              <a:off x="3564279" y="6541142"/>
              <a:ext cx="58961" cy="16821"/>
            </a:xfrm>
            <a:custGeom>
              <a:avLst/>
              <a:gdLst/>
              <a:ahLst/>
              <a:cxnLst>
                <a:cxn ang="0">
                  <a:pos x="0" y="0"/>
                </a:cxn>
                <a:cxn ang="0">
                  <a:pos x="62" y="6"/>
                </a:cxn>
                <a:cxn ang="0">
                  <a:pos x="69" y="21"/>
                </a:cxn>
                <a:cxn ang="0">
                  <a:pos x="0" y="0"/>
                </a:cxn>
              </a:cxnLst>
              <a:rect l="0" t="0" r="r" b="b"/>
              <a:pathLst>
                <a:path w="69" h="21">
                  <a:moveTo>
                    <a:pt x="0" y="0"/>
                  </a:moveTo>
                  <a:lnTo>
                    <a:pt x="62" y="6"/>
                  </a:lnTo>
                  <a:lnTo>
                    <a:pt x="69" y="21"/>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72" name="30554508.125246.3750.751.755">
              <a:extLst>
                <a:ext uri="{FF2B5EF4-FFF2-40B4-BE49-F238E27FC236}">
                  <a16:creationId xmlns:a16="http://schemas.microsoft.com/office/drawing/2014/main" id="{95152EF9-8F48-4B5D-9DEB-C394743AE3DC}"/>
                </a:ext>
              </a:extLst>
            </p:cNvPr>
            <p:cNvSpPr>
              <a:spLocks noChangeAspect="1"/>
            </p:cNvSpPr>
            <p:nvPr/>
          </p:nvSpPr>
          <p:spPr bwMode="gray">
            <a:xfrm>
              <a:off x="3623240" y="6527686"/>
              <a:ext cx="28532" cy="13456"/>
            </a:xfrm>
            <a:custGeom>
              <a:avLst/>
              <a:gdLst/>
              <a:ahLst/>
              <a:cxnLst>
                <a:cxn ang="0">
                  <a:pos x="0" y="14"/>
                </a:cxn>
                <a:cxn ang="0">
                  <a:pos x="7" y="0"/>
                </a:cxn>
                <a:cxn ang="0">
                  <a:pos x="32" y="14"/>
                </a:cxn>
                <a:cxn ang="0">
                  <a:pos x="0" y="14"/>
                </a:cxn>
              </a:cxnLst>
              <a:rect l="0" t="0" r="r" b="b"/>
              <a:pathLst>
                <a:path w="32" h="14">
                  <a:moveTo>
                    <a:pt x="0" y="14"/>
                  </a:moveTo>
                  <a:lnTo>
                    <a:pt x="7" y="0"/>
                  </a:lnTo>
                  <a:lnTo>
                    <a:pt x="32" y="14"/>
                  </a:lnTo>
                  <a:lnTo>
                    <a:pt x="0" y="1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73" name="30555370.125225.87531.12522.6255">
              <a:extLst>
                <a:ext uri="{FF2B5EF4-FFF2-40B4-BE49-F238E27FC236}">
                  <a16:creationId xmlns:a16="http://schemas.microsoft.com/office/drawing/2014/main" id="{EE3F1CEB-927C-4B62-A855-82E7C88DA594}"/>
                </a:ext>
              </a:extLst>
            </p:cNvPr>
            <p:cNvSpPr>
              <a:spLocks noChangeAspect="1"/>
            </p:cNvSpPr>
            <p:nvPr/>
          </p:nvSpPr>
          <p:spPr bwMode="gray">
            <a:xfrm>
              <a:off x="3294194" y="4292320"/>
              <a:ext cx="363284" cy="506280"/>
            </a:xfrm>
            <a:custGeom>
              <a:avLst/>
              <a:gdLst/>
              <a:ahLst/>
              <a:cxnLst>
                <a:cxn ang="0">
                  <a:pos x="0" y="367"/>
                </a:cxn>
                <a:cxn ang="0">
                  <a:pos x="50" y="407"/>
                </a:cxn>
                <a:cxn ang="0">
                  <a:pos x="120" y="417"/>
                </a:cxn>
                <a:cxn ang="0">
                  <a:pos x="193" y="491"/>
                </a:cxn>
                <a:cxn ang="0">
                  <a:pos x="288" y="498"/>
                </a:cxn>
                <a:cxn ang="0">
                  <a:pos x="274" y="538"/>
                </a:cxn>
                <a:cxn ang="0">
                  <a:pos x="297" y="552"/>
                </a:cxn>
                <a:cxn ang="0">
                  <a:pos x="312" y="455"/>
                </a:cxn>
                <a:cxn ang="0">
                  <a:pos x="295" y="396"/>
                </a:cxn>
                <a:cxn ang="0">
                  <a:pos x="326" y="393"/>
                </a:cxn>
                <a:cxn ang="0">
                  <a:pos x="301" y="359"/>
                </a:cxn>
                <a:cxn ang="0">
                  <a:pos x="381" y="347"/>
                </a:cxn>
                <a:cxn ang="0">
                  <a:pos x="400" y="370"/>
                </a:cxn>
                <a:cxn ang="0">
                  <a:pos x="370" y="322"/>
                </a:cxn>
                <a:cxn ang="0">
                  <a:pos x="380" y="206"/>
                </a:cxn>
                <a:cxn ang="0">
                  <a:pos x="315" y="211"/>
                </a:cxn>
                <a:cxn ang="0">
                  <a:pos x="295" y="183"/>
                </a:cxn>
                <a:cxn ang="0">
                  <a:pos x="229" y="175"/>
                </a:cxn>
                <a:cxn ang="0">
                  <a:pos x="187" y="109"/>
                </a:cxn>
                <a:cxn ang="0">
                  <a:pos x="251" y="21"/>
                </a:cxn>
                <a:cxn ang="0">
                  <a:pos x="242" y="0"/>
                </a:cxn>
                <a:cxn ang="0">
                  <a:pos x="130" y="48"/>
                </a:cxn>
                <a:cxn ang="0">
                  <a:pos x="68" y="147"/>
                </a:cxn>
                <a:cxn ang="0">
                  <a:pos x="49" y="124"/>
                </a:cxn>
                <a:cxn ang="0">
                  <a:pos x="32" y="172"/>
                </a:cxn>
                <a:cxn ang="0">
                  <a:pos x="49" y="282"/>
                </a:cxn>
                <a:cxn ang="0">
                  <a:pos x="62" y="282"/>
                </a:cxn>
                <a:cxn ang="0">
                  <a:pos x="0" y="367"/>
                </a:cxn>
              </a:cxnLst>
              <a:rect l="0" t="0" r="r" b="b"/>
              <a:pathLst>
                <a:path w="400" h="552">
                  <a:moveTo>
                    <a:pt x="0" y="367"/>
                  </a:moveTo>
                  <a:lnTo>
                    <a:pt x="50" y="407"/>
                  </a:lnTo>
                  <a:lnTo>
                    <a:pt x="120" y="417"/>
                  </a:lnTo>
                  <a:lnTo>
                    <a:pt x="193" y="491"/>
                  </a:lnTo>
                  <a:lnTo>
                    <a:pt x="288" y="498"/>
                  </a:lnTo>
                  <a:lnTo>
                    <a:pt x="274" y="538"/>
                  </a:lnTo>
                  <a:lnTo>
                    <a:pt x="297" y="552"/>
                  </a:lnTo>
                  <a:lnTo>
                    <a:pt x="312" y="455"/>
                  </a:lnTo>
                  <a:lnTo>
                    <a:pt x="295" y="396"/>
                  </a:lnTo>
                  <a:lnTo>
                    <a:pt x="326" y="393"/>
                  </a:lnTo>
                  <a:lnTo>
                    <a:pt x="301" y="359"/>
                  </a:lnTo>
                  <a:lnTo>
                    <a:pt x="381" y="347"/>
                  </a:lnTo>
                  <a:lnTo>
                    <a:pt x="400" y="370"/>
                  </a:lnTo>
                  <a:lnTo>
                    <a:pt x="370" y="322"/>
                  </a:lnTo>
                  <a:lnTo>
                    <a:pt x="380" y="206"/>
                  </a:lnTo>
                  <a:lnTo>
                    <a:pt x="315" y="211"/>
                  </a:lnTo>
                  <a:lnTo>
                    <a:pt x="295" y="183"/>
                  </a:lnTo>
                  <a:lnTo>
                    <a:pt x="229" y="175"/>
                  </a:lnTo>
                  <a:lnTo>
                    <a:pt x="187" y="109"/>
                  </a:lnTo>
                  <a:lnTo>
                    <a:pt x="251" y="21"/>
                  </a:lnTo>
                  <a:lnTo>
                    <a:pt x="242" y="0"/>
                  </a:lnTo>
                  <a:lnTo>
                    <a:pt x="130" y="48"/>
                  </a:lnTo>
                  <a:lnTo>
                    <a:pt x="68" y="147"/>
                  </a:lnTo>
                  <a:lnTo>
                    <a:pt x="49" y="124"/>
                  </a:lnTo>
                  <a:lnTo>
                    <a:pt x="32" y="172"/>
                  </a:lnTo>
                  <a:lnTo>
                    <a:pt x="49" y="282"/>
                  </a:lnTo>
                  <a:lnTo>
                    <a:pt x="62" y="282"/>
                  </a:lnTo>
                  <a:lnTo>
                    <a:pt x="0" y="367"/>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74" name="30556390.875222.12511.62510.55">
              <a:extLst>
                <a:ext uri="{FF2B5EF4-FFF2-40B4-BE49-F238E27FC236}">
                  <a16:creationId xmlns:a16="http://schemas.microsoft.com/office/drawing/2014/main" id="{F0423EE4-B1D4-4222-9CEE-9A0FEBF2681B}"/>
                </a:ext>
              </a:extLst>
            </p:cNvPr>
            <p:cNvSpPr>
              <a:spLocks noChangeAspect="1"/>
            </p:cNvSpPr>
            <p:nvPr/>
          </p:nvSpPr>
          <p:spPr bwMode="gray">
            <a:xfrm>
              <a:off x="3233329" y="4628718"/>
              <a:ext cx="169276" cy="188383"/>
            </a:xfrm>
            <a:custGeom>
              <a:avLst/>
              <a:gdLst/>
              <a:ahLst/>
              <a:cxnLst>
                <a:cxn ang="0">
                  <a:pos x="0" y="80"/>
                </a:cxn>
                <a:cxn ang="0">
                  <a:pos x="1" y="121"/>
                </a:cxn>
                <a:cxn ang="0">
                  <a:pos x="34" y="131"/>
                </a:cxn>
                <a:cxn ang="0">
                  <a:pos x="16" y="164"/>
                </a:cxn>
                <a:cxn ang="0">
                  <a:pos x="11" y="198"/>
                </a:cxn>
                <a:cxn ang="0">
                  <a:pos x="54" y="208"/>
                </a:cxn>
                <a:cxn ang="0">
                  <a:pos x="93" y="150"/>
                </a:cxn>
                <a:cxn ang="0">
                  <a:pos x="169" y="105"/>
                </a:cxn>
                <a:cxn ang="0">
                  <a:pos x="185" y="50"/>
                </a:cxn>
                <a:cxn ang="0">
                  <a:pos x="115" y="40"/>
                </a:cxn>
                <a:cxn ang="0">
                  <a:pos x="65" y="0"/>
                </a:cxn>
                <a:cxn ang="0">
                  <a:pos x="23" y="21"/>
                </a:cxn>
                <a:cxn ang="0">
                  <a:pos x="0" y="80"/>
                </a:cxn>
              </a:cxnLst>
              <a:rect l="0" t="0" r="r" b="b"/>
              <a:pathLst>
                <a:path w="185" h="208">
                  <a:moveTo>
                    <a:pt x="0" y="80"/>
                  </a:moveTo>
                  <a:lnTo>
                    <a:pt x="1" y="121"/>
                  </a:lnTo>
                  <a:lnTo>
                    <a:pt x="34" y="131"/>
                  </a:lnTo>
                  <a:lnTo>
                    <a:pt x="16" y="164"/>
                  </a:lnTo>
                  <a:lnTo>
                    <a:pt x="11" y="198"/>
                  </a:lnTo>
                  <a:lnTo>
                    <a:pt x="54" y="208"/>
                  </a:lnTo>
                  <a:lnTo>
                    <a:pt x="93" y="150"/>
                  </a:lnTo>
                  <a:lnTo>
                    <a:pt x="169" y="105"/>
                  </a:lnTo>
                  <a:lnTo>
                    <a:pt x="185" y="50"/>
                  </a:lnTo>
                  <a:lnTo>
                    <a:pt x="115" y="40"/>
                  </a:lnTo>
                  <a:lnTo>
                    <a:pt x="65" y="0"/>
                  </a:lnTo>
                  <a:lnTo>
                    <a:pt x="23" y="21"/>
                  </a:lnTo>
                  <a:lnTo>
                    <a:pt x="0" y="8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75" name="30557370.375236.37521.62525.255">
              <a:extLst>
                <a:ext uri="{FF2B5EF4-FFF2-40B4-BE49-F238E27FC236}">
                  <a16:creationId xmlns:a16="http://schemas.microsoft.com/office/drawing/2014/main" id="{459665CB-E3B6-45CE-857D-34DECC408527}"/>
                </a:ext>
              </a:extLst>
            </p:cNvPr>
            <p:cNvSpPr>
              <a:spLocks noChangeAspect="1"/>
            </p:cNvSpPr>
            <p:nvPr/>
          </p:nvSpPr>
          <p:spPr bwMode="gray">
            <a:xfrm>
              <a:off x="3461570" y="4295681"/>
              <a:ext cx="405128" cy="351535"/>
            </a:xfrm>
            <a:custGeom>
              <a:avLst/>
              <a:gdLst/>
              <a:ahLst/>
              <a:cxnLst>
                <a:cxn ang="0">
                  <a:pos x="0" y="105"/>
                </a:cxn>
                <a:cxn ang="0">
                  <a:pos x="42" y="171"/>
                </a:cxn>
                <a:cxn ang="0">
                  <a:pos x="108" y="179"/>
                </a:cxn>
                <a:cxn ang="0">
                  <a:pos x="128" y="207"/>
                </a:cxn>
                <a:cxn ang="0">
                  <a:pos x="193" y="202"/>
                </a:cxn>
                <a:cxn ang="0">
                  <a:pos x="183" y="318"/>
                </a:cxn>
                <a:cxn ang="0">
                  <a:pos x="213" y="366"/>
                </a:cxn>
                <a:cxn ang="0">
                  <a:pos x="252" y="383"/>
                </a:cxn>
                <a:cxn ang="0">
                  <a:pos x="332" y="337"/>
                </a:cxn>
                <a:cxn ang="0">
                  <a:pos x="300" y="329"/>
                </a:cxn>
                <a:cxn ang="0">
                  <a:pos x="283" y="266"/>
                </a:cxn>
                <a:cxn ang="0">
                  <a:pos x="341" y="278"/>
                </a:cxn>
                <a:cxn ang="0">
                  <a:pos x="424" y="238"/>
                </a:cxn>
                <a:cxn ang="0">
                  <a:pos x="400" y="207"/>
                </a:cxn>
                <a:cxn ang="0">
                  <a:pos x="429" y="178"/>
                </a:cxn>
                <a:cxn ang="0">
                  <a:pos x="417" y="156"/>
                </a:cxn>
                <a:cxn ang="0">
                  <a:pos x="448" y="132"/>
                </a:cxn>
                <a:cxn ang="0">
                  <a:pos x="409" y="127"/>
                </a:cxn>
                <a:cxn ang="0">
                  <a:pos x="409" y="96"/>
                </a:cxn>
                <a:cxn ang="0">
                  <a:pos x="344" y="63"/>
                </a:cxn>
                <a:cxn ang="0">
                  <a:pos x="373" y="54"/>
                </a:cxn>
                <a:cxn ang="0">
                  <a:pos x="176" y="61"/>
                </a:cxn>
                <a:cxn ang="0">
                  <a:pos x="112" y="0"/>
                </a:cxn>
                <a:cxn ang="0">
                  <a:pos x="114" y="28"/>
                </a:cxn>
                <a:cxn ang="0">
                  <a:pos x="59" y="51"/>
                </a:cxn>
                <a:cxn ang="0">
                  <a:pos x="76" y="96"/>
                </a:cxn>
                <a:cxn ang="0">
                  <a:pos x="55" y="113"/>
                </a:cxn>
                <a:cxn ang="0">
                  <a:pos x="42" y="72"/>
                </a:cxn>
                <a:cxn ang="0">
                  <a:pos x="64" y="17"/>
                </a:cxn>
                <a:cxn ang="0">
                  <a:pos x="0" y="105"/>
                </a:cxn>
              </a:cxnLst>
              <a:rect l="0" t="0" r="r" b="b"/>
              <a:pathLst>
                <a:path w="448" h="383">
                  <a:moveTo>
                    <a:pt x="0" y="105"/>
                  </a:moveTo>
                  <a:lnTo>
                    <a:pt x="42" y="171"/>
                  </a:lnTo>
                  <a:lnTo>
                    <a:pt x="108" y="179"/>
                  </a:lnTo>
                  <a:lnTo>
                    <a:pt x="128" y="207"/>
                  </a:lnTo>
                  <a:lnTo>
                    <a:pt x="193" y="202"/>
                  </a:lnTo>
                  <a:lnTo>
                    <a:pt x="183" y="318"/>
                  </a:lnTo>
                  <a:lnTo>
                    <a:pt x="213" y="366"/>
                  </a:lnTo>
                  <a:lnTo>
                    <a:pt x="252" y="383"/>
                  </a:lnTo>
                  <a:lnTo>
                    <a:pt x="332" y="337"/>
                  </a:lnTo>
                  <a:lnTo>
                    <a:pt x="300" y="329"/>
                  </a:lnTo>
                  <a:lnTo>
                    <a:pt x="283" y="266"/>
                  </a:lnTo>
                  <a:lnTo>
                    <a:pt x="341" y="278"/>
                  </a:lnTo>
                  <a:lnTo>
                    <a:pt x="424" y="238"/>
                  </a:lnTo>
                  <a:lnTo>
                    <a:pt x="400" y="207"/>
                  </a:lnTo>
                  <a:lnTo>
                    <a:pt x="429" y="178"/>
                  </a:lnTo>
                  <a:lnTo>
                    <a:pt x="417" y="156"/>
                  </a:lnTo>
                  <a:lnTo>
                    <a:pt x="448" y="132"/>
                  </a:lnTo>
                  <a:lnTo>
                    <a:pt x="409" y="127"/>
                  </a:lnTo>
                  <a:lnTo>
                    <a:pt x="409" y="96"/>
                  </a:lnTo>
                  <a:lnTo>
                    <a:pt x="344" y="63"/>
                  </a:lnTo>
                  <a:lnTo>
                    <a:pt x="373" y="54"/>
                  </a:lnTo>
                  <a:lnTo>
                    <a:pt x="176" y="61"/>
                  </a:lnTo>
                  <a:lnTo>
                    <a:pt x="112" y="0"/>
                  </a:lnTo>
                  <a:lnTo>
                    <a:pt x="114" y="28"/>
                  </a:lnTo>
                  <a:lnTo>
                    <a:pt x="59" y="51"/>
                  </a:lnTo>
                  <a:lnTo>
                    <a:pt x="76" y="96"/>
                  </a:lnTo>
                  <a:lnTo>
                    <a:pt x="55" y="113"/>
                  </a:lnTo>
                  <a:lnTo>
                    <a:pt x="42" y="72"/>
                  </a:lnTo>
                  <a:lnTo>
                    <a:pt x="64" y="17"/>
                  </a:lnTo>
                  <a:lnTo>
                    <a:pt x="0" y="10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76" name="30413317.75488.519.12526.6255">
              <a:extLst>
                <a:ext uri="{FF2B5EF4-FFF2-40B4-BE49-F238E27FC236}">
                  <a16:creationId xmlns:a16="http://schemas.microsoft.com/office/drawing/2014/main" id="{C83CA832-7904-447E-9B2C-E1805B0EF5F7}"/>
                </a:ext>
              </a:extLst>
            </p:cNvPr>
            <p:cNvSpPr>
              <a:spLocks noChangeAspect="1"/>
            </p:cNvSpPr>
            <p:nvPr/>
          </p:nvSpPr>
          <p:spPr bwMode="gray">
            <a:xfrm>
              <a:off x="7503333" y="3446275"/>
              <a:ext cx="427950" cy="309486"/>
            </a:xfrm>
            <a:custGeom>
              <a:avLst/>
              <a:gdLst/>
              <a:ahLst/>
              <a:cxnLst>
                <a:cxn ang="0">
                  <a:pos x="0" y="163"/>
                </a:cxn>
                <a:cxn ang="0">
                  <a:pos x="4" y="251"/>
                </a:cxn>
                <a:cxn ang="0">
                  <a:pos x="39" y="277"/>
                </a:cxn>
                <a:cxn ang="0">
                  <a:pos x="11" y="322"/>
                </a:cxn>
                <a:cxn ang="0">
                  <a:pos x="63" y="339"/>
                </a:cxn>
                <a:cxn ang="0">
                  <a:pos x="186" y="322"/>
                </a:cxn>
                <a:cxn ang="0">
                  <a:pos x="209" y="273"/>
                </a:cxn>
                <a:cxn ang="0">
                  <a:pos x="292" y="245"/>
                </a:cxn>
                <a:cxn ang="0">
                  <a:pos x="300" y="204"/>
                </a:cxn>
                <a:cxn ang="0">
                  <a:pos x="327" y="193"/>
                </a:cxn>
                <a:cxn ang="0">
                  <a:pos x="315" y="171"/>
                </a:cxn>
                <a:cxn ang="0">
                  <a:pos x="345" y="169"/>
                </a:cxn>
                <a:cxn ang="0">
                  <a:pos x="367" y="127"/>
                </a:cxn>
                <a:cxn ang="0">
                  <a:pos x="358" y="86"/>
                </a:cxn>
                <a:cxn ang="0">
                  <a:pos x="469" y="55"/>
                </a:cxn>
                <a:cxn ang="0">
                  <a:pos x="472" y="47"/>
                </a:cxn>
                <a:cxn ang="0">
                  <a:pos x="430" y="39"/>
                </a:cxn>
                <a:cxn ang="0">
                  <a:pos x="371" y="68"/>
                </a:cxn>
                <a:cxn ang="0">
                  <a:pos x="344" y="0"/>
                </a:cxn>
                <a:cxn ang="0">
                  <a:pos x="293" y="51"/>
                </a:cxn>
                <a:cxn ang="0">
                  <a:pos x="147" y="47"/>
                </a:cxn>
                <a:cxn ang="0">
                  <a:pos x="73" y="124"/>
                </a:cxn>
                <a:cxn ang="0">
                  <a:pos x="24" y="99"/>
                </a:cxn>
                <a:cxn ang="0">
                  <a:pos x="0" y="163"/>
                </a:cxn>
              </a:cxnLst>
              <a:rect l="0" t="0" r="r" b="b"/>
              <a:pathLst>
                <a:path w="472" h="339">
                  <a:moveTo>
                    <a:pt x="0" y="163"/>
                  </a:moveTo>
                  <a:lnTo>
                    <a:pt x="4" y="251"/>
                  </a:lnTo>
                  <a:lnTo>
                    <a:pt x="39" y="277"/>
                  </a:lnTo>
                  <a:lnTo>
                    <a:pt x="11" y="322"/>
                  </a:lnTo>
                  <a:lnTo>
                    <a:pt x="63" y="339"/>
                  </a:lnTo>
                  <a:lnTo>
                    <a:pt x="186" y="322"/>
                  </a:lnTo>
                  <a:lnTo>
                    <a:pt x="209" y="273"/>
                  </a:lnTo>
                  <a:lnTo>
                    <a:pt x="292" y="245"/>
                  </a:lnTo>
                  <a:lnTo>
                    <a:pt x="300" y="204"/>
                  </a:lnTo>
                  <a:lnTo>
                    <a:pt x="327" y="193"/>
                  </a:lnTo>
                  <a:lnTo>
                    <a:pt x="315" y="171"/>
                  </a:lnTo>
                  <a:lnTo>
                    <a:pt x="345" y="169"/>
                  </a:lnTo>
                  <a:lnTo>
                    <a:pt x="367" y="127"/>
                  </a:lnTo>
                  <a:lnTo>
                    <a:pt x="358" y="86"/>
                  </a:lnTo>
                  <a:lnTo>
                    <a:pt x="469" y="55"/>
                  </a:lnTo>
                  <a:lnTo>
                    <a:pt x="472" y="47"/>
                  </a:lnTo>
                  <a:lnTo>
                    <a:pt x="430" y="39"/>
                  </a:lnTo>
                  <a:lnTo>
                    <a:pt x="371" y="68"/>
                  </a:lnTo>
                  <a:lnTo>
                    <a:pt x="344" y="0"/>
                  </a:lnTo>
                  <a:lnTo>
                    <a:pt x="293" y="51"/>
                  </a:lnTo>
                  <a:lnTo>
                    <a:pt x="147" y="47"/>
                  </a:lnTo>
                  <a:lnTo>
                    <a:pt x="73" y="124"/>
                  </a:lnTo>
                  <a:lnTo>
                    <a:pt x="24" y="99"/>
                  </a:lnTo>
                  <a:lnTo>
                    <a:pt x="0" y="163"/>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77" name="30414308.625410.6256.53.3755">
              <a:extLst>
                <a:ext uri="{FF2B5EF4-FFF2-40B4-BE49-F238E27FC236}">
                  <a16:creationId xmlns:a16="http://schemas.microsoft.com/office/drawing/2014/main" id="{B4075C84-B25E-4B37-AD5C-12F1DCD2BC0E}"/>
                </a:ext>
              </a:extLst>
            </p:cNvPr>
            <p:cNvSpPr>
              <a:spLocks noChangeAspect="1"/>
            </p:cNvSpPr>
            <p:nvPr/>
          </p:nvSpPr>
          <p:spPr bwMode="gray">
            <a:xfrm>
              <a:off x="6257516" y="3296576"/>
              <a:ext cx="53255" cy="104285"/>
            </a:xfrm>
            <a:custGeom>
              <a:avLst/>
              <a:gdLst/>
              <a:ahLst/>
              <a:cxnLst>
                <a:cxn ang="0">
                  <a:pos x="0" y="87"/>
                </a:cxn>
                <a:cxn ang="0">
                  <a:pos x="3" y="28"/>
                </a:cxn>
                <a:cxn ang="0">
                  <a:pos x="30" y="0"/>
                </a:cxn>
                <a:cxn ang="0">
                  <a:pos x="61" y="68"/>
                </a:cxn>
                <a:cxn ang="0">
                  <a:pos x="32" y="114"/>
                </a:cxn>
                <a:cxn ang="0">
                  <a:pos x="0" y="87"/>
                </a:cxn>
              </a:cxnLst>
              <a:rect l="0" t="0" r="r" b="b"/>
              <a:pathLst>
                <a:path w="61" h="114">
                  <a:moveTo>
                    <a:pt x="0" y="87"/>
                  </a:moveTo>
                  <a:lnTo>
                    <a:pt x="3" y="28"/>
                  </a:lnTo>
                  <a:lnTo>
                    <a:pt x="30" y="0"/>
                  </a:lnTo>
                  <a:lnTo>
                    <a:pt x="61" y="68"/>
                  </a:lnTo>
                  <a:lnTo>
                    <a:pt x="32" y="114"/>
                  </a:lnTo>
                  <a:lnTo>
                    <a:pt x="0" y="87"/>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78" name="30415321.125358.12536.2538.255">
              <a:extLst>
                <a:ext uri="{FF2B5EF4-FFF2-40B4-BE49-F238E27FC236}">
                  <a16:creationId xmlns:a16="http://schemas.microsoft.com/office/drawing/2014/main" id="{79A1B8EE-EC0F-4B01-A32A-5F92BD780609}"/>
                </a:ext>
              </a:extLst>
            </p:cNvPr>
            <p:cNvSpPr>
              <a:spLocks noChangeAspect="1"/>
            </p:cNvSpPr>
            <p:nvPr/>
          </p:nvSpPr>
          <p:spPr bwMode="gray">
            <a:xfrm>
              <a:off x="5414927" y="3500097"/>
              <a:ext cx="614348" cy="588698"/>
            </a:xfrm>
            <a:custGeom>
              <a:avLst/>
              <a:gdLst/>
              <a:ahLst/>
              <a:cxnLst>
                <a:cxn ang="0">
                  <a:pos x="0" y="345"/>
                </a:cxn>
                <a:cxn ang="0">
                  <a:pos x="3" y="358"/>
                </a:cxn>
                <a:cxn ang="0">
                  <a:pos x="126" y="439"/>
                </a:cxn>
                <a:cxn ang="0">
                  <a:pos x="394" y="616"/>
                </a:cxn>
                <a:cxn ang="0">
                  <a:pos x="397" y="646"/>
                </a:cxn>
                <a:cxn ang="0">
                  <a:pos x="423" y="642"/>
                </a:cxn>
                <a:cxn ang="0">
                  <a:pos x="476" y="629"/>
                </a:cxn>
                <a:cxn ang="0">
                  <a:pos x="678" y="490"/>
                </a:cxn>
                <a:cxn ang="0">
                  <a:pos x="599" y="398"/>
                </a:cxn>
                <a:cxn ang="0">
                  <a:pos x="601" y="249"/>
                </a:cxn>
                <a:cxn ang="0">
                  <a:pos x="591" y="182"/>
                </a:cxn>
                <a:cxn ang="0">
                  <a:pos x="535" y="114"/>
                </a:cxn>
                <a:cxn ang="0">
                  <a:pos x="563" y="91"/>
                </a:cxn>
                <a:cxn ang="0">
                  <a:pos x="577" y="0"/>
                </a:cxn>
                <a:cxn ang="0">
                  <a:pos x="338" y="15"/>
                </a:cxn>
                <a:cxn ang="0">
                  <a:pos x="214" y="69"/>
                </a:cxn>
                <a:cxn ang="0">
                  <a:pos x="246" y="179"/>
                </a:cxn>
                <a:cxn ang="0">
                  <a:pos x="192" y="182"/>
                </a:cxn>
                <a:cxn ang="0">
                  <a:pos x="164" y="194"/>
                </a:cxn>
                <a:cxn ang="0">
                  <a:pos x="169" y="223"/>
                </a:cxn>
                <a:cxn ang="0">
                  <a:pos x="18" y="289"/>
                </a:cxn>
                <a:cxn ang="0">
                  <a:pos x="0" y="345"/>
                </a:cxn>
              </a:cxnLst>
              <a:rect l="0" t="0" r="r" b="b"/>
              <a:pathLst>
                <a:path w="678" h="646">
                  <a:moveTo>
                    <a:pt x="0" y="345"/>
                  </a:moveTo>
                  <a:lnTo>
                    <a:pt x="3" y="358"/>
                  </a:lnTo>
                  <a:lnTo>
                    <a:pt x="126" y="439"/>
                  </a:lnTo>
                  <a:lnTo>
                    <a:pt x="394" y="616"/>
                  </a:lnTo>
                  <a:lnTo>
                    <a:pt x="397" y="646"/>
                  </a:lnTo>
                  <a:lnTo>
                    <a:pt x="423" y="642"/>
                  </a:lnTo>
                  <a:lnTo>
                    <a:pt x="476" y="629"/>
                  </a:lnTo>
                  <a:lnTo>
                    <a:pt x="678" y="490"/>
                  </a:lnTo>
                  <a:lnTo>
                    <a:pt x="599" y="398"/>
                  </a:lnTo>
                  <a:lnTo>
                    <a:pt x="601" y="249"/>
                  </a:lnTo>
                  <a:lnTo>
                    <a:pt x="591" y="182"/>
                  </a:lnTo>
                  <a:lnTo>
                    <a:pt x="535" y="114"/>
                  </a:lnTo>
                  <a:lnTo>
                    <a:pt x="563" y="91"/>
                  </a:lnTo>
                  <a:lnTo>
                    <a:pt x="577" y="0"/>
                  </a:lnTo>
                  <a:lnTo>
                    <a:pt x="338" y="15"/>
                  </a:lnTo>
                  <a:lnTo>
                    <a:pt x="214" y="69"/>
                  </a:lnTo>
                  <a:lnTo>
                    <a:pt x="246" y="179"/>
                  </a:lnTo>
                  <a:lnTo>
                    <a:pt x="192" y="182"/>
                  </a:lnTo>
                  <a:lnTo>
                    <a:pt x="164" y="194"/>
                  </a:lnTo>
                  <a:lnTo>
                    <a:pt x="169" y="223"/>
                  </a:lnTo>
                  <a:lnTo>
                    <a:pt x="18" y="289"/>
                  </a:lnTo>
                  <a:lnTo>
                    <a:pt x="0" y="34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79" name="30416413.5587.37557.12576.1255">
              <a:extLst>
                <a:ext uri="{FF2B5EF4-FFF2-40B4-BE49-F238E27FC236}">
                  <a16:creationId xmlns:a16="http://schemas.microsoft.com/office/drawing/2014/main" id="{E4197641-3319-4DF9-A9A9-FF0FA2525A4C}"/>
                </a:ext>
              </a:extLst>
            </p:cNvPr>
            <p:cNvSpPr>
              <a:spLocks noChangeAspect="1"/>
            </p:cNvSpPr>
            <p:nvPr/>
          </p:nvSpPr>
          <p:spPr bwMode="gray">
            <a:xfrm>
              <a:off x="9089602" y="4995392"/>
              <a:ext cx="1221089" cy="923415"/>
            </a:xfrm>
            <a:custGeom>
              <a:avLst/>
              <a:gdLst/>
              <a:ahLst/>
              <a:cxnLst>
                <a:cxn ang="0">
                  <a:pos x="24" y="542"/>
                </a:cxn>
                <a:cxn ang="0">
                  <a:pos x="36" y="528"/>
                </a:cxn>
                <a:cxn ang="0">
                  <a:pos x="27" y="381"/>
                </a:cxn>
                <a:cxn ang="0">
                  <a:pos x="119" y="334"/>
                </a:cxn>
                <a:cxn ang="0">
                  <a:pos x="307" y="249"/>
                </a:cxn>
                <a:cxn ang="0">
                  <a:pos x="325" y="191"/>
                </a:cxn>
                <a:cxn ang="0">
                  <a:pos x="345" y="187"/>
                </a:cxn>
                <a:cxn ang="0">
                  <a:pos x="378" y="164"/>
                </a:cxn>
                <a:cxn ang="0">
                  <a:pos x="483" y="117"/>
                </a:cxn>
                <a:cxn ang="0">
                  <a:pos x="514" y="138"/>
                </a:cxn>
                <a:cxn ang="0">
                  <a:pos x="539" y="121"/>
                </a:cxn>
                <a:cxn ang="0">
                  <a:pos x="650" y="48"/>
                </a:cxn>
                <a:cxn ang="0">
                  <a:pos x="782" y="56"/>
                </a:cxn>
                <a:cxn ang="0">
                  <a:pos x="902" y="239"/>
                </a:cxn>
                <a:cxn ang="0">
                  <a:pos x="956" y="47"/>
                </a:cxn>
                <a:cxn ang="0">
                  <a:pos x="1024" y="120"/>
                </a:cxn>
                <a:cxn ang="0">
                  <a:pos x="1111" y="283"/>
                </a:cxn>
                <a:cxn ang="0">
                  <a:pos x="1222" y="404"/>
                </a:cxn>
                <a:cxn ang="0">
                  <a:pos x="1261" y="440"/>
                </a:cxn>
                <a:cxn ang="0">
                  <a:pos x="1350" y="607"/>
                </a:cxn>
                <a:cxn ang="0">
                  <a:pos x="1274" y="799"/>
                </a:cxn>
                <a:cxn ang="0">
                  <a:pos x="1156" y="967"/>
                </a:cxn>
                <a:cxn ang="0">
                  <a:pos x="1112" y="1012"/>
                </a:cxn>
                <a:cxn ang="0">
                  <a:pos x="1012" y="999"/>
                </a:cxn>
                <a:cxn ang="0">
                  <a:pos x="898" y="945"/>
                </a:cxn>
                <a:cxn ang="0">
                  <a:pos x="836" y="878"/>
                </a:cxn>
                <a:cxn ang="0">
                  <a:pos x="822" y="860"/>
                </a:cxn>
                <a:cxn ang="0">
                  <a:pos x="824" y="762"/>
                </a:cxn>
                <a:cxn ang="0">
                  <a:pos x="737" y="836"/>
                </a:cxn>
                <a:cxn ang="0">
                  <a:pos x="608" y="722"/>
                </a:cxn>
                <a:cxn ang="0">
                  <a:pos x="354" y="807"/>
                </a:cxn>
                <a:cxn ang="0">
                  <a:pos x="160" y="858"/>
                </a:cxn>
                <a:cxn ang="0">
                  <a:pos x="87" y="728"/>
                </a:cxn>
              </a:cxnLst>
              <a:rect l="0" t="0" r="r" b="b"/>
              <a:pathLst>
                <a:path w="1350" h="1012">
                  <a:moveTo>
                    <a:pt x="0" y="534"/>
                  </a:moveTo>
                  <a:lnTo>
                    <a:pt x="24" y="542"/>
                  </a:lnTo>
                  <a:lnTo>
                    <a:pt x="10" y="512"/>
                  </a:lnTo>
                  <a:lnTo>
                    <a:pt x="36" y="528"/>
                  </a:lnTo>
                  <a:lnTo>
                    <a:pt x="9" y="470"/>
                  </a:lnTo>
                  <a:lnTo>
                    <a:pt x="27" y="381"/>
                  </a:lnTo>
                  <a:lnTo>
                    <a:pt x="35" y="404"/>
                  </a:lnTo>
                  <a:lnTo>
                    <a:pt x="119" y="334"/>
                  </a:lnTo>
                  <a:lnTo>
                    <a:pt x="259" y="301"/>
                  </a:lnTo>
                  <a:lnTo>
                    <a:pt x="307" y="249"/>
                  </a:lnTo>
                  <a:lnTo>
                    <a:pt x="306" y="216"/>
                  </a:lnTo>
                  <a:lnTo>
                    <a:pt x="325" y="191"/>
                  </a:lnTo>
                  <a:lnTo>
                    <a:pt x="345" y="231"/>
                  </a:lnTo>
                  <a:lnTo>
                    <a:pt x="345" y="187"/>
                  </a:lnTo>
                  <a:lnTo>
                    <a:pt x="377" y="197"/>
                  </a:lnTo>
                  <a:lnTo>
                    <a:pt x="378" y="164"/>
                  </a:lnTo>
                  <a:lnTo>
                    <a:pt x="429" y="114"/>
                  </a:lnTo>
                  <a:lnTo>
                    <a:pt x="483" y="117"/>
                  </a:lnTo>
                  <a:lnTo>
                    <a:pt x="494" y="166"/>
                  </a:lnTo>
                  <a:lnTo>
                    <a:pt x="514" y="138"/>
                  </a:lnTo>
                  <a:lnTo>
                    <a:pt x="554" y="154"/>
                  </a:lnTo>
                  <a:lnTo>
                    <a:pt x="539" y="121"/>
                  </a:lnTo>
                  <a:lnTo>
                    <a:pt x="571" y="69"/>
                  </a:lnTo>
                  <a:lnTo>
                    <a:pt x="650" y="48"/>
                  </a:lnTo>
                  <a:lnTo>
                    <a:pt x="630" y="14"/>
                  </a:lnTo>
                  <a:lnTo>
                    <a:pt x="782" y="56"/>
                  </a:lnTo>
                  <a:lnTo>
                    <a:pt x="749" y="146"/>
                  </a:lnTo>
                  <a:lnTo>
                    <a:pt x="902" y="239"/>
                  </a:lnTo>
                  <a:lnTo>
                    <a:pt x="939" y="202"/>
                  </a:lnTo>
                  <a:lnTo>
                    <a:pt x="956" y="47"/>
                  </a:lnTo>
                  <a:lnTo>
                    <a:pt x="993" y="0"/>
                  </a:lnTo>
                  <a:lnTo>
                    <a:pt x="1024" y="120"/>
                  </a:lnTo>
                  <a:lnTo>
                    <a:pt x="1076" y="146"/>
                  </a:lnTo>
                  <a:lnTo>
                    <a:pt x="1111" y="283"/>
                  </a:lnTo>
                  <a:lnTo>
                    <a:pt x="1193" y="327"/>
                  </a:lnTo>
                  <a:lnTo>
                    <a:pt x="1222" y="404"/>
                  </a:lnTo>
                  <a:lnTo>
                    <a:pt x="1254" y="399"/>
                  </a:lnTo>
                  <a:lnTo>
                    <a:pt x="1261" y="440"/>
                  </a:lnTo>
                  <a:lnTo>
                    <a:pt x="1328" y="499"/>
                  </a:lnTo>
                  <a:lnTo>
                    <a:pt x="1350" y="607"/>
                  </a:lnTo>
                  <a:lnTo>
                    <a:pt x="1335" y="710"/>
                  </a:lnTo>
                  <a:lnTo>
                    <a:pt x="1274" y="799"/>
                  </a:lnTo>
                  <a:lnTo>
                    <a:pt x="1232" y="950"/>
                  </a:lnTo>
                  <a:lnTo>
                    <a:pt x="1156" y="967"/>
                  </a:lnTo>
                  <a:lnTo>
                    <a:pt x="1109" y="994"/>
                  </a:lnTo>
                  <a:lnTo>
                    <a:pt x="1112" y="1012"/>
                  </a:lnTo>
                  <a:lnTo>
                    <a:pt x="1064" y="961"/>
                  </a:lnTo>
                  <a:lnTo>
                    <a:pt x="1012" y="999"/>
                  </a:lnTo>
                  <a:lnTo>
                    <a:pt x="949" y="982"/>
                  </a:lnTo>
                  <a:lnTo>
                    <a:pt x="898" y="945"/>
                  </a:lnTo>
                  <a:lnTo>
                    <a:pt x="874" y="868"/>
                  </a:lnTo>
                  <a:lnTo>
                    <a:pt x="836" y="878"/>
                  </a:lnTo>
                  <a:lnTo>
                    <a:pt x="835" y="827"/>
                  </a:lnTo>
                  <a:lnTo>
                    <a:pt x="822" y="860"/>
                  </a:lnTo>
                  <a:lnTo>
                    <a:pt x="795" y="861"/>
                  </a:lnTo>
                  <a:lnTo>
                    <a:pt x="824" y="762"/>
                  </a:lnTo>
                  <a:lnTo>
                    <a:pt x="765" y="856"/>
                  </a:lnTo>
                  <a:lnTo>
                    <a:pt x="737" y="836"/>
                  </a:lnTo>
                  <a:lnTo>
                    <a:pt x="707" y="763"/>
                  </a:lnTo>
                  <a:lnTo>
                    <a:pt x="608" y="722"/>
                  </a:lnTo>
                  <a:lnTo>
                    <a:pt x="428" y="754"/>
                  </a:lnTo>
                  <a:lnTo>
                    <a:pt x="354" y="807"/>
                  </a:lnTo>
                  <a:lnTo>
                    <a:pt x="230" y="812"/>
                  </a:lnTo>
                  <a:lnTo>
                    <a:pt x="160" y="858"/>
                  </a:lnTo>
                  <a:lnTo>
                    <a:pt x="66" y="825"/>
                  </a:lnTo>
                  <a:lnTo>
                    <a:pt x="87" y="728"/>
                  </a:lnTo>
                  <a:lnTo>
                    <a:pt x="0" y="53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80" name="304174746476.3756.6255">
              <a:extLst>
                <a:ext uri="{FF2B5EF4-FFF2-40B4-BE49-F238E27FC236}">
                  <a16:creationId xmlns:a16="http://schemas.microsoft.com/office/drawing/2014/main" id="{B04BDD9B-9964-414D-B86F-461AAD440C83}"/>
                </a:ext>
              </a:extLst>
            </p:cNvPr>
            <p:cNvSpPr>
              <a:spLocks noChangeAspect="1"/>
            </p:cNvSpPr>
            <p:nvPr/>
          </p:nvSpPr>
          <p:spPr bwMode="gray">
            <a:xfrm>
              <a:off x="10044412" y="5975990"/>
              <a:ext cx="108415" cy="104285"/>
            </a:xfrm>
            <a:custGeom>
              <a:avLst/>
              <a:gdLst/>
              <a:ahLst/>
              <a:cxnLst>
                <a:cxn ang="0">
                  <a:pos x="0" y="20"/>
                </a:cxn>
                <a:cxn ang="0">
                  <a:pos x="1" y="0"/>
                </a:cxn>
                <a:cxn ang="0">
                  <a:pos x="60" y="17"/>
                </a:cxn>
                <a:cxn ang="0">
                  <a:pos x="105" y="3"/>
                </a:cxn>
                <a:cxn ang="0">
                  <a:pos x="116" y="31"/>
                </a:cxn>
                <a:cxn ang="0">
                  <a:pos x="116" y="65"/>
                </a:cxn>
                <a:cxn ang="0">
                  <a:pos x="72" y="115"/>
                </a:cxn>
                <a:cxn ang="0">
                  <a:pos x="42" y="112"/>
                </a:cxn>
                <a:cxn ang="0">
                  <a:pos x="0" y="20"/>
                </a:cxn>
              </a:cxnLst>
              <a:rect l="0" t="0" r="r" b="b"/>
              <a:pathLst>
                <a:path w="116" h="115">
                  <a:moveTo>
                    <a:pt x="0" y="20"/>
                  </a:moveTo>
                  <a:lnTo>
                    <a:pt x="1" y="0"/>
                  </a:lnTo>
                  <a:lnTo>
                    <a:pt x="60" y="17"/>
                  </a:lnTo>
                  <a:lnTo>
                    <a:pt x="105" y="3"/>
                  </a:lnTo>
                  <a:lnTo>
                    <a:pt x="116" y="31"/>
                  </a:lnTo>
                  <a:lnTo>
                    <a:pt x="116" y="65"/>
                  </a:lnTo>
                  <a:lnTo>
                    <a:pt x="72" y="115"/>
                  </a:lnTo>
                  <a:lnTo>
                    <a:pt x="42" y="112"/>
                  </a:lnTo>
                  <a:lnTo>
                    <a:pt x="0" y="2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81" name="30418294.25392.1255.37514.3755">
              <a:extLst>
                <a:ext uri="{FF2B5EF4-FFF2-40B4-BE49-F238E27FC236}">
                  <a16:creationId xmlns:a16="http://schemas.microsoft.com/office/drawing/2014/main" id="{C03B2BAC-7340-40D9-98CB-EAEC001F8A72}"/>
                </a:ext>
              </a:extLst>
            </p:cNvPr>
            <p:cNvSpPr>
              <a:spLocks noChangeAspect="1"/>
            </p:cNvSpPr>
            <p:nvPr/>
          </p:nvSpPr>
          <p:spPr bwMode="gray">
            <a:xfrm>
              <a:off x="5958903" y="3066144"/>
              <a:ext cx="232046" cy="85783"/>
            </a:xfrm>
            <a:custGeom>
              <a:avLst/>
              <a:gdLst/>
              <a:ahLst/>
              <a:cxnLst>
                <a:cxn ang="0">
                  <a:pos x="0" y="55"/>
                </a:cxn>
                <a:cxn ang="0">
                  <a:pos x="4" y="59"/>
                </a:cxn>
                <a:cxn ang="0">
                  <a:pos x="5" y="77"/>
                </a:cxn>
                <a:cxn ang="0">
                  <a:pos x="33" y="81"/>
                </a:cxn>
                <a:cxn ang="0">
                  <a:pos x="85" y="72"/>
                </a:cxn>
                <a:cxn ang="0">
                  <a:pos x="142" y="98"/>
                </a:cxn>
                <a:cxn ang="0">
                  <a:pos x="221" y="80"/>
                </a:cxn>
                <a:cxn ang="0">
                  <a:pos x="256" y="30"/>
                </a:cxn>
                <a:cxn ang="0">
                  <a:pos x="242" y="0"/>
                </a:cxn>
                <a:cxn ang="0">
                  <a:pos x="143" y="1"/>
                </a:cxn>
                <a:cxn ang="0">
                  <a:pos x="113" y="54"/>
                </a:cxn>
                <a:cxn ang="0">
                  <a:pos x="0" y="55"/>
                </a:cxn>
              </a:cxnLst>
              <a:rect l="0" t="0" r="r" b="b"/>
              <a:pathLst>
                <a:path w="256" h="98">
                  <a:moveTo>
                    <a:pt x="0" y="55"/>
                  </a:moveTo>
                  <a:lnTo>
                    <a:pt x="4" y="59"/>
                  </a:lnTo>
                  <a:lnTo>
                    <a:pt x="5" y="77"/>
                  </a:lnTo>
                  <a:lnTo>
                    <a:pt x="33" y="81"/>
                  </a:lnTo>
                  <a:lnTo>
                    <a:pt x="85" y="72"/>
                  </a:lnTo>
                  <a:lnTo>
                    <a:pt x="142" y="98"/>
                  </a:lnTo>
                  <a:lnTo>
                    <a:pt x="221" y="80"/>
                  </a:lnTo>
                  <a:lnTo>
                    <a:pt x="256" y="30"/>
                  </a:lnTo>
                  <a:lnTo>
                    <a:pt x="242" y="0"/>
                  </a:lnTo>
                  <a:lnTo>
                    <a:pt x="143" y="1"/>
                  </a:lnTo>
                  <a:lnTo>
                    <a:pt x="113" y="54"/>
                  </a:lnTo>
                  <a:lnTo>
                    <a:pt x="0" y="5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82" name="30419342.625539.87511.12595">
              <a:extLst>
                <a:ext uri="{FF2B5EF4-FFF2-40B4-BE49-F238E27FC236}">
                  <a16:creationId xmlns:a16="http://schemas.microsoft.com/office/drawing/2014/main" id="{67CA04C7-C698-4C61-A3FE-A8650F274712}"/>
                </a:ext>
              </a:extLst>
            </p:cNvPr>
            <p:cNvSpPr>
              <a:spLocks noChangeAspect="1"/>
            </p:cNvSpPr>
            <p:nvPr/>
          </p:nvSpPr>
          <p:spPr bwMode="gray">
            <a:xfrm>
              <a:off x="8326900" y="3846589"/>
              <a:ext cx="144553" cy="181654"/>
            </a:xfrm>
            <a:custGeom>
              <a:avLst/>
              <a:gdLst/>
              <a:ahLst/>
              <a:cxnLst>
                <a:cxn ang="0">
                  <a:pos x="0" y="59"/>
                </a:cxn>
                <a:cxn ang="0">
                  <a:pos x="22" y="80"/>
                </a:cxn>
                <a:cxn ang="0">
                  <a:pos x="34" y="172"/>
                </a:cxn>
                <a:cxn ang="0">
                  <a:pos x="74" y="166"/>
                </a:cxn>
                <a:cxn ang="0">
                  <a:pos x="98" y="126"/>
                </a:cxn>
                <a:cxn ang="0">
                  <a:pos x="126" y="135"/>
                </a:cxn>
                <a:cxn ang="0">
                  <a:pos x="146" y="198"/>
                </a:cxn>
                <a:cxn ang="0">
                  <a:pos x="159" y="162"/>
                </a:cxn>
                <a:cxn ang="0">
                  <a:pos x="142" y="97"/>
                </a:cxn>
                <a:cxn ang="0">
                  <a:pos x="126" y="122"/>
                </a:cxn>
                <a:cxn ang="0">
                  <a:pos x="106" y="91"/>
                </a:cxn>
                <a:cxn ang="0">
                  <a:pos x="144" y="51"/>
                </a:cxn>
                <a:cxn ang="0">
                  <a:pos x="69" y="45"/>
                </a:cxn>
                <a:cxn ang="0">
                  <a:pos x="21" y="0"/>
                </a:cxn>
                <a:cxn ang="0">
                  <a:pos x="5" y="25"/>
                </a:cxn>
                <a:cxn ang="0">
                  <a:pos x="23" y="45"/>
                </a:cxn>
                <a:cxn ang="0">
                  <a:pos x="0" y="59"/>
                </a:cxn>
              </a:cxnLst>
              <a:rect l="0" t="0" r="r" b="b"/>
              <a:pathLst>
                <a:path w="159" h="198">
                  <a:moveTo>
                    <a:pt x="0" y="59"/>
                  </a:moveTo>
                  <a:lnTo>
                    <a:pt x="22" y="80"/>
                  </a:lnTo>
                  <a:lnTo>
                    <a:pt x="34" y="172"/>
                  </a:lnTo>
                  <a:lnTo>
                    <a:pt x="74" y="166"/>
                  </a:lnTo>
                  <a:lnTo>
                    <a:pt x="98" y="126"/>
                  </a:lnTo>
                  <a:lnTo>
                    <a:pt x="126" y="135"/>
                  </a:lnTo>
                  <a:lnTo>
                    <a:pt x="146" y="198"/>
                  </a:lnTo>
                  <a:lnTo>
                    <a:pt x="159" y="162"/>
                  </a:lnTo>
                  <a:lnTo>
                    <a:pt x="142" y="97"/>
                  </a:lnTo>
                  <a:lnTo>
                    <a:pt x="126" y="122"/>
                  </a:lnTo>
                  <a:lnTo>
                    <a:pt x="106" y="91"/>
                  </a:lnTo>
                  <a:lnTo>
                    <a:pt x="144" y="51"/>
                  </a:lnTo>
                  <a:lnTo>
                    <a:pt x="69" y="45"/>
                  </a:lnTo>
                  <a:lnTo>
                    <a:pt x="21" y="0"/>
                  </a:lnTo>
                  <a:lnTo>
                    <a:pt x="5" y="25"/>
                  </a:lnTo>
                  <a:lnTo>
                    <a:pt x="23" y="45"/>
                  </a:lnTo>
                  <a:lnTo>
                    <a:pt x="0" y="5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83" name="30420287.625379.754.62565">
              <a:extLst>
                <a:ext uri="{FF2B5EF4-FFF2-40B4-BE49-F238E27FC236}">
                  <a16:creationId xmlns:a16="http://schemas.microsoft.com/office/drawing/2014/main" id="{DE24B2AA-1C96-44AE-A3D0-EA72382181C8}"/>
                </a:ext>
              </a:extLst>
            </p:cNvPr>
            <p:cNvSpPr>
              <a:spLocks noChangeAspect="1"/>
            </p:cNvSpPr>
            <p:nvPr/>
          </p:nvSpPr>
          <p:spPr bwMode="gray">
            <a:xfrm>
              <a:off x="5759190" y="2958497"/>
              <a:ext cx="98904" cy="74007"/>
            </a:xfrm>
            <a:custGeom>
              <a:avLst/>
              <a:gdLst/>
              <a:ahLst/>
              <a:cxnLst>
                <a:cxn ang="0">
                  <a:pos x="0" y="15"/>
                </a:cxn>
                <a:cxn ang="0">
                  <a:pos x="25" y="4"/>
                </a:cxn>
                <a:cxn ang="0">
                  <a:pos x="73" y="0"/>
                </a:cxn>
                <a:cxn ang="0">
                  <a:pos x="106" y="32"/>
                </a:cxn>
                <a:cxn ang="0">
                  <a:pos x="109" y="56"/>
                </a:cxn>
                <a:cxn ang="0">
                  <a:pos x="96" y="78"/>
                </a:cxn>
                <a:cxn ang="0">
                  <a:pos x="0" y="15"/>
                </a:cxn>
              </a:cxnLst>
              <a:rect l="0" t="0" r="r" b="b"/>
              <a:pathLst>
                <a:path w="109" h="78">
                  <a:moveTo>
                    <a:pt x="0" y="15"/>
                  </a:moveTo>
                  <a:lnTo>
                    <a:pt x="25" y="4"/>
                  </a:lnTo>
                  <a:lnTo>
                    <a:pt x="73" y="0"/>
                  </a:lnTo>
                  <a:lnTo>
                    <a:pt x="106" y="32"/>
                  </a:lnTo>
                  <a:lnTo>
                    <a:pt x="109" y="56"/>
                  </a:lnTo>
                  <a:lnTo>
                    <a:pt x="96" y="78"/>
                  </a:lnTo>
                  <a:lnTo>
                    <a:pt x="0" y="1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84" name="30421339.125541.753.255.755">
              <a:extLst>
                <a:ext uri="{FF2B5EF4-FFF2-40B4-BE49-F238E27FC236}">
                  <a16:creationId xmlns:a16="http://schemas.microsoft.com/office/drawing/2014/main" id="{5429C6D4-DE51-461C-80E8-1D780FD4807C}"/>
                </a:ext>
              </a:extLst>
            </p:cNvPr>
            <p:cNvSpPr>
              <a:spLocks noChangeAspect="1"/>
            </p:cNvSpPr>
            <p:nvPr/>
          </p:nvSpPr>
          <p:spPr bwMode="gray">
            <a:xfrm>
              <a:off x="8357333" y="3791084"/>
              <a:ext cx="93199" cy="53825"/>
            </a:xfrm>
            <a:custGeom>
              <a:avLst/>
              <a:gdLst/>
              <a:ahLst/>
              <a:cxnLst>
                <a:cxn ang="0">
                  <a:pos x="0" y="34"/>
                </a:cxn>
                <a:cxn ang="0">
                  <a:pos x="14" y="56"/>
                </a:cxn>
                <a:cxn ang="0">
                  <a:pos x="102" y="47"/>
                </a:cxn>
                <a:cxn ang="0">
                  <a:pos x="97" y="16"/>
                </a:cxn>
                <a:cxn ang="0">
                  <a:pos x="33" y="0"/>
                </a:cxn>
                <a:cxn ang="0">
                  <a:pos x="0" y="34"/>
                </a:cxn>
              </a:cxnLst>
              <a:rect l="0" t="0" r="r" b="b"/>
              <a:pathLst>
                <a:path w="102" h="56">
                  <a:moveTo>
                    <a:pt x="0" y="34"/>
                  </a:moveTo>
                  <a:lnTo>
                    <a:pt x="14" y="56"/>
                  </a:lnTo>
                  <a:lnTo>
                    <a:pt x="102" y="47"/>
                  </a:lnTo>
                  <a:lnTo>
                    <a:pt x="97" y="16"/>
                  </a:lnTo>
                  <a:lnTo>
                    <a:pt x="33" y="0"/>
                  </a:lnTo>
                  <a:lnTo>
                    <a:pt x="0" y="3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85" name="30424383.875589.12522.255">
              <a:extLst>
                <a:ext uri="{FF2B5EF4-FFF2-40B4-BE49-F238E27FC236}">
                  <a16:creationId xmlns:a16="http://schemas.microsoft.com/office/drawing/2014/main" id="{0E9D0D78-2F70-429B-A781-80B4B51CF53A}"/>
                </a:ext>
              </a:extLst>
            </p:cNvPr>
            <p:cNvSpPr>
              <a:spLocks noChangeAspect="1"/>
            </p:cNvSpPr>
            <p:nvPr/>
          </p:nvSpPr>
          <p:spPr bwMode="gray">
            <a:xfrm>
              <a:off x="9118135" y="4516021"/>
              <a:ext cx="34238" cy="31958"/>
            </a:xfrm>
            <a:custGeom>
              <a:avLst/>
              <a:gdLst/>
              <a:ahLst/>
              <a:cxnLst>
                <a:cxn ang="0">
                  <a:pos x="0" y="15"/>
                </a:cxn>
                <a:cxn ang="0">
                  <a:pos x="21" y="34"/>
                </a:cxn>
                <a:cxn ang="0">
                  <a:pos x="40" y="0"/>
                </a:cxn>
                <a:cxn ang="0">
                  <a:pos x="0" y="15"/>
                </a:cxn>
              </a:cxnLst>
              <a:rect l="0" t="0" r="r" b="b"/>
              <a:pathLst>
                <a:path w="40" h="34">
                  <a:moveTo>
                    <a:pt x="0" y="15"/>
                  </a:moveTo>
                  <a:lnTo>
                    <a:pt x="21" y="34"/>
                  </a:lnTo>
                  <a:lnTo>
                    <a:pt x="40" y="0"/>
                  </a:lnTo>
                  <a:lnTo>
                    <a:pt x="0" y="1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86" name="30425339.554834.875175">
              <a:extLst>
                <a:ext uri="{FF2B5EF4-FFF2-40B4-BE49-F238E27FC236}">
                  <a16:creationId xmlns:a16="http://schemas.microsoft.com/office/drawing/2014/main" id="{77D4047D-6245-4836-9791-5D5E2F342FD4}"/>
                </a:ext>
              </a:extLst>
            </p:cNvPr>
            <p:cNvSpPr>
              <a:spLocks noChangeAspect="1"/>
            </p:cNvSpPr>
            <p:nvPr/>
          </p:nvSpPr>
          <p:spPr bwMode="gray">
            <a:xfrm>
              <a:off x="8460042" y="3796130"/>
              <a:ext cx="271986" cy="565150"/>
            </a:xfrm>
            <a:custGeom>
              <a:avLst/>
              <a:gdLst/>
              <a:ahLst/>
              <a:cxnLst>
                <a:cxn ang="0">
                  <a:pos x="0" y="255"/>
                </a:cxn>
                <a:cxn ang="0">
                  <a:pos x="13" y="219"/>
                </a:cxn>
                <a:cxn ang="0">
                  <a:pos x="100" y="58"/>
                </a:cxn>
                <a:cxn ang="0">
                  <a:pos x="159" y="36"/>
                </a:cxn>
                <a:cxn ang="0">
                  <a:pos x="173" y="0"/>
                </a:cxn>
                <a:cxn ang="0">
                  <a:pos x="214" y="21"/>
                </a:cxn>
                <a:cxn ang="0">
                  <a:pos x="215" y="53"/>
                </a:cxn>
                <a:cxn ang="0">
                  <a:pos x="180" y="152"/>
                </a:cxn>
                <a:cxn ang="0">
                  <a:pos x="218" y="143"/>
                </a:cxn>
                <a:cxn ang="0">
                  <a:pos x="237" y="211"/>
                </a:cxn>
                <a:cxn ang="0">
                  <a:pos x="301" y="229"/>
                </a:cxn>
                <a:cxn ang="0">
                  <a:pos x="269" y="260"/>
                </a:cxn>
                <a:cxn ang="0">
                  <a:pos x="198" y="302"/>
                </a:cxn>
                <a:cxn ang="0">
                  <a:pos x="180" y="342"/>
                </a:cxn>
                <a:cxn ang="0">
                  <a:pos x="218" y="417"/>
                </a:cxn>
                <a:cxn ang="0">
                  <a:pos x="203" y="461"/>
                </a:cxn>
                <a:cxn ang="0">
                  <a:pos x="250" y="560"/>
                </a:cxn>
                <a:cxn ang="0">
                  <a:pos x="215" y="619"/>
                </a:cxn>
                <a:cxn ang="0">
                  <a:pos x="181" y="408"/>
                </a:cxn>
                <a:cxn ang="0">
                  <a:pos x="152" y="375"/>
                </a:cxn>
                <a:cxn ang="0">
                  <a:pos x="104" y="431"/>
                </a:cxn>
                <a:cxn ang="0">
                  <a:pos x="67" y="420"/>
                </a:cxn>
                <a:cxn ang="0">
                  <a:pos x="74" y="343"/>
                </a:cxn>
                <a:cxn ang="0">
                  <a:pos x="0" y="255"/>
                </a:cxn>
              </a:cxnLst>
              <a:rect l="0" t="0" r="r" b="b"/>
              <a:pathLst>
                <a:path w="301" h="619">
                  <a:moveTo>
                    <a:pt x="0" y="255"/>
                  </a:moveTo>
                  <a:lnTo>
                    <a:pt x="13" y="219"/>
                  </a:lnTo>
                  <a:lnTo>
                    <a:pt x="100" y="58"/>
                  </a:lnTo>
                  <a:lnTo>
                    <a:pt x="159" y="36"/>
                  </a:lnTo>
                  <a:lnTo>
                    <a:pt x="173" y="0"/>
                  </a:lnTo>
                  <a:lnTo>
                    <a:pt x="214" y="21"/>
                  </a:lnTo>
                  <a:lnTo>
                    <a:pt x="215" y="53"/>
                  </a:lnTo>
                  <a:lnTo>
                    <a:pt x="180" y="152"/>
                  </a:lnTo>
                  <a:lnTo>
                    <a:pt x="218" y="143"/>
                  </a:lnTo>
                  <a:lnTo>
                    <a:pt x="237" y="211"/>
                  </a:lnTo>
                  <a:lnTo>
                    <a:pt x="301" y="229"/>
                  </a:lnTo>
                  <a:lnTo>
                    <a:pt x="269" y="260"/>
                  </a:lnTo>
                  <a:lnTo>
                    <a:pt x="198" y="302"/>
                  </a:lnTo>
                  <a:lnTo>
                    <a:pt x="180" y="342"/>
                  </a:lnTo>
                  <a:lnTo>
                    <a:pt x="218" y="417"/>
                  </a:lnTo>
                  <a:lnTo>
                    <a:pt x="203" y="461"/>
                  </a:lnTo>
                  <a:lnTo>
                    <a:pt x="250" y="560"/>
                  </a:lnTo>
                  <a:lnTo>
                    <a:pt x="215" y="619"/>
                  </a:lnTo>
                  <a:lnTo>
                    <a:pt x="181" y="408"/>
                  </a:lnTo>
                  <a:lnTo>
                    <a:pt x="152" y="375"/>
                  </a:lnTo>
                  <a:lnTo>
                    <a:pt x="104" y="431"/>
                  </a:lnTo>
                  <a:lnTo>
                    <a:pt x="67" y="420"/>
                  </a:lnTo>
                  <a:lnTo>
                    <a:pt x="74" y="343"/>
                  </a:lnTo>
                  <a:lnTo>
                    <a:pt x="0" y="25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87" name="30426365.625567.58.1259.55">
              <a:extLst>
                <a:ext uri="{FF2B5EF4-FFF2-40B4-BE49-F238E27FC236}">
                  <a16:creationId xmlns:a16="http://schemas.microsoft.com/office/drawing/2014/main" id="{6E1BCCB8-AE6C-4EA3-9EB5-503924DB006D}"/>
                </a:ext>
              </a:extLst>
            </p:cNvPr>
            <p:cNvSpPr>
              <a:spLocks noChangeAspect="1"/>
            </p:cNvSpPr>
            <p:nvPr/>
          </p:nvSpPr>
          <p:spPr bwMode="gray">
            <a:xfrm>
              <a:off x="8770067" y="4218311"/>
              <a:ext cx="152160" cy="134559"/>
            </a:xfrm>
            <a:custGeom>
              <a:avLst/>
              <a:gdLst/>
              <a:ahLst/>
              <a:cxnLst>
                <a:cxn ang="0">
                  <a:pos x="0" y="29"/>
                </a:cxn>
                <a:cxn ang="0">
                  <a:pos x="12" y="100"/>
                </a:cxn>
                <a:cxn ang="0">
                  <a:pos x="34" y="137"/>
                </a:cxn>
                <a:cxn ang="0">
                  <a:pos x="67" y="143"/>
                </a:cxn>
                <a:cxn ang="0">
                  <a:pos x="167" y="77"/>
                </a:cxn>
                <a:cxn ang="0">
                  <a:pos x="163" y="0"/>
                </a:cxn>
                <a:cxn ang="0">
                  <a:pos x="88" y="12"/>
                </a:cxn>
                <a:cxn ang="0">
                  <a:pos x="23" y="9"/>
                </a:cxn>
                <a:cxn ang="0">
                  <a:pos x="0" y="29"/>
                </a:cxn>
              </a:cxnLst>
              <a:rect l="0" t="0" r="r" b="b"/>
              <a:pathLst>
                <a:path w="167" h="143">
                  <a:moveTo>
                    <a:pt x="0" y="29"/>
                  </a:moveTo>
                  <a:lnTo>
                    <a:pt x="12" y="100"/>
                  </a:lnTo>
                  <a:lnTo>
                    <a:pt x="34" y="137"/>
                  </a:lnTo>
                  <a:lnTo>
                    <a:pt x="67" y="143"/>
                  </a:lnTo>
                  <a:lnTo>
                    <a:pt x="167" y="77"/>
                  </a:lnTo>
                  <a:lnTo>
                    <a:pt x="163" y="0"/>
                  </a:lnTo>
                  <a:lnTo>
                    <a:pt x="88" y="12"/>
                  </a:lnTo>
                  <a:lnTo>
                    <a:pt x="23" y="9"/>
                  </a:lnTo>
                  <a:lnTo>
                    <a:pt x="0" y="2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88" name="30446375.125524.8756.8753.55">
              <a:extLst>
                <a:ext uri="{FF2B5EF4-FFF2-40B4-BE49-F238E27FC236}">
                  <a16:creationId xmlns:a16="http://schemas.microsoft.com/office/drawing/2014/main" id="{E52FB7B3-89B6-43DA-9DEA-EEE31EEF670A}"/>
                </a:ext>
              </a:extLst>
            </p:cNvPr>
            <p:cNvSpPr>
              <a:spLocks noChangeAspect="1"/>
            </p:cNvSpPr>
            <p:nvPr/>
          </p:nvSpPr>
          <p:spPr bwMode="gray">
            <a:xfrm>
              <a:off x="8085343" y="4373052"/>
              <a:ext cx="57060" cy="112692"/>
            </a:xfrm>
            <a:custGeom>
              <a:avLst/>
              <a:gdLst/>
              <a:ahLst/>
              <a:cxnLst>
                <a:cxn ang="0">
                  <a:pos x="0" y="0"/>
                </a:cxn>
                <a:cxn ang="0">
                  <a:pos x="11" y="124"/>
                </a:cxn>
                <a:cxn ang="0">
                  <a:pos x="62" y="102"/>
                </a:cxn>
                <a:cxn ang="0">
                  <a:pos x="37" y="29"/>
                </a:cxn>
                <a:cxn ang="0">
                  <a:pos x="0" y="0"/>
                </a:cxn>
              </a:cxnLst>
              <a:rect l="0" t="0" r="r" b="b"/>
              <a:pathLst>
                <a:path w="62" h="124">
                  <a:moveTo>
                    <a:pt x="0" y="0"/>
                  </a:moveTo>
                  <a:lnTo>
                    <a:pt x="11" y="124"/>
                  </a:lnTo>
                  <a:lnTo>
                    <a:pt x="62" y="102"/>
                  </a:lnTo>
                  <a:lnTo>
                    <a:pt x="37" y="29"/>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89" name="30447345.625600.56.1253.3755">
              <a:extLst>
                <a:ext uri="{FF2B5EF4-FFF2-40B4-BE49-F238E27FC236}">
                  <a16:creationId xmlns:a16="http://schemas.microsoft.com/office/drawing/2014/main" id="{E88FDE65-3260-42B4-AF6F-F8569FFE190C}"/>
                </a:ext>
              </a:extLst>
            </p:cNvPr>
            <p:cNvSpPr>
              <a:spLocks noChangeAspect="1"/>
            </p:cNvSpPr>
            <p:nvPr/>
          </p:nvSpPr>
          <p:spPr bwMode="gray">
            <a:xfrm>
              <a:off x="9300727" y="3897049"/>
              <a:ext cx="55156" cy="99239"/>
            </a:xfrm>
            <a:custGeom>
              <a:avLst/>
              <a:gdLst/>
              <a:ahLst/>
              <a:cxnLst>
                <a:cxn ang="0">
                  <a:pos x="0" y="44"/>
                </a:cxn>
                <a:cxn ang="0">
                  <a:pos x="23" y="109"/>
                </a:cxn>
                <a:cxn ang="0">
                  <a:pos x="59" y="0"/>
                </a:cxn>
                <a:cxn ang="0">
                  <a:pos x="28" y="2"/>
                </a:cxn>
                <a:cxn ang="0">
                  <a:pos x="0" y="44"/>
                </a:cxn>
              </a:cxnLst>
              <a:rect l="0" t="0" r="r" b="b"/>
              <a:pathLst>
                <a:path w="59" h="109">
                  <a:moveTo>
                    <a:pt x="0" y="44"/>
                  </a:moveTo>
                  <a:lnTo>
                    <a:pt x="23" y="109"/>
                  </a:lnTo>
                  <a:lnTo>
                    <a:pt x="59" y="0"/>
                  </a:lnTo>
                  <a:lnTo>
                    <a:pt x="28" y="2"/>
                  </a:lnTo>
                  <a:lnTo>
                    <a:pt x="0" y="4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90" name="30450271.5389.757.555">
              <a:extLst>
                <a:ext uri="{FF2B5EF4-FFF2-40B4-BE49-F238E27FC236}">
                  <a16:creationId xmlns:a16="http://schemas.microsoft.com/office/drawing/2014/main" id="{107C4ABD-E348-4D78-A811-8AA39E57C295}"/>
                </a:ext>
              </a:extLst>
            </p:cNvPr>
            <p:cNvSpPr>
              <a:spLocks noChangeAspect="1"/>
            </p:cNvSpPr>
            <p:nvPr/>
          </p:nvSpPr>
          <p:spPr bwMode="gray">
            <a:xfrm>
              <a:off x="5920860" y="2696107"/>
              <a:ext cx="79883" cy="122787"/>
            </a:xfrm>
            <a:custGeom>
              <a:avLst/>
              <a:gdLst/>
              <a:ahLst/>
              <a:cxnLst>
                <a:cxn ang="0">
                  <a:pos x="0" y="100"/>
                </a:cxn>
                <a:cxn ang="0">
                  <a:pos x="6" y="36"/>
                </a:cxn>
                <a:cxn ang="0">
                  <a:pos x="76" y="0"/>
                </a:cxn>
                <a:cxn ang="0">
                  <a:pos x="64" y="51"/>
                </a:cxn>
                <a:cxn ang="0">
                  <a:pos x="88" y="66"/>
                </a:cxn>
                <a:cxn ang="0">
                  <a:pos x="44" y="95"/>
                </a:cxn>
                <a:cxn ang="0">
                  <a:pos x="43" y="132"/>
                </a:cxn>
                <a:cxn ang="0">
                  <a:pos x="17" y="132"/>
                </a:cxn>
                <a:cxn ang="0">
                  <a:pos x="0" y="100"/>
                </a:cxn>
              </a:cxnLst>
              <a:rect l="0" t="0" r="r" b="b"/>
              <a:pathLst>
                <a:path w="88" h="132">
                  <a:moveTo>
                    <a:pt x="0" y="100"/>
                  </a:moveTo>
                  <a:lnTo>
                    <a:pt x="6" y="36"/>
                  </a:lnTo>
                  <a:lnTo>
                    <a:pt x="76" y="0"/>
                  </a:lnTo>
                  <a:lnTo>
                    <a:pt x="64" y="51"/>
                  </a:lnTo>
                  <a:lnTo>
                    <a:pt x="88" y="66"/>
                  </a:lnTo>
                  <a:lnTo>
                    <a:pt x="44" y="95"/>
                  </a:lnTo>
                  <a:lnTo>
                    <a:pt x="43" y="132"/>
                  </a:lnTo>
                  <a:lnTo>
                    <a:pt x="17" y="132"/>
                  </a:lnTo>
                  <a:lnTo>
                    <a:pt x="0" y="10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91" name="30451277.12539311.8755">
              <a:extLst>
                <a:ext uri="{FF2B5EF4-FFF2-40B4-BE49-F238E27FC236}">
                  <a16:creationId xmlns:a16="http://schemas.microsoft.com/office/drawing/2014/main" id="{E55F5E45-B5E3-4593-9CE6-924756E7E5E2}"/>
                </a:ext>
              </a:extLst>
            </p:cNvPr>
            <p:cNvSpPr>
              <a:spLocks noChangeAspect="1"/>
            </p:cNvSpPr>
            <p:nvPr/>
          </p:nvSpPr>
          <p:spPr bwMode="gray">
            <a:xfrm>
              <a:off x="5972215" y="2785251"/>
              <a:ext cx="30433" cy="18502"/>
            </a:xfrm>
            <a:custGeom>
              <a:avLst/>
              <a:gdLst/>
              <a:ahLst/>
              <a:cxnLst>
                <a:cxn ang="0">
                  <a:pos x="0" y="16"/>
                </a:cxn>
                <a:cxn ang="0">
                  <a:pos x="25" y="0"/>
                </a:cxn>
                <a:cxn ang="0">
                  <a:pos x="32" y="11"/>
                </a:cxn>
                <a:cxn ang="0">
                  <a:pos x="0" y="16"/>
                </a:cxn>
              </a:cxnLst>
              <a:rect l="0" t="0" r="r" b="b"/>
              <a:pathLst>
                <a:path w="32" h="16">
                  <a:moveTo>
                    <a:pt x="0" y="16"/>
                  </a:moveTo>
                  <a:lnTo>
                    <a:pt x="25" y="0"/>
                  </a:lnTo>
                  <a:lnTo>
                    <a:pt x="32" y="11"/>
                  </a:lnTo>
                  <a:lnTo>
                    <a:pt x="0" y="16"/>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92" name="30452275.5395.253.2535">
              <a:extLst>
                <a:ext uri="{FF2B5EF4-FFF2-40B4-BE49-F238E27FC236}">
                  <a16:creationId xmlns:a16="http://schemas.microsoft.com/office/drawing/2014/main" id="{460CF1CA-8538-40C4-B823-B72A37B26EEF}"/>
                </a:ext>
              </a:extLst>
            </p:cNvPr>
            <p:cNvSpPr>
              <a:spLocks noChangeAspect="1"/>
            </p:cNvSpPr>
            <p:nvPr/>
          </p:nvSpPr>
          <p:spPr bwMode="gray">
            <a:xfrm>
              <a:off x="6010257" y="2760019"/>
              <a:ext cx="47550" cy="52141"/>
            </a:xfrm>
            <a:custGeom>
              <a:avLst/>
              <a:gdLst/>
              <a:ahLst/>
              <a:cxnLst>
                <a:cxn ang="0">
                  <a:pos x="0" y="29"/>
                </a:cxn>
                <a:cxn ang="0">
                  <a:pos x="39" y="56"/>
                </a:cxn>
                <a:cxn ang="0">
                  <a:pos x="53" y="27"/>
                </a:cxn>
                <a:cxn ang="0">
                  <a:pos x="43" y="0"/>
                </a:cxn>
                <a:cxn ang="0">
                  <a:pos x="0" y="29"/>
                </a:cxn>
              </a:cxnLst>
              <a:rect l="0" t="0" r="r" b="b"/>
              <a:pathLst>
                <a:path w="53" h="56">
                  <a:moveTo>
                    <a:pt x="0" y="29"/>
                  </a:moveTo>
                  <a:lnTo>
                    <a:pt x="39" y="56"/>
                  </a:lnTo>
                  <a:lnTo>
                    <a:pt x="53" y="27"/>
                  </a:lnTo>
                  <a:lnTo>
                    <a:pt x="43" y="0"/>
                  </a:lnTo>
                  <a:lnTo>
                    <a:pt x="0" y="2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93" name="30457234.75413.12530.7520.55">
              <a:extLst>
                <a:ext uri="{FF2B5EF4-FFF2-40B4-BE49-F238E27FC236}">
                  <a16:creationId xmlns:a16="http://schemas.microsoft.com/office/drawing/2014/main" id="{33F7219B-9507-46A6-9D17-A8E8BC504944}"/>
                </a:ext>
              </a:extLst>
            </p:cNvPr>
            <p:cNvSpPr>
              <a:spLocks noChangeAspect="1"/>
            </p:cNvSpPr>
            <p:nvPr/>
          </p:nvSpPr>
          <p:spPr bwMode="gray">
            <a:xfrm>
              <a:off x="6295559" y="2098998"/>
              <a:ext cx="329046" cy="499550"/>
            </a:xfrm>
            <a:custGeom>
              <a:avLst/>
              <a:gdLst/>
              <a:ahLst/>
              <a:cxnLst>
                <a:cxn ang="0">
                  <a:pos x="0" y="57"/>
                </a:cxn>
                <a:cxn ang="0">
                  <a:pos x="24" y="40"/>
                </a:cxn>
                <a:cxn ang="0">
                  <a:pos x="62" y="73"/>
                </a:cxn>
                <a:cxn ang="0">
                  <a:pos x="132" y="79"/>
                </a:cxn>
                <a:cxn ang="0">
                  <a:pos x="172" y="58"/>
                </a:cxn>
                <a:cxn ang="0">
                  <a:pos x="183" y="13"/>
                </a:cxn>
                <a:cxn ang="0">
                  <a:pos x="249" y="0"/>
                </a:cxn>
                <a:cxn ang="0">
                  <a:pos x="285" y="18"/>
                </a:cxn>
                <a:cxn ang="0">
                  <a:pos x="281" y="57"/>
                </a:cxn>
                <a:cxn ang="0">
                  <a:pos x="267" y="95"/>
                </a:cxn>
                <a:cxn ang="0">
                  <a:pos x="314" y="142"/>
                </a:cxn>
                <a:cxn ang="0">
                  <a:pos x="286" y="177"/>
                </a:cxn>
                <a:cxn ang="0">
                  <a:pos x="321" y="237"/>
                </a:cxn>
                <a:cxn ang="0">
                  <a:pos x="307" y="291"/>
                </a:cxn>
                <a:cxn ang="0">
                  <a:pos x="363" y="405"/>
                </a:cxn>
                <a:cxn ang="0">
                  <a:pos x="235" y="512"/>
                </a:cxn>
                <a:cxn ang="0">
                  <a:pos x="81" y="547"/>
                </a:cxn>
                <a:cxn ang="0">
                  <a:pos x="73" y="525"/>
                </a:cxn>
                <a:cxn ang="0">
                  <a:pos x="24" y="508"/>
                </a:cxn>
                <a:cxn ang="0">
                  <a:pos x="17" y="402"/>
                </a:cxn>
                <a:cxn ang="0">
                  <a:pos x="164" y="287"/>
                </a:cxn>
                <a:cxn ang="0">
                  <a:pos x="116" y="230"/>
                </a:cxn>
                <a:cxn ang="0">
                  <a:pos x="98" y="116"/>
                </a:cxn>
                <a:cxn ang="0">
                  <a:pos x="0" y="57"/>
                </a:cxn>
              </a:cxnLst>
              <a:rect l="0" t="0" r="r" b="b"/>
              <a:pathLst>
                <a:path w="363" h="547">
                  <a:moveTo>
                    <a:pt x="0" y="57"/>
                  </a:moveTo>
                  <a:lnTo>
                    <a:pt x="24" y="40"/>
                  </a:lnTo>
                  <a:lnTo>
                    <a:pt x="62" y="73"/>
                  </a:lnTo>
                  <a:lnTo>
                    <a:pt x="132" y="79"/>
                  </a:lnTo>
                  <a:lnTo>
                    <a:pt x="172" y="58"/>
                  </a:lnTo>
                  <a:lnTo>
                    <a:pt x="183" y="13"/>
                  </a:lnTo>
                  <a:lnTo>
                    <a:pt x="249" y="0"/>
                  </a:lnTo>
                  <a:lnTo>
                    <a:pt x="285" y="18"/>
                  </a:lnTo>
                  <a:lnTo>
                    <a:pt x="281" y="57"/>
                  </a:lnTo>
                  <a:lnTo>
                    <a:pt x="267" y="95"/>
                  </a:lnTo>
                  <a:lnTo>
                    <a:pt x="314" y="142"/>
                  </a:lnTo>
                  <a:lnTo>
                    <a:pt x="286" y="177"/>
                  </a:lnTo>
                  <a:lnTo>
                    <a:pt x="321" y="237"/>
                  </a:lnTo>
                  <a:lnTo>
                    <a:pt x="307" y="291"/>
                  </a:lnTo>
                  <a:lnTo>
                    <a:pt x="363" y="405"/>
                  </a:lnTo>
                  <a:lnTo>
                    <a:pt x="235" y="512"/>
                  </a:lnTo>
                  <a:lnTo>
                    <a:pt x="81" y="547"/>
                  </a:lnTo>
                  <a:lnTo>
                    <a:pt x="73" y="525"/>
                  </a:lnTo>
                  <a:lnTo>
                    <a:pt x="24" y="508"/>
                  </a:lnTo>
                  <a:lnTo>
                    <a:pt x="17" y="402"/>
                  </a:lnTo>
                  <a:lnTo>
                    <a:pt x="164" y="287"/>
                  </a:lnTo>
                  <a:lnTo>
                    <a:pt x="116" y="230"/>
                  </a:lnTo>
                  <a:lnTo>
                    <a:pt x="98" y="116"/>
                  </a:lnTo>
                  <a:lnTo>
                    <a:pt x="0" y="57"/>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94" name="30458288.625365.87520.523.6255">
              <a:extLst>
                <a:ext uri="{FF2B5EF4-FFF2-40B4-BE49-F238E27FC236}">
                  <a16:creationId xmlns:a16="http://schemas.microsoft.com/office/drawing/2014/main" id="{97A49C23-821D-46E0-839D-1163D2CA5D3D}"/>
                </a:ext>
              </a:extLst>
            </p:cNvPr>
            <p:cNvSpPr>
              <a:spLocks noChangeAspect="1"/>
            </p:cNvSpPr>
            <p:nvPr/>
          </p:nvSpPr>
          <p:spPr bwMode="gray">
            <a:xfrm>
              <a:off x="5538559" y="2973634"/>
              <a:ext cx="380401" cy="333033"/>
            </a:xfrm>
            <a:custGeom>
              <a:avLst/>
              <a:gdLst/>
              <a:ahLst/>
              <a:cxnLst>
                <a:cxn ang="0">
                  <a:pos x="0" y="111"/>
                </a:cxn>
                <a:cxn ang="0">
                  <a:pos x="14" y="143"/>
                </a:cxn>
                <a:cxn ang="0">
                  <a:pos x="100" y="165"/>
                </a:cxn>
                <a:cxn ang="0">
                  <a:pos x="87" y="183"/>
                </a:cxn>
                <a:cxn ang="0">
                  <a:pos x="118" y="206"/>
                </a:cxn>
                <a:cxn ang="0">
                  <a:pos x="132" y="248"/>
                </a:cxn>
                <a:cxn ang="0">
                  <a:pos x="95" y="325"/>
                </a:cxn>
                <a:cxn ang="0">
                  <a:pos x="199" y="355"/>
                </a:cxn>
                <a:cxn ang="0">
                  <a:pos x="210" y="359"/>
                </a:cxn>
                <a:cxn ang="0">
                  <a:pos x="260" y="365"/>
                </a:cxn>
                <a:cxn ang="0">
                  <a:pos x="260" y="334"/>
                </a:cxn>
                <a:cxn ang="0">
                  <a:pos x="287" y="318"/>
                </a:cxn>
                <a:cxn ang="0">
                  <a:pos x="357" y="337"/>
                </a:cxn>
                <a:cxn ang="0">
                  <a:pos x="401" y="307"/>
                </a:cxn>
                <a:cxn ang="0">
                  <a:pos x="375" y="263"/>
                </a:cxn>
                <a:cxn ang="0">
                  <a:pos x="385" y="220"/>
                </a:cxn>
                <a:cxn ang="0">
                  <a:pos x="352" y="197"/>
                </a:cxn>
                <a:cxn ang="0">
                  <a:pos x="401" y="147"/>
                </a:cxn>
                <a:cxn ang="0">
                  <a:pos x="421" y="92"/>
                </a:cxn>
                <a:cxn ang="0">
                  <a:pos x="359" y="69"/>
                </a:cxn>
                <a:cxn ang="0">
                  <a:pos x="342" y="63"/>
                </a:cxn>
                <a:cxn ang="0">
                  <a:pos x="246" y="0"/>
                </a:cxn>
                <a:cxn ang="0">
                  <a:pos x="213" y="11"/>
                </a:cxn>
                <a:cxn ang="0">
                  <a:pos x="175" y="72"/>
                </a:cxn>
                <a:cxn ang="0">
                  <a:pos x="94" y="61"/>
                </a:cxn>
                <a:cxn ang="0">
                  <a:pos x="106" y="109"/>
                </a:cxn>
                <a:cxn ang="0">
                  <a:pos x="0" y="111"/>
                </a:cxn>
              </a:cxnLst>
              <a:rect l="0" t="0" r="r" b="b"/>
              <a:pathLst>
                <a:path w="421" h="365">
                  <a:moveTo>
                    <a:pt x="0" y="111"/>
                  </a:moveTo>
                  <a:lnTo>
                    <a:pt x="14" y="143"/>
                  </a:lnTo>
                  <a:lnTo>
                    <a:pt x="100" y="165"/>
                  </a:lnTo>
                  <a:lnTo>
                    <a:pt x="87" y="183"/>
                  </a:lnTo>
                  <a:lnTo>
                    <a:pt x="118" y="206"/>
                  </a:lnTo>
                  <a:lnTo>
                    <a:pt x="132" y="248"/>
                  </a:lnTo>
                  <a:lnTo>
                    <a:pt x="95" y="325"/>
                  </a:lnTo>
                  <a:lnTo>
                    <a:pt x="199" y="355"/>
                  </a:lnTo>
                  <a:lnTo>
                    <a:pt x="210" y="359"/>
                  </a:lnTo>
                  <a:lnTo>
                    <a:pt x="260" y="365"/>
                  </a:lnTo>
                  <a:lnTo>
                    <a:pt x="260" y="334"/>
                  </a:lnTo>
                  <a:lnTo>
                    <a:pt x="287" y="318"/>
                  </a:lnTo>
                  <a:lnTo>
                    <a:pt x="357" y="337"/>
                  </a:lnTo>
                  <a:lnTo>
                    <a:pt x="401" y="307"/>
                  </a:lnTo>
                  <a:lnTo>
                    <a:pt x="375" y="263"/>
                  </a:lnTo>
                  <a:lnTo>
                    <a:pt x="385" y="220"/>
                  </a:lnTo>
                  <a:lnTo>
                    <a:pt x="352" y="197"/>
                  </a:lnTo>
                  <a:lnTo>
                    <a:pt x="401" y="147"/>
                  </a:lnTo>
                  <a:lnTo>
                    <a:pt x="421" y="92"/>
                  </a:lnTo>
                  <a:lnTo>
                    <a:pt x="359" y="69"/>
                  </a:lnTo>
                  <a:lnTo>
                    <a:pt x="342" y="63"/>
                  </a:lnTo>
                  <a:lnTo>
                    <a:pt x="246" y="0"/>
                  </a:lnTo>
                  <a:lnTo>
                    <a:pt x="213" y="11"/>
                  </a:lnTo>
                  <a:lnTo>
                    <a:pt x="175" y="72"/>
                  </a:lnTo>
                  <a:lnTo>
                    <a:pt x="94" y="61"/>
                  </a:lnTo>
                  <a:lnTo>
                    <a:pt x="106" y="109"/>
                  </a:lnTo>
                  <a:lnTo>
                    <a:pt x="0" y="111"/>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95" name="30459307.625390.53.8751.55">
              <a:extLst>
                <a:ext uri="{FF2B5EF4-FFF2-40B4-BE49-F238E27FC236}">
                  <a16:creationId xmlns:a16="http://schemas.microsoft.com/office/drawing/2014/main" id="{3E3413C9-7AD3-49CC-976C-324A5D0D49EE}"/>
                </a:ext>
              </a:extLst>
            </p:cNvPr>
            <p:cNvSpPr>
              <a:spLocks noChangeAspect="1"/>
            </p:cNvSpPr>
            <p:nvPr/>
          </p:nvSpPr>
          <p:spPr bwMode="gray">
            <a:xfrm>
              <a:off x="5934176" y="3279759"/>
              <a:ext cx="20922" cy="65597"/>
            </a:xfrm>
            <a:custGeom>
              <a:avLst/>
              <a:gdLst/>
              <a:ahLst/>
              <a:cxnLst>
                <a:cxn ang="0">
                  <a:pos x="0" y="34"/>
                </a:cxn>
                <a:cxn ang="0">
                  <a:pos x="24" y="69"/>
                </a:cxn>
                <a:cxn ang="0">
                  <a:pos x="27" y="0"/>
                </a:cxn>
                <a:cxn ang="0">
                  <a:pos x="0" y="34"/>
                </a:cxn>
              </a:cxnLst>
              <a:rect l="0" t="0" r="r" b="b"/>
              <a:pathLst>
                <a:path w="27" h="69">
                  <a:moveTo>
                    <a:pt x="0" y="34"/>
                  </a:moveTo>
                  <a:lnTo>
                    <a:pt x="24" y="69"/>
                  </a:lnTo>
                  <a:lnTo>
                    <a:pt x="27" y="0"/>
                  </a:lnTo>
                  <a:lnTo>
                    <a:pt x="0" y="3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96" name="30461279385.62518.2516.255">
              <a:extLst>
                <a:ext uri="{FF2B5EF4-FFF2-40B4-BE49-F238E27FC236}">
                  <a16:creationId xmlns:a16="http://schemas.microsoft.com/office/drawing/2014/main" id="{E26ADE57-0772-4597-A17E-B003EE03CAA4}"/>
                </a:ext>
              </a:extLst>
            </p:cNvPr>
            <p:cNvSpPr>
              <a:spLocks noChangeAspect="1"/>
            </p:cNvSpPr>
            <p:nvPr/>
          </p:nvSpPr>
          <p:spPr bwMode="gray">
            <a:xfrm>
              <a:off x="5854293" y="2818890"/>
              <a:ext cx="260575" cy="294349"/>
            </a:xfrm>
            <a:custGeom>
              <a:avLst/>
              <a:gdLst/>
              <a:ahLst/>
              <a:cxnLst>
                <a:cxn ang="0">
                  <a:pos x="0" y="133"/>
                </a:cxn>
                <a:cxn ang="0">
                  <a:pos x="1" y="186"/>
                </a:cxn>
                <a:cxn ang="0">
                  <a:pos x="4" y="210"/>
                </a:cxn>
                <a:cxn ang="0">
                  <a:pos x="8" y="238"/>
                </a:cxn>
                <a:cxn ang="0">
                  <a:pos x="70" y="261"/>
                </a:cxn>
                <a:cxn ang="0">
                  <a:pos x="50" y="316"/>
                </a:cxn>
                <a:cxn ang="0">
                  <a:pos x="115" y="323"/>
                </a:cxn>
                <a:cxn ang="0">
                  <a:pos x="228" y="322"/>
                </a:cxn>
                <a:cxn ang="0">
                  <a:pos x="258" y="269"/>
                </a:cxn>
                <a:cxn ang="0">
                  <a:pos x="197" y="203"/>
                </a:cxn>
                <a:cxn ang="0">
                  <a:pos x="270" y="168"/>
                </a:cxn>
                <a:cxn ang="0">
                  <a:pos x="289" y="179"/>
                </a:cxn>
                <a:cxn ang="0">
                  <a:pos x="270" y="49"/>
                </a:cxn>
                <a:cxn ang="0">
                  <a:pos x="217" y="18"/>
                </a:cxn>
                <a:cxn ang="0">
                  <a:pos x="158" y="40"/>
                </a:cxn>
                <a:cxn ang="0">
                  <a:pos x="166" y="25"/>
                </a:cxn>
                <a:cxn ang="0">
                  <a:pos x="115" y="0"/>
                </a:cxn>
                <a:cxn ang="0">
                  <a:pos x="89" y="0"/>
                </a:cxn>
                <a:cxn ang="0">
                  <a:pos x="87" y="71"/>
                </a:cxn>
                <a:cxn ang="0">
                  <a:pos x="57" y="52"/>
                </a:cxn>
                <a:cxn ang="0">
                  <a:pos x="39" y="74"/>
                </a:cxn>
                <a:cxn ang="0">
                  <a:pos x="34" y="117"/>
                </a:cxn>
                <a:cxn ang="0">
                  <a:pos x="0" y="133"/>
                </a:cxn>
              </a:cxnLst>
              <a:rect l="0" t="0" r="r" b="b"/>
              <a:pathLst>
                <a:path w="289" h="323">
                  <a:moveTo>
                    <a:pt x="0" y="133"/>
                  </a:moveTo>
                  <a:lnTo>
                    <a:pt x="1" y="186"/>
                  </a:lnTo>
                  <a:lnTo>
                    <a:pt x="4" y="210"/>
                  </a:lnTo>
                  <a:lnTo>
                    <a:pt x="8" y="238"/>
                  </a:lnTo>
                  <a:lnTo>
                    <a:pt x="70" y="261"/>
                  </a:lnTo>
                  <a:lnTo>
                    <a:pt x="50" y="316"/>
                  </a:lnTo>
                  <a:lnTo>
                    <a:pt x="115" y="323"/>
                  </a:lnTo>
                  <a:lnTo>
                    <a:pt x="228" y="322"/>
                  </a:lnTo>
                  <a:lnTo>
                    <a:pt x="258" y="269"/>
                  </a:lnTo>
                  <a:lnTo>
                    <a:pt x="197" y="203"/>
                  </a:lnTo>
                  <a:lnTo>
                    <a:pt x="270" y="168"/>
                  </a:lnTo>
                  <a:lnTo>
                    <a:pt x="289" y="179"/>
                  </a:lnTo>
                  <a:lnTo>
                    <a:pt x="270" y="49"/>
                  </a:lnTo>
                  <a:lnTo>
                    <a:pt x="217" y="18"/>
                  </a:lnTo>
                  <a:lnTo>
                    <a:pt x="158" y="40"/>
                  </a:lnTo>
                  <a:lnTo>
                    <a:pt x="166" y="25"/>
                  </a:lnTo>
                  <a:lnTo>
                    <a:pt x="115" y="0"/>
                  </a:lnTo>
                  <a:lnTo>
                    <a:pt x="89" y="0"/>
                  </a:lnTo>
                  <a:lnTo>
                    <a:pt x="87" y="71"/>
                  </a:lnTo>
                  <a:lnTo>
                    <a:pt x="57" y="52"/>
                  </a:lnTo>
                  <a:lnTo>
                    <a:pt x="39" y="74"/>
                  </a:lnTo>
                  <a:lnTo>
                    <a:pt x="34" y="117"/>
                  </a:lnTo>
                  <a:lnTo>
                    <a:pt x="0" y="133"/>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97" name="30462310.375412.2511.87511.8755">
              <a:extLst>
                <a:ext uri="{FF2B5EF4-FFF2-40B4-BE49-F238E27FC236}">
                  <a16:creationId xmlns:a16="http://schemas.microsoft.com/office/drawing/2014/main" id="{2DE518F5-7F5D-4B02-8A5F-54EA5905866D}"/>
                </a:ext>
              </a:extLst>
            </p:cNvPr>
            <p:cNvSpPr>
              <a:spLocks noChangeAspect="1"/>
            </p:cNvSpPr>
            <p:nvPr/>
          </p:nvSpPr>
          <p:spPr bwMode="gray">
            <a:xfrm>
              <a:off x="6282243" y="3323489"/>
              <a:ext cx="190202" cy="193429"/>
            </a:xfrm>
            <a:custGeom>
              <a:avLst/>
              <a:gdLst/>
              <a:ahLst/>
              <a:cxnLst>
                <a:cxn ang="0">
                  <a:pos x="0" y="83"/>
                </a:cxn>
                <a:cxn ang="0">
                  <a:pos x="29" y="37"/>
                </a:cxn>
                <a:cxn ang="0">
                  <a:pos x="94" y="19"/>
                </a:cxn>
                <a:cxn ang="0">
                  <a:pos x="177" y="20"/>
                </a:cxn>
                <a:cxn ang="0">
                  <a:pos x="209" y="0"/>
                </a:cxn>
                <a:cxn ang="0">
                  <a:pos x="198" y="44"/>
                </a:cxn>
                <a:cxn ang="0">
                  <a:pos x="141" y="34"/>
                </a:cxn>
                <a:cxn ang="0">
                  <a:pos x="112" y="71"/>
                </a:cxn>
                <a:cxn ang="0">
                  <a:pos x="82" y="50"/>
                </a:cxn>
                <a:cxn ang="0">
                  <a:pos x="104" y="105"/>
                </a:cxn>
                <a:cxn ang="0">
                  <a:pos x="77" y="116"/>
                </a:cxn>
                <a:cxn ang="0">
                  <a:pos x="129" y="140"/>
                </a:cxn>
                <a:cxn ang="0">
                  <a:pos x="129" y="162"/>
                </a:cxn>
                <a:cxn ang="0">
                  <a:pos x="86" y="169"/>
                </a:cxn>
                <a:cxn ang="0">
                  <a:pos x="100" y="209"/>
                </a:cxn>
                <a:cxn ang="0">
                  <a:pos x="49" y="195"/>
                </a:cxn>
                <a:cxn ang="0">
                  <a:pos x="34" y="158"/>
                </a:cxn>
                <a:cxn ang="0">
                  <a:pos x="101" y="143"/>
                </a:cxn>
                <a:cxn ang="0">
                  <a:pos x="34" y="137"/>
                </a:cxn>
                <a:cxn ang="0">
                  <a:pos x="0" y="83"/>
                </a:cxn>
              </a:cxnLst>
              <a:rect l="0" t="0" r="r" b="b"/>
              <a:pathLst>
                <a:path w="209" h="209">
                  <a:moveTo>
                    <a:pt x="0" y="83"/>
                  </a:moveTo>
                  <a:lnTo>
                    <a:pt x="29" y="37"/>
                  </a:lnTo>
                  <a:lnTo>
                    <a:pt x="94" y="19"/>
                  </a:lnTo>
                  <a:lnTo>
                    <a:pt x="177" y="20"/>
                  </a:lnTo>
                  <a:lnTo>
                    <a:pt x="209" y="0"/>
                  </a:lnTo>
                  <a:lnTo>
                    <a:pt x="198" y="44"/>
                  </a:lnTo>
                  <a:lnTo>
                    <a:pt x="141" y="34"/>
                  </a:lnTo>
                  <a:lnTo>
                    <a:pt x="112" y="71"/>
                  </a:lnTo>
                  <a:lnTo>
                    <a:pt x="82" y="50"/>
                  </a:lnTo>
                  <a:lnTo>
                    <a:pt x="104" y="105"/>
                  </a:lnTo>
                  <a:lnTo>
                    <a:pt x="77" y="116"/>
                  </a:lnTo>
                  <a:lnTo>
                    <a:pt x="129" y="140"/>
                  </a:lnTo>
                  <a:lnTo>
                    <a:pt x="129" y="162"/>
                  </a:lnTo>
                  <a:lnTo>
                    <a:pt x="86" y="169"/>
                  </a:lnTo>
                  <a:lnTo>
                    <a:pt x="100" y="209"/>
                  </a:lnTo>
                  <a:lnTo>
                    <a:pt x="49" y="195"/>
                  </a:lnTo>
                  <a:lnTo>
                    <a:pt x="34" y="158"/>
                  </a:lnTo>
                  <a:lnTo>
                    <a:pt x="101" y="143"/>
                  </a:lnTo>
                  <a:lnTo>
                    <a:pt x="34" y="137"/>
                  </a:lnTo>
                  <a:lnTo>
                    <a:pt x="0" y="83"/>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98" name="30463324.125418.6250.755.55">
              <a:extLst>
                <a:ext uri="{FF2B5EF4-FFF2-40B4-BE49-F238E27FC236}">
                  <a16:creationId xmlns:a16="http://schemas.microsoft.com/office/drawing/2014/main" id="{B336E13D-D700-4475-A37B-66DFD406BD52}"/>
                </a:ext>
              </a:extLst>
            </p:cNvPr>
            <p:cNvSpPr>
              <a:spLocks noChangeAspect="1"/>
            </p:cNvSpPr>
            <p:nvPr/>
          </p:nvSpPr>
          <p:spPr bwMode="gray">
            <a:xfrm>
              <a:off x="6383048" y="3547195"/>
              <a:ext cx="89394" cy="11775"/>
            </a:xfrm>
            <a:custGeom>
              <a:avLst/>
              <a:gdLst/>
              <a:ahLst/>
              <a:cxnLst>
                <a:cxn ang="0">
                  <a:pos x="0" y="14"/>
                </a:cxn>
                <a:cxn ang="0">
                  <a:pos x="8" y="0"/>
                </a:cxn>
                <a:cxn ang="0">
                  <a:pos x="98" y="14"/>
                </a:cxn>
                <a:cxn ang="0">
                  <a:pos x="32" y="14"/>
                </a:cxn>
                <a:cxn ang="0">
                  <a:pos x="0" y="14"/>
                </a:cxn>
              </a:cxnLst>
              <a:rect l="0" t="0" r="r" b="b"/>
              <a:pathLst>
                <a:path w="98" h="14">
                  <a:moveTo>
                    <a:pt x="0" y="14"/>
                  </a:moveTo>
                  <a:lnTo>
                    <a:pt x="8" y="0"/>
                  </a:lnTo>
                  <a:lnTo>
                    <a:pt x="98" y="14"/>
                  </a:lnTo>
                  <a:lnTo>
                    <a:pt x="32" y="14"/>
                  </a:lnTo>
                  <a:lnTo>
                    <a:pt x="0" y="1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99" name="30470314.625457.530.875365">
              <a:extLst>
                <a:ext uri="{FF2B5EF4-FFF2-40B4-BE49-F238E27FC236}">
                  <a16:creationId xmlns:a16="http://schemas.microsoft.com/office/drawing/2014/main" id="{78224782-5BF5-4EA0-97FC-A70FAF1ABE85}"/>
                </a:ext>
              </a:extLst>
            </p:cNvPr>
            <p:cNvSpPr>
              <a:spLocks noChangeAspect="1"/>
            </p:cNvSpPr>
            <p:nvPr/>
          </p:nvSpPr>
          <p:spPr bwMode="gray">
            <a:xfrm>
              <a:off x="7006907" y="3395815"/>
              <a:ext cx="578209" cy="499553"/>
            </a:xfrm>
            <a:custGeom>
              <a:avLst/>
              <a:gdLst/>
              <a:ahLst/>
              <a:cxnLst>
                <a:cxn ang="0">
                  <a:pos x="0" y="18"/>
                </a:cxn>
                <a:cxn ang="0">
                  <a:pos x="17" y="0"/>
                </a:cxn>
                <a:cxn ang="0">
                  <a:pos x="66" y="41"/>
                </a:cxn>
                <a:cxn ang="0">
                  <a:pos x="127" y="8"/>
                </a:cxn>
                <a:cxn ang="0">
                  <a:pos x="132" y="40"/>
                </a:cxn>
                <a:cxn ang="0">
                  <a:pos x="160" y="51"/>
                </a:cxn>
                <a:cxn ang="0">
                  <a:pos x="167" y="87"/>
                </a:cxn>
                <a:cxn ang="0">
                  <a:pos x="255" y="125"/>
                </a:cxn>
                <a:cxn ang="0">
                  <a:pos x="336" y="114"/>
                </a:cxn>
                <a:cxn ang="0">
                  <a:pos x="329" y="94"/>
                </a:cxn>
                <a:cxn ang="0">
                  <a:pos x="433" y="58"/>
                </a:cxn>
                <a:cxn ang="0">
                  <a:pos x="569" y="120"/>
                </a:cxn>
                <a:cxn ang="0">
                  <a:pos x="574" y="154"/>
                </a:cxn>
                <a:cxn ang="0">
                  <a:pos x="550" y="218"/>
                </a:cxn>
                <a:cxn ang="0">
                  <a:pos x="554" y="306"/>
                </a:cxn>
                <a:cxn ang="0">
                  <a:pos x="589" y="332"/>
                </a:cxn>
                <a:cxn ang="0">
                  <a:pos x="561" y="377"/>
                </a:cxn>
                <a:cxn ang="0">
                  <a:pos x="640" y="476"/>
                </a:cxn>
                <a:cxn ang="0">
                  <a:pos x="587" y="546"/>
                </a:cxn>
                <a:cxn ang="0">
                  <a:pos x="444" y="523"/>
                </a:cxn>
                <a:cxn ang="0">
                  <a:pos x="413" y="478"/>
                </a:cxn>
                <a:cxn ang="0">
                  <a:pos x="315" y="493"/>
                </a:cxn>
                <a:cxn ang="0">
                  <a:pos x="244" y="450"/>
                </a:cxn>
                <a:cxn ang="0">
                  <a:pos x="196" y="366"/>
                </a:cxn>
                <a:cxn ang="0">
                  <a:pos x="159" y="352"/>
                </a:cxn>
                <a:cxn ang="0">
                  <a:pos x="149" y="370"/>
                </a:cxn>
                <a:cxn ang="0">
                  <a:pos x="105" y="285"/>
                </a:cxn>
                <a:cxn ang="0">
                  <a:pos x="43" y="234"/>
                </a:cxn>
                <a:cxn ang="0">
                  <a:pos x="72" y="154"/>
                </a:cxn>
                <a:cxn ang="0">
                  <a:pos x="46" y="145"/>
                </a:cxn>
                <a:cxn ang="0">
                  <a:pos x="22" y="102"/>
                </a:cxn>
                <a:cxn ang="0">
                  <a:pos x="0" y="18"/>
                </a:cxn>
              </a:cxnLst>
              <a:rect l="0" t="0" r="r" b="b"/>
              <a:pathLst>
                <a:path w="640" h="546">
                  <a:moveTo>
                    <a:pt x="0" y="18"/>
                  </a:moveTo>
                  <a:lnTo>
                    <a:pt x="17" y="0"/>
                  </a:lnTo>
                  <a:lnTo>
                    <a:pt x="66" y="41"/>
                  </a:lnTo>
                  <a:lnTo>
                    <a:pt x="127" y="8"/>
                  </a:lnTo>
                  <a:lnTo>
                    <a:pt x="132" y="40"/>
                  </a:lnTo>
                  <a:lnTo>
                    <a:pt x="160" y="51"/>
                  </a:lnTo>
                  <a:lnTo>
                    <a:pt x="167" y="87"/>
                  </a:lnTo>
                  <a:lnTo>
                    <a:pt x="255" y="125"/>
                  </a:lnTo>
                  <a:lnTo>
                    <a:pt x="336" y="114"/>
                  </a:lnTo>
                  <a:lnTo>
                    <a:pt x="329" y="94"/>
                  </a:lnTo>
                  <a:lnTo>
                    <a:pt x="433" y="58"/>
                  </a:lnTo>
                  <a:lnTo>
                    <a:pt x="569" y="120"/>
                  </a:lnTo>
                  <a:lnTo>
                    <a:pt x="574" y="154"/>
                  </a:lnTo>
                  <a:lnTo>
                    <a:pt x="550" y="218"/>
                  </a:lnTo>
                  <a:lnTo>
                    <a:pt x="554" y="306"/>
                  </a:lnTo>
                  <a:lnTo>
                    <a:pt x="589" y="332"/>
                  </a:lnTo>
                  <a:lnTo>
                    <a:pt x="561" y="377"/>
                  </a:lnTo>
                  <a:lnTo>
                    <a:pt x="640" y="476"/>
                  </a:lnTo>
                  <a:lnTo>
                    <a:pt x="587" y="546"/>
                  </a:lnTo>
                  <a:lnTo>
                    <a:pt x="444" y="523"/>
                  </a:lnTo>
                  <a:lnTo>
                    <a:pt x="413" y="478"/>
                  </a:lnTo>
                  <a:lnTo>
                    <a:pt x="315" y="493"/>
                  </a:lnTo>
                  <a:lnTo>
                    <a:pt x="244" y="450"/>
                  </a:lnTo>
                  <a:lnTo>
                    <a:pt x="196" y="366"/>
                  </a:lnTo>
                  <a:lnTo>
                    <a:pt x="159" y="352"/>
                  </a:lnTo>
                  <a:lnTo>
                    <a:pt x="149" y="370"/>
                  </a:lnTo>
                  <a:lnTo>
                    <a:pt x="105" y="285"/>
                  </a:lnTo>
                  <a:lnTo>
                    <a:pt x="43" y="234"/>
                  </a:lnTo>
                  <a:lnTo>
                    <a:pt x="72" y="154"/>
                  </a:lnTo>
                  <a:lnTo>
                    <a:pt x="46" y="145"/>
                  </a:lnTo>
                  <a:lnTo>
                    <a:pt x="22" y="102"/>
                  </a:lnTo>
                  <a:lnTo>
                    <a:pt x="0" y="18"/>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00" name="30471320.375447.12517.12518.6255">
              <a:extLst>
                <a:ext uri="{FF2B5EF4-FFF2-40B4-BE49-F238E27FC236}">
                  <a16:creationId xmlns:a16="http://schemas.microsoft.com/office/drawing/2014/main" id="{BE2DAC9C-0579-478D-95AC-A98D681818EB}"/>
                </a:ext>
              </a:extLst>
            </p:cNvPr>
            <p:cNvSpPr>
              <a:spLocks noChangeAspect="1"/>
            </p:cNvSpPr>
            <p:nvPr/>
          </p:nvSpPr>
          <p:spPr bwMode="gray">
            <a:xfrm>
              <a:off x="6841431" y="3488325"/>
              <a:ext cx="298617" cy="275847"/>
            </a:xfrm>
            <a:custGeom>
              <a:avLst/>
              <a:gdLst/>
              <a:ahLst/>
              <a:cxnLst>
                <a:cxn ang="0">
                  <a:pos x="0" y="147"/>
                </a:cxn>
                <a:cxn ang="0">
                  <a:pos x="16" y="190"/>
                </a:cxn>
                <a:cxn ang="0">
                  <a:pos x="166" y="257"/>
                </a:cxn>
                <a:cxn ang="0">
                  <a:pos x="167" y="282"/>
                </a:cxn>
                <a:cxn ang="0">
                  <a:pos x="203" y="298"/>
                </a:cxn>
                <a:cxn ang="0">
                  <a:pos x="264" y="303"/>
                </a:cxn>
                <a:cxn ang="0">
                  <a:pos x="313" y="271"/>
                </a:cxn>
                <a:cxn ang="0">
                  <a:pos x="331" y="268"/>
                </a:cxn>
                <a:cxn ang="0">
                  <a:pos x="287" y="183"/>
                </a:cxn>
                <a:cxn ang="0">
                  <a:pos x="225" y="132"/>
                </a:cxn>
                <a:cxn ang="0">
                  <a:pos x="254" y="52"/>
                </a:cxn>
                <a:cxn ang="0">
                  <a:pos x="228" y="43"/>
                </a:cxn>
                <a:cxn ang="0">
                  <a:pos x="204" y="0"/>
                </a:cxn>
                <a:cxn ang="0">
                  <a:pos x="130" y="3"/>
                </a:cxn>
                <a:cxn ang="0">
                  <a:pos x="93" y="30"/>
                </a:cxn>
                <a:cxn ang="0">
                  <a:pos x="81" y="103"/>
                </a:cxn>
                <a:cxn ang="0">
                  <a:pos x="0" y="147"/>
                </a:cxn>
              </a:cxnLst>
              <a:rect l="0" t="0" r="r" b="b"/>
              <a:pathLst>
                <a:path w="331" h="303">
                  <a:moveTo>
                    <a:pt x="0" y="147"/>
                  </a:moveTo>
                  <a:lnTo>
                    <a:pt x="16" y="190"/>
                  </a:lnTo>
                  <a:lnTo>
                    <a:pt x="166" y="257"/>
                  </a:lnTo>
                  <a:lnTo>
                    <a:pt x="167" y="282"/>
                  </a:lnTo>
                  <a:lnTo>
                    <a:pt x="203" y="298"/>
                  </a:lnTo>
                  <a:lnTo>
                    <a:pt x="264" y="303"/>
                  </a:lnTo>
                  <a:lnTo>
                    <a:pt x="313" y="271"/>
                  </a:lnTo>
                  <a:lnTo>
                    <a:pt x="331" y="268"/>
                  </a:lnTo>
                  <a:lnTo>
                    <a:pt x="287" y="183"/>
                  </a:lnTo>
                  <a:lnTo>
                    <a:pt x="225" y="132"/>
                  </a:lnTo>
                  <a:lnTo>
                    <a:pt x="254" y="52"/>
                  </a:lnTo>
                  <a:lnTo>
                    <a:pt x="228" y="43"/>
                  </a:lnTo>
                  <a:lnTo>
                    <a:pt x="204" y="0"/>
                  </a:lnTo>
                  <a:lnTo>
                    <a:pt x="130" y="3"/>
                  </a:lnTo>
                  <a:lnTo>
                    <a:pt x="93" y="30"/>
                  </a:lnTo>
                  <a:lnTo>
                    <a:pt x="81" y="103"/>
                  </a:lnTo>
                  <a:lnTo>
                    <a:pt x="0" y="147"/>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01" name="30472298.12538720.875225">
              <a:extLst>
                <a:ext uri="{FF2B5EF4-FFF2-40B4-BE49-F238E27FC236}">
                  <a16:creationId xmlns:a16="http://schemas.microsoft.com/office/drawing/2014/main" id="{386DA0BD-5E68-4FCB-BEEF-A0F83B1B3BED}"/>
                </a:ext>
              </a:extLst>
            </p:cNvPr>
            <p:cNvSpPr>
              <a:spLocks noChangeAspect="1"/>
            </p:cNvSpPr>
            <p:nvPr/>
          </p:nvSpPr>
          <p:spPr bwMode="gray">
            <a:xfrm>
              <a:off x="5877115" y="3128379"/>
              <a:ext cx="353773" cy="334717"/>
            </a:xfrm>
            <a:custGeom>
              <a:avLst/>
              <a:gdLst/>
              <a:ahLst/>
              <a:cxnLst>
                <a:cxn ang="0">
                  <a:pos x="0" y="92"/>
                </a:cxn>
                <a:cxn ang="0">
                  <a:pos x="10" y="49"/>
                </a:cxn>
                <a:cxn ang="0">
                  <a:pos x="57" y="29"/>
                </a:cxn>
                <a:cxn ang="0">
                  <a:pos x="77" y="48"/>
                </a:cxn>
                <a:cxn ang="0">
                  <a:pos x="124" y="9"/>
                </a:cxn>
                <a:cxn ang="0">
                  <a:pos x="176" y="0"/>
                </a:cxn>
                <a:cxn ang="0">
                  <a:pos x="233" y="26"/>
                </a:cxn>
                <a:cxn ang="0">
                  <a:pos x="233" y="66"/>
                </a:cxn>
                <a:cxn ang="0">
                  <a:pos x="187" y="73"/>
                </a:cxn>
                <a:cxn ang="0">
                  <a:pos x="191" y="122"/>
                </a:cxn>
                <a:cxn ang="0">
                  <a:pos x="265" y="205"/>
                </a:cxn>
                <a:cxn ang="0">
                  <a:pos x="312" y="210"/>
                </a:cxn>
                <a:cxn ang="0">
                  <a:pos x="308" y="228"/>
                </a:cxn>
                <a:cxn ang="0">
                  <a:pos x="392" y="282"/>
                </a:cxn>
                <a:cxn ang="0">
                  <a:pos x="334" y="273"/>
                </a:cxn>
                <a:cxn ang="0">
                  <a:pos x="347" y="326"/>
                </a:cxn>
                <a:cxn ang="0">
                  <a:pos x="312" y="367"/>
                </a:cxn>
                <a:cxn ang="0">
                  <a:pos x="297" y="283"/>
                </a:cxn>
                <a:cxn ang="0">
                  <a:pos x="150" y="191"/>
                </a:cxn>
                <a:cxn ang="0">
                  <a:pos x="116" y="130"/>
                </a:cxn>
                <a:cxn ang="0">
                  <a:pos x="69" y="110"/>
                </a:cxn>
                <a:cxn ang="0">
                  <a:pos x="26" y="136"/>
                </a:cxn>
                <a:cxn ang="0">
                  <a:pos x="0" y="92"/>
                </a:cxn>
              </a:cxnLst>
              <a:rect l="0" t="0" r="r" b="b"/>
              <a:pathLst>
                <a:path w="392" h="367">
                  <a:moveTo>
                    <a:pt x="0" y="92"/>
                  </a:moveTo>
                  <a:lnTo>
                    <a:pt x="10" y="49"/>
                  </a:lnTo>
                  <a:lnTo>
                    <a:pt x="57" y="29"/>
                  </a:lnTo>
                  <a:lnTo>
                    <a:pt x="77" y="48"/>
                  </a:lnTo>
                  <a:lnTo>
                    <a:pt x="124" y="9"/>
                  </a:lnTo>
                  <a:lnTo>
                    <a:pt x="176" y="0"/>
                  </a:lnTo>
                  <a:lnTo>
                    <a:pt x="233" y="26"/>
                  </a:lnTo>
                  <a:lnTo>
                    <a:pt x="233" y="66"/>
                  </a:lnTo>
                  <a:lnTo>
                    <a:pt x="187" y="73"/>
                  </a:lnTo>
                  <a:lnTo>
                    <a:pt x="191" y="122"/>
                  </a:lnTo>
                  <a:lnTo>
                    <a:pt x="265" y="205"/>
                  </a:lnTo>
                  <a:lnTo>
                    <a:pt x="312" y="210"/>
                  </a:lnTo>
                  <a:lnTo>
                    <a:pt x="308" y="228"/>
                  </a:lnTo>
                  <a:lnTo>
                    <a:pt x="392" y="282"/>
                  </a:lnTo>
                  <a:lnTo>
                    <a:pt x="334" y="273"/>
                  </a:lnTo>
                  <a:lnTo>
                    <a:pt x="347" y="326"/>
                  </a:lnTo>
                  <a:lnTo>
                    <a:pt x="312" y="367"/>
                  </a:lnTo>
                  <a:lnTo>
                    <a:pt x="297" y="283"/>
                  </a:lnTo>
                  <a:lnTo>
                    <a:pt x="150" y="191"/>
                  </a:lnTo>
                  <a:lnTo>
                    <a:pt x="116" y="130"/>
                  </a:lnTo>
                  <a:lnTo>
                    <a:pt x="69" y="110"/>
                  </a:lnTo>
                  <a:lnTo>
                    <a:pt x="26" y="136"/>
                  </a:lnTo>
                  <a:lnTo>
                    <a:pt x="0" y="92"/>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02" name="30473311.625389.87552.755">
              <a:extLst>
                <a:ext uri="{FF2B5EF4-FFF2-40B4-BE49-F238E27FC236}">
                  <a16:creationId xmlns:a16="http://schemas.microsoft.com/office/drawing/2014/main" id="{76F196A0-6391-40A4-89CB-5A8C467431FD}"/>
                </a:ext>
              </a:extLst>
            </p:cNvPr>
            <p:cNvSpPr>
              <a:spLocks noChangeAspect="1"/>
            </p:cNvSpPr>
            <p:nvPr/>
          </p:nvSpPr>
          <p:spPr bwMode="gray">
            <a:xfrm>
              <a:off x="5924665" y="3345355"/>
              <a:ext cx="43748" cy="82418"/>
            </a:xfrm>
            <a:custGeom>
              <a:avLst/>
              <a:gdLst/>
              <a:ahLst/>
              <a:cxnLst>
                <a:cxn ang="0">
                  <a:pos x="0" y="14"/>
                </a:cxn>
                <a:cxn ang="0">
                  <a:pos x="8" y="83"/>
                </a:cxn>
                <a:cxn ang="0">
                  <a:pos x="29" y="90"/>
                </a:cxn>
                <a:cxn ang="0">
                  <a:pos x="48" y="36"/>
                </a:cxn>
                <a:cxn ang="0">
                  <a:pos x="30" y="0"/>
                </a:cxn>
                <a:cxn ang="0">
                  <a:pos x="0" y="14"/>
                </a:cxn>
              </a:cxnLst>
              <a:rect l="0" t="0" r="r" b="b"/>
              <a:pathLst>
                <a:path w="48" h="90">
                  <a:moveTo>
                    <a:pt x="0" y="14"/>
                  </a:moveTo>
                  <a:lnTo>
                    <a:pt x="8" y="83"/>
                  </a:lnTo>
                  <a:lnTo>
                    <a:pt x="29" y="90"/>
                  </a:lnTo>
                  <a:lnTo>
                    <a:pt x="48" y="36"/>
                  </a:lnTo>
                  <a:lnTo>
                    <a:pt x="30" y="0"/>
                  </a:lnTo>
                  <a:lnTo>
                    <a:pt x="0" y="1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03" name="30474318.253983.255.755">
              <a:extLst>
                <a:ext uri="{FF2B5EF4-FFF2-40B4-BE49-F238E27FC236}">
                  <a16:creationId xmlns:a16="http://schemas.microsoft.com/office/drawing/2014/main" id="{78520950-0B16-426B-9944-0FC27541A4DC}"/>
                </a:ext>
              </a:extLst>
            </p:cNvPr>
            <p:cNvSpPr>
              <a:spLocks noChangeAspect="1"/>
            </p:cNvSpPr>
            <p:nvPr/>
          </p:nvSpPr>
          <p:spPr bwMode="gray">
            <a:xfrm>
              <a:off x="6054002" y="3451321"/>
              <a:ext cx="91298" cy="53825"/>
            </a:xfrm>
            <a:custGeom>
              <a:avLst/>
              <a:gdLst/>
              <a:ahLst/>
              <a:cxnLst>
                <a:cxn ang="0">
                  <a:pos x="0" y="14"/>
                </a:cxn>
                <a:cxn ang="0">
                  <a:pos x="87" y="60"/>
                </a:cxn>
                <a:cxn ang="0">
                  <a:pos x="103" y="0"/>
                </a:cxn>
                <a:cxn ang="0">
                  <a:pos x="0" y="14"/>
                </a:cxn>
              </a:cxnLst>
              <a:rect l="0" t="0" r="r" b="b"/>
              <a:pathLst>
                <a:path w="103" h="60">
                  <a:moveTo>
                    <a:pt x="0" y="14"/>
                  </a:moveTo>
                  <a:lnTo>
                    <a:pt x="87" y="60"/>
                  </a:lnTo>
                  <a:lnTo>
                    <a:pt x="103" y="0"/>
                  </a:lnTo>
                  <a:lnTo>
                    <a:pt x="0" y="1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04" name="30475327.75618.755.1254.3755">
              <a:extLst>
                <a:ext uri="{FF2B5EF4-FFF2-40B4-BE49-F238E27FC236}">
                  <a16:creationId xmlns:a16="http://schemas.microsoft.com/office/drawing/2014/main" id="{EDA30E9B-B114-41CC-8F24-0C01388CD544}"/>
                </a:ext>
              </a:extLst>
            </p:cNvPr>
            <p:cNvSpPr>
              <a:spLocks noChangeAspect="1"/>
            </p:cNvSpPr>
            <p:nvPr/>
          </p:nvSpPr>
          <p:spPr bwMode="gray">
            <a:xfrm>
              <a:off x="9591734" y="3606065"/>
              <a:ext cx="70376" cy="84099"/>
            </a:xfrm>
            <a:custGeom>
              <a:avLst/>
              <a:gdLst/>
              <a:ahLst/>
              <a:cxnLst>
                <a:cxn ang="0">
                  <a:pos x="0" y="24"/>
                </a:cxn>
                <a:cxn ang="0">
                  <a:pos x="2" y="48"/>
                </a:cxn>
                <a:cxn ang="0">
                  <a:pos x="20" y="24"/>
                </a:cxn>
                <a:cxn ang="0">
                  <a:pos x="28" y="38"/>
                </a:cxn>
                <a:cxn ang="0">
                  <a:pos x="19" y="92"/>
                </a:cxn>
                <a:cxn ang="0">
                  <a:pos x="56" y="90"/>
                </a:cxn>
                <a:cxn ang="0">
                  <a:pos x="78" y="35"/>
                </a:cxn>
                <a:cxn ang="0">
                  <a:pos x="66" y="4"/>
                </a:cxn>
                <a:cxn ang="0">
                  <a:pos x="30" y="0"/>
                </a:cxn>
                <a:cxn ang="0">
                  <a:pos x="0" y="24"/>
                </a:cxn>
              </a:cxnLst>
              <a:rect l="0" t="0" r="r" b="b"/>
              <a:pathLst>
                <a:path w="78" h="92">
                  <a:moveTo>
                    <a:pt x="0" y="24"/>
                  </a:moveTo>
                  <a:lnTo>
                    <a:pt x="2" y="48"/>
                  </a:lnTo>
                  <a:lnTo>
                    <a:pt x="20" y="24"/>
                  </a:lnTo>
                  <a:lnTo>
                    <a:pt x="28" y="38"/>
                  </a:lnTo>
                  <a:lnTo>
                    <a:pt x="19" y="92"/>
                  </a:lnTo>
                  <a:lnTo>
                    <a:pt x="56" y="90"/>
                  </a:lnTo>
                  <a:lnTo>
                    <a:pt x="78" y="35"/>
                  </a:lnTo>
                  <a:lnTo>
                    <a:pt x="66" y="4"/>
                  </a:lnTo>
                  <a:lnTo>
                    <a:pt x="30" y="0"/>
                  </a:lnTo>
                  <a:lnTo>
                    <a:pt x="0" y="2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05" name="30476311.37562117.12521.1255">
              <a:extLst>
                <a:ext uri="{FF2B5EF4-FFF2-40B4-BE49-F238E27FC236}">
                  <a16:creationId xmlns:a16="http://schemas.microsoft.com/office/drawing/2014/main" id="{C6E97E1C-3980-470B-8D8F-7D4D5EB96311}"/>
                </a:ext>
              </a:extLst>
            </p:cNvPr>
            <p:cNvSpPr>
              <a:spLocks noChangeAspect="1"/>
            </p:cNvSpPr>
            <p:nvPr/>
          </p:nvSpPr>
          <p:spPr bwMode="gray">
            <a:xfrm>
              <a:off x="9627872" y="3341991"/>
              <a:ext cx="338557" cy="275847"/>
            </a:xfrm>
            <a:custGeom>
              <a:avLst/>
              <a:gdLst/>
              <a:ahLst/>
              <a:cxnLst>
                <a:cxn ang="0">
                  <a:pos x="0" y="285"/>
                </a:cxn>
                <a:cxn ang="0">
                  <a:pos x="68" y="229"/>
                </a:cxn>
                <a:cxn ang="0">
                  <a:pos x="163" y="229"/>
                </a:cxn>
                <a:cxn ang="0">
                  <a:pos x="201" y="160"/>
                </a:cxn>
                <a:cxn ang="0">
                  <a:pos x="218" y="155"/>
                </a:cxn>
                <a:cxn ang="0">
                  <a:pos x="219" y="181"/>
                </a:cxn>
                <a:cxn ang="0">
                  <a:pos x="262" y="155"/>
                </a:cxn>
                <a:cxn ang="0">
                  <a:pos x="299" y="102"/>
                </a:cxn>
                <a:cxn ang="0">
                  <a:pos x="315" y="16"/>
                </a:cxn>
                <a:cxn ang="0">
                  <a:pos x="344" y="20"/>
                </a:cxn>
                <a:cxn ang="0">
                  <a:pos x="334" y="0"/>
                </a:cxn>
                <a:cxn ang="0">
                  <a:pos x="354" y="2"/>
                </a:cxn>
                <a:cxn ang="0">
                  <a:pos x="377" y="73"/>
                </a:cxn>
                <a:cxn ang="0">
                  <a:pos x="344" y="124"/>
                </a:cxn>
                <a:cxn ang="0">
                  <a:pos x="344" y="171"/>
                </a:cxn>
                <a:cxn ang="0">
                  <a:pos x="321" y="240"/>
                </a:cxn>
                <a:cxn ang="0">
                  <a:pos x="304" y="249"/>
                </a:cxn>
                <a:cxn ang="0">
                  <a:pos x="303" y="223"/>
                </a:cxn>
                <a:cxn ang="0">
                  <a:pos x="248" y="262"/>
                </a:cxn>
                <a:cxn ang="0">
                  <a:pos x="201" y="245"/>
                </a:cxn>
                <a:cxn ang="0">
                  <a:pos x="204" y="277"/>
                </a:cxn>
                <a:cxn ang="0">
                  <a:pos x="164" y="303"/>
                </a:cxn>
                <a:cxn ang="0">
                  <a:pos x="153" y="259"/>
                </a:cxn>
                <a:cxn ang="0">
                  <a:pos x="0" y="285"/>
                </a:cxn>
              </a:cxnLst>
              <a:rect l="0" t="0" r="r" b="b"/>
              <a:pathLst>
                <a:path w="377" h="303">
                  <a:moveTo>
                    <a:pt x="0" y="285"/>
                  </a:moveTo>
                  <a:lnTo>
                    <a:pt x="68" y="229"/>
                  </a:lnTo>
                  <a:lnTo>
                    <a:pt x="163" y="229"/>
                  </a:lnTo>
                  <a:lnTo>
                    <a:pt x="201" y="160"/>
                  </a:lnTo>
                  <a:lnTo>
                    <a:pt x="218" y="155"/>
                  </a:lnTo>
                  <a:lnTo>
                    <a:pt x="219" y="181"/>
                  </a:lnTo>
                  <a:lnTo>
                    <a:pt x="262" y="155"/>
                  </a:lnTo>
                  <a:lnTo>
                    <a:pt x="299" y="102"/>
                  </a:lnTo>
                  <a:lnTo>
                    <a:pt x="315" y="16"/>
                  </a:lnTo>
                  <a:lnTo>
                    <a:pt x="344" y="20"/>
                  </a:lnTo>
                  <a:lnTo>
                    <a:pt x="334" y="0"/>
                  </a:lnTo>
                  <a:lnTo>
                    <a:pt x="354" y="2"/>
                  </a:lnTo>
                  <a:lnTo>
                    <a:pt x="377" y="73"/>
                  </a:lnTo>
                  <a:lnTo>
                    <a:pt x="344" y="124"/>
                  </a:lnTo>
                  <a:lnTo>
                    <a:pt x="344" y="171"/>
                  </a:lnTo>
                  <a:lnTo>
                    <a:pt x="321" y="240"/>
                  </a:lnTo>
                  <a:lnTo>
                    <a:pt x="304" y="249"/>
                  </a:lnTo>
                  <a:lnTo>
                    <a:pt x="303" y="223"/>
                  </a:lnTo>
                  <a:lnTo>
                    <a:pt x="248" y="262"/>
                  </a:lnTo>
                  <a:lnTo>
                    <a:pt x="201" y="245"/>
                  </a:lnTo>
                  <a:lnTo>
                    <a:pt x="204" y="277"/>
                  </a:lnTo>
                  <a:lnTo>
                    <a:pt x="164" y="303"/>
                  </a:lnTo>
                  <a:lnTo>
                    <a:pt x="153" y="259"/>
                  </a:lnTo>
                  <a:lnTo>
                    <a:pt x="0" y="28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06" name="30477327623.53.1254.3755">
              <a:extLst>
                <a:ext uri="{FF2B5EF4-FFF2-40B4-BE49-F238E27FC236}">
                  <a16:creationId xmlns:a16="http://schemas.microsoft.com/office/drawing/2014/main" id="{4872E523-359D-4ACB-A020-3077122AC857}"/>
                </a:ext>
              </a:extLst>
            </p:cNvPr>
            <p:cNvSpPr>
              <a:spLocks noChangeAspect="1"/>
            </p:cNvSpPr>
            <p:nvPr/>
          </p:nvSpPr>
          <p:spPr bwMode="gray">
            <a:xfrm>
              <a:off x="9667816" y="3594290"/>
              <a:ext cx="70376" cy="50460"/>
            </a:xfrm>
            <a:custGeom>
              <a:avLst/>
              <a:gdLst/>
              <a:ahLst/>
              <a:cxnLst>
                <a:cxn ang="0">
                  <a:pos x="0" y="29"/>
                </a:cxn>
                <a:cxn ang="0">
                  <a:pos x="26" y="55"/>
                </a:cxn>
                <a:cxn ang="0">
                  <a:pos x="70" y="34"/>
                </a:cxn>
                <a:cxn ang="0">
                  <a:pos x="77" y="0"/>
                </a:cxn>
                <a:cxn ang="0">
                  <a:pos x="0" y="29"/>
                </a:cxn>
              </a:cxnLst>
              <a:rect l="0" t="0" r="r" b="b"/>
              <a:pathLst>
                <a:path w="77" h="55">
                  <a:moveTo>
                    <a:pt x="0" y="29"/>
                  </a:moveTo>
                  <a:lnTo>
                    <a:pt x="26" y="55"/>
                  </a:lnTo>
                  <a:lnTo>
                    <a:pt x="70" y="34"/>
                  </a:lnTo>
                  <a:lnTo>
                    <a:pt x="77" y="0"/>
                  </a:lnTo>
                  <a:lnTo>
                    <a:pt x="0" y="2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07" name="30478302.256389.125115">
              <a:extLst>
                <a:ext uri="{FF2B5EF4-FFF2-40B4-BE49-F238E27FC236}">
                  <a16:creationId xmlns:a16="http://schemas.microsoft.com/office/drawing/2014/main" id="{F344DE63-C159-4034-8CED-1E7CC166E49B}"/>
                </a:ext>
              </a:extLst>
            </p:cNvPr>
            <p:cNvSpPr>
              <a:spLocks noChangeAspect="1"/>
            </p:cNvSpPr>
            <p:nvPr/>
          </p:nvSpPr>
          <p:spPr bwMode="gray">
            <a:xfrm>
              <a:off x="9899858" y="3193976"/>
              <a:ext cx="176887" cy="148015"/>
            </a:xfrm>
            <a:custGeom>
              <a:avLst/>
              <a:gdLst/>
              <a:ahLst/>
              <a:cxnLst>
                <a:cxn ang="0">
                  <a:pos x="0" y="116"/>
                </a:cxn>
                <a:cxn ang="0">
                  <a:pos x="8" y="162"/>
                </a:cxn>
                <a:cxn ang="0">
                  <a:pos x="42" y="145"/>
                </a:cxn>
                <a:cxn ang="0">
                  <a:pos x="19" y="117"/>
                </a:cxn>
                <a:cxn ang="0">
                  <a:pos x="113" y="142"/>
                </a:cxn>
                <a:cxn ang="0">
                  <a:pos x="135" y="103"/>
                </a:cxn>
                <a:cxn ang="0">
                  <a:pos x="195" y="91"/>
                </a:cxn>
                <a:cxn ang="0">
                  <a:pos x="174" y="66"/>
                </a:cxn>
                <a:cxn ang="0">
                  <a:pos x="181" y="44"/>
                </a:cxn>
                <a:cxn ang="0">
                  <a:pos x="129" y="48"/>
                </a:cxn>
                <a:cxn ang="0">
                  <a:pos x="67" y="0"/>
                </a:cxn>
                <a:cxn ang="0">
                  <a:pos x="45" y="92"/>
                </a:cxn>
                <a:cxn ang="0">
                  <a:pos x="18" y="87"/>
                </a:cxn>
                <a:cxn ang="0">
                  <a:pos x="0" y="116"/>
                </a:cxn>
              </a:cxnLst>
              <a:rect l="0" t="0" r="r" b="b"/>
              <a:pathLst>
                <a:path w="195" h="162">
                  <a:moveTo>
                    <a:pt x="0" y="116"/>
                  </a:moveTo>
                  <a:lnTo>
                    <a:pt x="8" y="162"/>
                  </a:lnTo>
                  <a:lnTo>
                    <a:pt x="42" y="145"/>
                  </a:lnTo>
                  <a:lnTo>
                    <a:pt x="19" y="117"/>
                  </a:lnTo>
                  <a:lnTo>
                    <a:pt x="113" y="142"/>
                  </a:lnTo>
                  <a:lnTo>
                    <a:pt x="135" y="103"/>
                  </a:lnTo>
                  <a:lnTo>
                    <a:pt x="195" y="91"/>
                  </a:lnTo>
                  <a:lnTo>
                    <a:pt x="174" y="66"/>
                  </a:lnTo>
                  <a:lnTo>
                    <a:pt x="181" y="44"/>
                  </a:lnTo>
                  <a:lnTo>
                    <a:pt x="129" y="48"/>
                  </a:lnTo>
                  <a:lnTo>
                    <a:pt x="67" y="0"/>
                  </a:lnTo>
                  <a:lnTo>
                    <a:pt x="45" y="92"/>
                  </a:lnTo>
                  <a:lnTo>
                    <a:pt x="18" y="87"/>
                  </a:lnTo>
                  <a:lnTo>
                    <a:pt x="0" y="116"/>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08" name="30479308.125608.511.375125">
              <a:extLst>
                <a:ext uri="{FF2B5EF4-FFF2-40B4-BE49-F238E27FC236}">
                  <a16:creationId xmlns:a16="http://schemas.microsoft.com/office/drawing/2014/main" id="{76DCA5D2-73B3-4E94-8091-7847188BE2FC}"/>
                </a:ext>
              </a:extLst>
            </p:cNvPr>
            <p:cNvSpPr>
              <a:spLocks noChangeAspect="1"/>
            </p:cNvSpPr>
            <p:nvPr/>
          </p:nvSpPr>
          <p:spPr bwMode="gray">
            <a:xfrm>
              <a:off x="9428159" y="3288166"/>
              <a:ext cx="192103" cy="185018"/>
            </a:xfrm>
            <a:custGeom>
              <a:avLst/>
              <a:gdLst/>
              <a:ahLst/>
              <a:cxnLst>
                <a:cxn ang="0">
                  <a:pos x="0" y="116"/>
                </a:cxn>
                <a:cxn ang="0">
                  <a:pos x="38" y="132"/>
                </a:cxn>
                <a:cxn ang="0">
                  <a:pos x="14" y="191"/>
                </a:cxn>
                <a:cxn ang="0">
                  <a:pos x="74" y="204"/>
                </a:cxn>
                <a:cxn ang="0">
                  <a:pos x="136" y="169"/>
                </a:cxn>
                <a:cxn ang="0">
                  <a:pos x="107" y="121"/>
                </a:cxn>
                <a:cxn ang="0">
                  <a:pos x="179" y="79"/>
                </a:cxn>
                <a:cxn ang="0">
                  <a:pos x="212" y="20"/>
                </a:cxn>
                <a:cxn ang="0">
                  <a:pos x="207" y="11"/>
                </a:cxn>
                <a:cxn ang="0">
                  <a:pos x="194" y="0"/>
                </a:cxn>
                <a:cxn ang="0">
                  <a:pos x="131" y="39"/>
                </a:cxn>
                <a:cxn ang="0">
                  <a:pos x="131" y="61"/>
                </a:cxn>
                <a:cxn ang="0">
                  <a:pos x="85" y="54"/>
                </a:cxn>
                <a:cxn ang="0">
                  <a:pos x="0" y="116"/>
                </a:cxn>
              </a:cxnLst>
              <a:rect l="0" t="0" r="r" b="b"/>
              <a:pathLst>
                <a:path w="212" h="204">
                  <a:moveTo>
                    <a:pt x="0" y="116"/>
                  </a:moveTo>
                  <a:lnTo>
                    <a:pt x="38" y="132"/>
                  </a:lnTo>
                  <a:lnTo>
                    <a:pt x="14" y="191"/>
                  </a:lnTo>
                  <a:lnTo>
                    <a:pt x="74" y="204"/>
                  </a:lnTo>
                  <a:lnTo>
                    <a:pt x="136" y="169"/>
                  </a:lnTo>
                  <a:lnTo>
                    <a:pt x="107" y="121"/>
                  </a:lnTo>
                  <a:lnTo>
                    <a:pt x="179" y="79"/>
                  </a:lnTo>
                  <a:lnTo>
                    <a:pt x="212" y="20"/>
                  </a:lnTo>
                  <a:lnTo>
                    <a:pt x="207" y="11"/>
                  </a:lnTo>
                  <a:lnTo>
                    <a:pt x="194" y="0"/>
                  </a:lnTo>
                  <a:lnTo>
                    <a:pt x="131" y="39"/>
                  </a:lnTo>
                  <a:lnTo>
                    <a:pt x="131" y="61"/>
                  </a:lnTo>
                  <a:lnTo>
                    <a:pt x="85" y="54"/>
                  </a:lnTo>
                  <a:lnTo>
                    <a:pt x="0" y="116"/>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09" name="30480350.625563.2515.87513.55">
              <a:extLst>
                <a:ext uri="{FF2B5EF4-FFF2-40B4-BE49-F238E27FC236}">
                  <a16:creationId xmlns:a16="http://schemas.microsoft.com/office/drawing/2014/main" id="{D25FF8CC-D1BE-41D8-A774-44DCF8586C89}"/>
                </a:ext>
              </a:extLst>
            </p:cNvPr>
            <p:cNvSpPr>
              <a:spLocks noChangeAspect="1"/>
            </p:cNvSpPr>
            <p:nvPr/>
          </p:nvSpPr>
          <p:spPr bwMode="gray">
            <a:xfrm>
              <a:off x="8703496" y="3977783"/>
              <a:ext cx="214926" cy="255664"/>
            </a:xfrm>
            <a:custGeom>
              <a:avLst/>
              <a:gdLst/>
              <a:ahLst/>
              <a:cxnLst>
                <a:cxn ang="0">
                  <a:pos x="0" y="60"/>
                </a:cxn>
                <a:cxn ang="0">
                  <a:pos x="32" y="100"/>
                </a:cxn>
                <a:cxn ang="0">
                  <a:pos x="22" y="169"/>
                </a:cxn>
                <a:cxn ang="0">
                  <a:pos x="107" y="139"/>
                </a:cxn>
                <a:cxn ang="0">
                  <a:pos x="143" y="169"/>
                </a:cxn>
                <a:cxn ang="0">
                  <a:pos x="175" y="236"/>
                </a:cxn>
                <a:cxn ang="0">
                  <a:pos x="164" y="279"/>
                </a:cxn>
                <a:cxn ang="0">
                  <a:pos x="239" y="267"/>
                </a:cxn>
                <a:cxn ang="0">
                  <a:pos x="203" y="177"/>
                </a:cxn>
                <a:cxn ang="0">
                  <a:pos x="122" y="111"/>
                </a:cxn>
                <a:cxn ang="0">
                  <a:pos x="144" y="73"/>
                </a:cxn>
                <a:cxn ang="0">
                  <a:pos x="99" y="52"/>
                </a:cxn>
                <a:cxn ang="0">
                  <a:pos x="65" y="0"/>
                </a:cxn>
                <a:cxn ang="0">
                  <a:pos x="44" y="1"/>
                </a:cxn>
                <a:cxn ang="0">
                  <a:pos x="47" y="38"/>
                </a:cxn>
                <a:cxn ang="0">
                  <a:pos x="32" y="29"/>
                </a:cxn>
                <a:cxn ang="0">
                  <a:pos x="0" y="60"/>
                </a:cxn>
              </a:cxnLst>
              <a:rect l="0" t="0" r="r" b="b"/>
              <a:pathLst>
                <a:path w="239" h="279">
                  <a:moveTo>
                    <a:pt x="0" y="60"/>
                  </a:moveTo>
                  <a:lnTo>
                    <a:pt x="32" y="100"/>
                  </a:lnTo>
                  <a:lnTo>
                    <a:pt x="22" y="169"/>
                  </a:lnTo>
                  <a:lnTo>
                    <a:pt x="107" y="139"/>
                  </a:lnTo>
                  <a:lnTo>
                    <a:pt x="143" y="169"/>
                  </a:lnTo>
                  <a:lnTo>
                    <a:pt x="175" y="236"/>
                  </a:lnTo>
                  <a:lnTo>
                    <a:pt x="164" y="279"/>
                  </a:lnTo>
                  <a:lnTo>
                    <a:pt x="239" y="267"/>
                  </a:lnTo>
                  <a:lnTo>
                    <a:pt x="203" y="177"/>
                  </a:lnTo>
                  <a:lnTo>
                    <a:pt x="122" y="111"/>
                  </a:lnTo>
                  <a:lnTo>
                    <a:pt x="144" y="73"/>
                  </a:lnTo>
                  <a:lnTo>
                    <a:pt x="99" y="52"/>
                  </a:lnTo>
                  <a:lnTo>
                    <a:pt x="65" y="0"/>
                  </a:lnTo>
                  <a:lnTo>
                    <a:pt x="44" y="1"/>
                  </a:lnTo>
                  <a:lnTo>
                    <a:pt x="47" y="38"/>
                  </a:lnTo>
                  <a:lnTo>
                    <a:pt x="32" y="29"/>
                  </a:lnTo>
                  <a:lnTo>
                    <a:pt x="0" y="6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10" name="30481291385.1251.3750.8755">
              <a:extLst>
                <a:ext uri="{FF2B5EF4-FFF2-40B4-BE49-F238E27FC236}">
                  <a16:creationId xmlns:a16="http://schemas.microsoft.com/office/drawing/2014/main" id="{8CFE7449-67F9-4447-9687-CA099BE97E9E}"/>
                </a:ext>
              </a:extLst>
            </p:cNvPr>
            <p:cNvSpPr>
              <a:spLocks noChangeAspect="1"/>
            </p:cNvSpPr>
            <p:nvPr/>
          </p:nvSpPr>
          <p:spPr bwMode="gray">
            <a:xfrm>
              <a:off x="5848583" y="3012319"/>
              <a:ext cx="13316" cy="20183"/>
            </a:xfrm>
            <a:custGeom>
              <a:avLst/>
              <a:gdLst/>
              <a:ahLst/>
              <a:cxnLst>
                <a:cxn ang="0">
                  <a:pos x="0" y="22"/>
                </a:cxn>
                <a:cxn ang="0">
                  <a:pos x="13" y="0"/>
                </a:cxn>
                <a:cxn ang="0">
                  <a:pos x="17" y="28"/>
                </a:cxn>
                <a:cxn ang="0">
                  <a:pos x="0" y="22"/>
                </a:cxn>
              </a:cxnLst>
              <a:rect l="0" t="0" r="r" b="b"/>
              <a:pathLst>
                <a:path w="17" h="28">
                  <a:moveTo>
                    <a:pt x="0" y="22"/>
                  </a:moveTo>
                  <a:lnTo>
                    <a:pt x="13" y="0"/>
                  </a:lnTo>
                  <a:lnTo>
                    <a:pt x="17" y="28"/>
                  </a:lnTo>
                  <a:lnTo>
                    <a:pt x="0" y="22"/>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11" name="30483285.875539.752559.6255">
              <a:extLst>
                <a:ext uri="{FF2B5EF4-FFF2-40B4-BE49-F238E27FC236}">
                  <a16:creationId xmlns:a16="http://schemas.microsoft.com/office/drawing/2014/main" id="{5E45F742-B3C5-4A50-92AC-3193AA741AD7}"/>
                </a:ext>
              </a:extLst>
            </p:cNvPr>
            <p:cNvSpPr>
              <a:spLocks noChangeAspect="1"/>
            </p:cNvSpPr>
            <p:nvPr/>
          </p:nvSpPr>
          <p:spPr bwMode="gray">
            <a:xfrm>
              <a:off x="8326900" y="2928220"/>
              <a:ext cx="954809" cy="405360"/>
            </a:xfrm>
            <a:custGeom>
              <a:avLst/>
              <a:gdLst/>
              <a:ahLst/>
              <a:cxnLst>
                <a:cxn ang="0">
                  <a:pos x="0" y="139"/>
                </a:cxn>
                <a:cxn ang="0">
                  <a:pos x="34" y="184"/>
                </a:cxn>
                <a:cxn ang="0">
                  <a:pos x="81" y="201"/>
                </a:cxn>
                <a:cxn ang="0">
                  <a:pos x="100" y="296"/>
                </a:cxn>
                <a:cxn ang="0">
                  <a:pos x="247" y="333"/>
                </a:cxn>
                <a:cxn ang="0">
                  <a:pos x="309" y="397"/>
                </a:cxn>
                <a:cxn ang="0">
                  <a:pos x="430" y="393"/>
                </a:cxn>
                <a:cxn ang="0">
                  <a:pos x="567" y="444"/>
                </a:cxn>
                <a:cxn ang="0">
                  <a:pos x="750" y="397"/>
                </a:cxn>
                <a:cxn ang="0">
                  <a:pos x="806" y="360"/>
                </a:cxn>
                <a:cxn ang="0">
                  <a:pos x="806" y="309"/>
                </a:cxn>
                <a:cxn ang="0">
                  <a:pos x="857" y="315"/>
                </a:cxn>
                <a:cxn ang="0">
                  <a:pos x="968" y="241"/>
                </a:cxn>
                <a:cxn ang="0">
                  <a:pos x="1058" y="236"/>
                </a:cxn>
                <a:cxn ang="0">
                  <a:pos x="1015" y="180"/>
                </a:cxn>
                <a:cxn ang="0">
                  <a:pos x="930" y="195"/>
                </a:cxn>
                <a:cxn ang="0">
                  <a:pos x="929" y="132"/>
                </a:cxn>
                <a:cxn ang="0">
                  <a:pos x="951" y="98"/>
                </a:cxn>
                <a:cxn ang="0">
                  <a:pos x="890" y="88"/>
                </a:cxn>
                <a:cxn ang="0">
                  <a:pos x="732" y="126"/>
                </a:cxn>
                <a:cxn ang="0">
                  <a:pos x="593" y="70"/>
                </a:cxn>
                <a:cxn ang="0">
                  <a:pos x="504" y="78"/>
                </a:cxn>
                <a:cxn ang="0">
                  <a:pos x="471" y="32"/>
                </a:cxn>
                <a:cxn ang="0">
                  <a:pos x="383" y="0"/>
                </a:cxn>
                <a:cxn ang="0">
                  <a:pos x="336" y="33"/>
                </a:cxn>
                <a:cxn ang="0">
                  <a:pos x="334" y="96"/>
                </a:cxn>
                <a:cxn ang="0">
                  <a:pos x="133" y="69"/>
                </a:cxn>
                <a:cxn ang="0">
                  <a:pos x="0" y="139"/>
                </a:cxn>
              </a:cxnLst>
              <a:rect l="0" t="0" r="r" b="b"/>
              <a:pathLst>
                <a:path w="1058" h="444">
                  <a:moveTo>
                    <a:pt x="0" y="139"/>
                  </a:moveTo>
                  <a:lnTo>
                    <a:pt x="34" y="184"/>
                  </a:lnTo>
                  <a:lnTo>
                    <a:pt x="81" y="201"/>
                  </a:lnTo>
                  <a:lnTo>
                    <a:pt x="100" y="296"/>
                  </a:lnTo>
                  <a:lnTo>
                    <a:pt x="247" y="333"/>
                  </a:lnTo>
                  <a:lnTo>
                    <a:pt x="309" y="397"/>
                  </a:lnTo>
                  <a:lnTo>
                    <a:pt x="430" y="393"/>
                  </a:lnTo>
                  <a:lnTo>
                    <a:pt x="567" y="444"/>
                  </a:lnTo>
                  <a:lnTo>
                    <a:pt x="750" y="397"/>
                  </a:lnTo>
                  <a:lnTo>
                    <a:pt x="806" y="360"/>
                  </a:lnTo>
                  <a:lnTo>
                    <a:pt x="806" y="309"/>
                  </a:lnTo>
                  <a:lnTo>
                    <a:pt x="857" y="315"/>
                  </a:lnTo>
                  <a:lnTo>
                    <a:pt x="968" y="241"/>
                  </a:lnTo>
                  <a:lnTo>
                    <a:pt x="1058" y="236"/>
                  </a:lnTo>
                  <a:lnTo>
                    <a:pt x="1015" y="180"/>
                  </a:lnTo>
                  <a:lnTo>
                    <a:pt x="930" y="195"/>
                  </a:lnTo>
                  <a:lnTo>
                    <a:pt x="929" y="132"/>
                  </a:lnTo>
                  <a:lnTo>
                    <a:pt x="951" y="98"/>
                  </a:lnTo>
                  <a:lnTo>
                    <a:pt x="890" y="88"/>
                  </a:lnTo>
                  <a:lnTo>
                    <a:pt x="732" y="126"/>
                  </a:lnTo>
                  <a:lnTo>
                    <a:pt x="593" y="70"/>
                  </a:lnTo>
                  <a:lnTo>
                    <a:pt x="504" y="78"/>
                  </a:lnTo>
                  <a:lnTo>
                    <a:pt x="471" y="32"/>
                  </a:lnTo>
                  <a:lnTo>
                    <a:pt x="383" y="0"/>
                  </a:lnTo>
                  <a:lnTo>
                    <a:pt x="336" y="33"/>
                  </a:lnTo>
                  <a:lnTo>
                    <a:pt x="334" y="96"/>
                  </a:lnTo>
                  <a:lnTo>
                    <a:pt x="133" y="69"/>
                  </a:lnTo>
                  <a:lnTo>
                    <a:pt x="0" y="13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12" name="30484345.75472.37516.37514.3755">
              <a:extLst>
                <a:ext uri="{FF2B5EF4-FFF2-40B4-BE49-F238E27FC236}">
                  <a16:creationId xmlns:a16="http://schemas.microsoft.com/office/drawing/2014/main" id="{CC4EFC76-5E92-4B71-9B98-898C71958284}"/>
                </a:ext>
              </a:extLst>
            </p:cNvPr>
            <p:cNvSpPr>
              <a:spLocks noChangeAspect="1"/>
            </p:cNvSpPr>
            <p:nvPr/>
          </p:nvSpPr>
          <p:spPr bwMode="gray">
            <a:xfrm>
              <a:off x="7246559" y="3897049"/>
              <a:ext cx="228241" cy="265756"/>
            </a:xfrm>
            <a:custGeom>
              <a:avLst/>
              <a:gdLst/>
              <a:ahLst/>
              <a:cxnLst>
                <a:cxn ang="0">
                  <a:pos x="0" y="204"/>
                </a:cxn>
                <a:cxn ang="0">
                  <a:pos x="35" y="288"/>
                </a:cxn>
                <a:cxn ang="0">
                  <a:pos x="95" y="275"/>
                </a:cxn>
                <a:cxn ang="0">
                  <a:pos x="191" y="203"/>
                </a:cxn>
                <a:cxn ang="0">
                  <a:pos x="190" y="169"/>
                </a:cxn>
                <a:cxn ang="0">
                  <a:pos x="252" y="105"/>
                </a:cxn>
                <a:cxn ang="0">
                  <a:pos x="256" y="85"/>
                </a:cxn>
                <a:cxn ang="0">
                  <a:pos x="222" y="48"/>
                </a:cxn>
                <a:cxn ang="0">
                  <a:pos x="143" y="0"/>
                </a:cxn>
                <a:cxn ang="0">
                  <a:pos x="123" y="1"/>
                </a:cxn>
                <a:cxn ang="0">
                  <a:pos x="134" y="27"/>
                </a:cxn>
                <a:cxn ang="0">
                  <a:pos x="106" y="77"/>
                </a:cxn>
                <a:cxn ang="0">
                  <a:pos x="123" y="101"/>
                </a:cxn>
                <a:cxn ang="0">
                  <a:pos x="98" y="170"/>
                </a:cxn>
                <a:cxn ang="0">
                  <a:pos x="0" y="204"/>
                </a:cxn>
              </a:cxnLst>
              <a:rect l="0" t="0" r="r" b="b"/>
              <a:pathLst>
                <a:path w="256" h="288">
                  <a:moveTo>
                    <a:pt x="0" y="204"/>
                  </a:moveTo>
                  <a:lnTo>
                    <a:pt x="35" y="288"/>
                  </a:lnTo>
                  <a:lnTo>
                    <a:pt x="95" y="275"/>
                  </a:lnTo>
                  <a:lnTo>
                    <a:pt x="191" y="203"/>
                  </a:lnTo>
                  <a:lnTo>
                    <a:pt x="190" y="169"/>
                  </a:lnTo>
                  <a:lnTo>
                    <a:pt x="252" y="105"/>
                  </a:lnTo>
                  <a:lnTo>
                    <a:pt x="256" y="85"/>
                  </a:lnTo>
                  <a:lnTo>
                    <a:pt x="222" y="48"/>
                  </a:lnTo>
                  <a:lnTo>
                    <a:pt x="143" y="0"/>
                  </a:lnTo>
                  <a:lnTo>
                    <a:pt x="123" y="1"/>
                  </a:lnTo>
                  <a:lnTo>
                    <a:pt x="134" y="27"/>
                  </a:lnTo>
                  <a:lnTo>
                    <a:pt x="106" y="77"/>
                  </a:lnTo>
                  <a:lnTo>
                    <a:pt x="123" y="101"/>
                  </a:lnTo>
                  <a:lnTo>
                    <a:pt x="98" y="170"/>
                  </a:lnTo>
                  <a:lnTo>
                    <a:pt x="0" y="20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13" name="30485335.25525.1257.62515.1255">
              <a:extLst>
                <a:ext uri="{FF2B5EF4-FFF2-40B4-BE49-F238E27FC236}">
                  <a16:creationId xmlns:a16="http://schemas.microsoft.com/office/drawing/2014/main" id="{43659B15-F528-4AE5-AD2A-CC388C0DAEA6}"/>
                </a:ext>
              </a:extLst>
            </p:cNvPr>
            <p:cNvSpPr>
              <a:spLocks noChangeAspect="1"/>
            </p:cNvSpPr>
            <p:nvPr/>
          </p:nvSpPr>
          <p:spPr bwMode="gray">
            <a:xfrm>
              <a:off x="8092953" y="3728849"/>
              <a:ext cx="239653" cy="124467"/>
            </a:xfrm>
            <a:custGeom>
              <a:avLst/>
              <a:gdLst/>
              <a:ahLst/>
              <a:cxnLst>
                <a:cxn ang="0">
                  <a:pos x="0" y="54"/>
                </a:cxn>
                <a:cxn ang="0">
                  <a:pos x="33" y="0"/>
                </a:cxn>
                <a:cxn ang="0">
                  <a:pos x="139" y="35"/>
                </a:cxn>
                <a:cxn ang="0">
                  <a:pos x="195" y="87"/>
                </a:cxn>
                <a:cxn ang="0">
                  <a:pos x="268" y="87"/>
                </a:cxn>
                <a:cxn ang="0">
                  <a:pos x="264" y="138"/>
                </a:cxn>
                <a:cxn ang="0">
                  <a:pos x="90" y="105"/>
                </a:cxn>
                <a:cxn ang="0">
                  <a:pos x="0" y="54"/>
                </a:cxn>
              </a:cxnLst>
              <a:rect l="0" t="0" r="r" b="b"/>
              <a:pathLst>
                <a:path w="268" h="138">
                  <a:moveTo>
                    <a:pt x="0" y="54"/>
                  </a:moveTo>
                  <a:lnTo>
                    <a:pt x="33" y="0"/>
                  </a:lnTo>
                  <a:lnTo>
                    <a:pt x="139" y="35"/>
                  </a:lnTo>
                  <a:lnTo>
                    <a:pt x="195" y="87"/>
                  </a:lnTo>
                  <a:lnTo>
                    <a:pt x="268" y="87"/>
                  </a:lnTo>
                  <a:lnTo>
                    <a:pt x="264" y="138"/>
                  </a:lnTo>
                  <a:lnTo>
                    <a:pt x="90" y="105"/>
                  </a:lnTo>
                  <a:lnTo>
                    <a:pt x="0" y="5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14" name="30486283.253816.256.8755">
              <a:extLst>
                <a:ext uri="{FF2B5EF4-FFF2-40B4-BE49-F238E27FC236}">
                  <a16:creationId xmlns:a16="http://schemas.microsoft.com/office/drawing/2014/main" id="{E6FA7925-B446-4730-B978-0291033C101E}"/>
                </a:ext>
              </a:extLst>
            </p:cNvPr>
            <p:cNvSpPr>
              <a:spLocks noChangeAspect="1"/>
            </p:cNvSpPr>
            <p:nvPr/>
          </p:nvSpPr>
          <p:spPr bwMode="gray">
            <a:xfrm>
              <a:off x="5782016" y="2887851"/>
              <a:ext cx="110316" cy="100920"/>
            </a:xfrm>
            <a:custGeom>
              <a:avLst/>
              <a:gdLst/>
              <a:ahLst/>
              <a:cxnLst>
                <a:cxn ang="0">
                  <a:pos x="0" y="84"/>
                </a:cxn>
                <a:cxn ang="0">
                  <a:pos x="47" y="70"/>
                </a:cxn>
                <a:cxn ang="0">
                  <a:pos x="22" y="57"/>
                </a:cxn>
                <a:cxn ang="0">
                  <a:pos x="45" y="18"/>
                </a:cxn>
                <a:cxn ang="0">
                  <a:pos x="63" y="43"/>
                </a:cxn>
                <a:cxn ang="0">
                  <a:pos x="64" y="0"/>
                </a:cxn>
                <a:cxn ang="0">
                  <a:pos x="119" y="0"/>
                </a:cxn>
                <a:cxn ang="0">
                  <a:pos x="114" y="43"/>
                </a:cxn>
                <a:cxn ang="0">
                  <a:pos x="80" y="59"/>
                </a:cxn>
                <a:cxn ang="0">
                  <a:pos x="81" y="112"/>
                </a:cxn>
                <a:cxn ang="0">
                  <a:pos x="48" y="80"/>
                </a:cxn>
                <a:cxn ang="0">
                  <a:pos x="0" y="84"/>
                </a:cxn>
              </a:cxnLst>
              <a:rect l="0" t="0" r="r" b="b"/>
              <a:pathLst>
                <a:path w="119" h="112">
                  <a:moveTo>
                    <a:pt x="0" y="84"/>
                  </a:moveTo>
                  <a:lnTo>
                    <a:pt x="47" y="70"/>
                  </a:lnTo>
                  <a:lnTo>
                    <a:pt x="22" y="57"/>
                  </a:lnTo>
                  <a:lnTo>
                    <a:pt x="45" y="18"/>
                  </a:lnTo>
                  <a:lnTo>
                    <a:pt x="63" y="43"/>
                  </a:lnTo>
                  <a:lnTo>
                    <a:pt x="64" y="0"/>
                  </a:lnTo>
                  <a:lnTo>
                    <a:pt x="119" y="0"/>
                  </a:lnTo>
                  <a:lnTo>
                    <a:pt x="114" y="43"/>
                  </a:lnTo>
                  <a:lnTo>
                    <a:pt x="80" y="59"/>
                  </a:lnTo>
                  <a:lnTo>
                    <a:pt x="81" y="112"/>
                  </a:lnTo>
                  <a:lnTo>
                    <a:pt x="48" y="80"/>
                  </a:lnTo>
                  <a:lnTo>
                    <a:pt x="0" y="8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15" name="3048747468813.62514.55">
              <a:extLst>
                <a:ext uri="{FF2B5EF4-FFF2-40B4-BE49-F238E27FC236}">
                  <a16:creationId xmlns:a16="http://schemas.microsoft.com/office/drawing/2014/main" id="{92C68580-2C3A-4125-8FC1-072A4152FD90}"/>
                </a:ext>
              </a:extLst>
            </p:cNvPr>
            <p:cNvSpPr>
              <a:spLocks noChangeAspect="1"/>
            </p:cNvSpPr>
            <p:nvPr/>
          </p:nvSpPr>
          <p:spPr bwMode="gray">
            <a:xfrm>
              <a:off x="10702504" y="5975990"/>
              <a:ext cx="232046" cy="220341"/>
            </a:xfrm>
            <a:custGeom>
              <a:avLst/>
              <a:gdLst/>
              <a:ahLst/>
              <a:cxnLst>
                <a:cxn ang="0">
                  <a:pos x="0" y="212"/>
                </a:cxn>
                <a:cxn ang="0">
                  <a:pos x="54" y="138"/>
                </a:cxn>
                <a:cxn ang="0">
                  <a:pos x="147" y="83"/>
                </a:cxn>
                <a:cxn ang="0">
                  <a:pos x="194" y="0"/>
                </a:cxn>
                <a:cxn ang="0">
                  <a:pos x="223" y="25"/>
                </a:cxn>
                <a:cxn ang="0">
                  <a:pos x="254" y="14"/>
                </a:cxn>
                <a:cxn ang="0">
                  <a:pos x="257" y="43"/>
                </a:cxn>
                <a:cxn ang="0">
                  <a:pos x="209" y="101"/>
                </a:cxn>
                <a:cxn ang="0">
                  <a:pos x="220" y="127"/>
                </a:cxn>
                <a:cxn ang="0">
                  <a:pos x="165" y="137"/>
                </a:cxn>
                <a:cxn ang="0">
                  <a:pos x="139" y="218"/>
                </a:cxn>
                <a:cxn ang="0">
                  <a:pos x="83" y="243"/>
                </a:cxn>
                <a:cxn ang="0">
                  <a:pos x="0" y="212"/>
                </a:cxn>
              </a:cxnLst>
              <a:rect l="0" t="0" r="r" b="b"/>
              <a:pathLst>
                <a:path w="257" h="243">
                  <a:moveTo>
                    <a:pt x="0" y="212"/>
                  </a:moveTo>
                  <a:lnTo>
                    <a:pt x="54" y="138"/>
                  </a:lnTo>
                  <a:lnTo>
                    <a:pt x="147" y="83"/>
                  </a:lnTo>
                  <a:lnTo>
                    <a:pt x="194" y="0"/>
                  </a:lnTo>
                  <a:lnTo>
                    <a:pt x="223" y="25"/>
                  </a:lnTo>
                  <a:lnTo>
                    <a:pt x="254" y="14"/>
                  </a:lnTo>
                  <a:lnTo>
                    <a:pt x="257" y="43"/>
                  </a:lnTo>
                  <a:lnTo>
                    <a:pt x="209" y="101"/>
                  </a:lnTo>
                  <a:lnTo>
                    <a:pt x="220" y="127"/>
                  </a:lnTo>
                  <a:lnTo>
                    <a:pt x="165" y="137"/>
                  </a:lnTo>
                  <a:lnTo>
                    <a:pt x="139" y="218"/>
                  </a:lnTo>
                  <a:lnTo>
                    <a:pt x="83" y="243"/>
                  </a:lnTo>
                  <a:lnTo>
                    <a:pt x="0" y="212"/>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16" name="30488460.625699.515115">
              <a:extLst>
                <a:ext uri="{FF2B5EF4-FFF2-40B4-BE49-F238E27FC236}">
                  <a16:creationId xmlns:a16="http://schemas.microsoft.com/office/drawing/2014/main" id="{A7F95610-E4A7-4D3A-BCCD-38B31FBF7DDE}"/>
                </a:ext>
              </a:extLst>
            </p:cNvPr>
            <p:cNvSpPr>
              <a:spLocks noChangeAspect="1"/>
            </p:cNvSpPr>
            <p:nvPr/>
          </p:nvSpPr>
          <p:spPr bwMode="gray">
            <a:xfrm>
              <a:off x="10887001" y="5759013"/>
              <a:ext cx="176887" cy="243889"/>
            </a:xfrm>
            <a:custGeom>
              <a:avLst/>
              <a:gdLst/>
              <a:ahLst/>
              <a:cxnLst>
                <a:cxn ang="0">
                  <a:pos x="0" y="0"/>
                </a:cxn>
                <a:cxn ang="0">
                  <a:pos x="53" y="30"/>
                </a:cxn>
                <a:cxn ang="0">
                  <a:pos x="67" y="89"/>
                </a:cxn>
                <a:cxn ang="0">
                  <a:pos x="90" y="105"/>
                </a:cxn>
                <a:cxn ang="0">
                  <a:pos x="104" y="81"/>
                </a:cxn>
                <a:cxn ang="0">
                  <a:pos x="115" y="121"/>
                </a:cxn>
                <a:cxn ang="0">
                  <a:pos x="193" y="121"/>
                </a:cxn>
                <a:cxn ang="0">
                  <a:pos x="177" y="180"/>
                </a:cxn>
                <a:cxn ang="0">
                  <a:pos x="138" y="188"/>
                </a:cxn>
                <a:cxn ang="0">
                  <a:pos x="105" y="265"/>
                </a:cxn>
                <a:cxn ang="0">
                  <a:pos x="68" y="266"/>
                </a:cxn>
                <a:cxn ang="0">
                  <a:pos x="85" y="239"/>
                </a:cxn>
                <a:cxn ang="0">
                  <a:pos x="37" y="184"/>
                </a:cxn>
                <a:cxn ang="0">
                  <a:pos x="75" y="136"/>
                </a:cxn>
                <a:cxn ang="0">
                  <a:pos x="68" y="96"/>
                </a:cxn>
                <a:cxn ang="0">
                  <a:pos x="0" y="0"/>
                </a:cxn>
              </a:cxnLst>
              <a:rect l="0" t="0" r="r" b="b"/>
              <a:pathLst>
                <a:path w="193" h="266">
                  <a:moveTo>
                    <a:pt x="0" y="0"/>
                  </a:moveTo>
                  <a:lnTo>
                    <a:pt x="53" y="30"/>
                  </a:lnTo>
                  <a:lnTo>
                    <a:pt x="67" y="89"/>
                  </a:lnTo>
                  <a:lnTo>
                    <a:pt x="90" y="105"/>
                  </a:lnTo>
                  <a:lnTo>
                    <a:pt x="104" y="81"/>
                  </a:lnTo>
                  <a:lnTo>
                    <a:pt x="115" y="121"/>
                  </a:lnTo>
                  <a:lnTo>
                    <a:pt x="193" y="121"/>
                  </a:lnTo>
                  <a:lnTo>
                    <a:pt x="177" y="180"/>
                  </a:lnTo>
                  <a:lnTo>
                    <a:pt x="138" y="188"/>
                  </a:lnTo>
                  <a:lnTo>
                    <a:pt x="105" y="265"/>
                  </a:lnTo>
                  <a:lnTo>
                    <a:pt x="68" y="266"/>
                  </a:lnTo>
                  <a:lnTo>
                    <a:pt x="85" y="239"/>
                  </a:lnTo>
                  <a:lnTo>
                    <a:pt x="37" y="184"/>
                  </a:lnTo>
                  <a:lnTo>
                    <a:pt x="75" y="136"/>
                  </a:lnTo>
                  <a:lnTo>
                    <a:pt x="68" y="96"/>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17" name="30490231.125383.87539.12548.755">
              <a:extLst>
                <a:ext uri="{FF2B5EF4-FFF2-40B4-BE49-F238E27FC236}">
                  <a16:creationId xmlns:a16="http://schemas.microsoft.com/office/drawing/2014/main" id="{7BEAC224-DE9A-4781-A95A-5B11600CE2D5}"/>
                </a:ext>
              </a:extLst>
            </p:cNvPr>
            <p:cNvSpPr>
              <a:spLocks noChangeAspect="1"/>
            </p:cNvSpPr>
            <p:nvPr/>
          </p:nvSpPr>
          <p:spPr bwMode="gray">
            <a:xfrm>
              <a:off x="5825761" y="2043493"/>
              <a:ext cx="781724" cy="632428"/>
            </a:xfrm>
            <a:custGeom>
              <a:avLst/>
              <a:gdLst/>
              <a:ahLst/>
              <a:cxnLst>
                <a:cxn ang="0">
                  <a:pos x="3" y="548"/>
                </a:cxn>
                <a:cxn ang="0">
                  <a:pos x="84" y="539"/>
                </a:cxn>
                <a:cxn ang="0">
                  <a:pos x="22" y="571"/>
                </a:cxn>
                <a:cxn ang="0">
                  <a:pos x="69" y="577"/>
                </a:cxn>
                <a:cxn ang="0">
                  <a:pos x="43" y="629"/>
                </a:cxn>
                <a:cxn ang="0">
                  <a:pos x="105" y="693"/>
                </a:cxn>
                <a:cxn ang="0">
                  <a:pos x="184" y="610"/>
                </a:cxn>
                <a:cxn ang="0">
                  <a:pos x="244" y="600"/>
                </a:cxn>
                <a:cxn ang="0">
                  <a:pos x="255" y="537"/>
                </a:cxn>
                <a:cxn ang="0">
                  <a:pos x="239" y="417"/>
                </a:cxn>
                <a:cxn ang="0">
                  <a:pos x="289" y="363"/>
                </a:cxn>
                <a:cxn ang="0">
                  <a:pos x="374" y="233"/>
                </a:cxn>
                <a:cxn ang="0">
                  <a:pos x="428" y="179"/>
                </a:cxn>
                <a:cxn ang="0">
                  <a:pos x="502" y="157"/>
                </a:cxn>
                <a:cxn ang="0">
                  <a:pos x="518" y="120"/>
                </a:cxn>
                <a:cxn ang="0">
                  <a:pos x="580" y="136"/>
                </a:cxn>
                <a:cxn ang="0">
                  <a:pos x="690" y="121"/>
                </a:cxn>
                <a:cxn ang="0">
                  <a:pos x="767" y="63"/>
                </a:cxn>
                <a:cxn ang="0">
                  <a:pos x="799" y="120"/>
                </a:cxn>
                <a:cxn ang="0">
                  <a:pos x="819" y="83"/>
                </a:cxn>
                <a:cxn ang="0">
                  <a:pos x="788" y="59"/>
                </a:cxn>
                <a:cxn ang="0">
                  <a:pos x="803" y="13"/>
                </a:cxn>
                <a:cxn ang="0">
                  <a:pos x="784" y="4"/>
                </a:cxn>
                <a:cxn ang="0">
                  <a:pos x="731" y="39"/>
                </a:cxn>
                <a:cxn ang="0">
                  <a:pos x="720" y="8"/>
                </a:cxn>
                <a:cxn ang="0">
                  <a:pos x="694" y="14"/>
                </a:cxn>
                <a:cxn ang="0">
                  <a:pos x="606" y="66"/>
                </a:cxn>
                <a:cxn ang="0">
                  <a:pos x="565" y="81"/>
                </a:cxn>
                <a:cxn ang="0">
                  <a:pos x="503" y="105"/>
                </a:cxn>
                <a:cxn ang="0">
                  <a:pos x="487" y="99"/>
                </a:cxn>
                <a:cxn ang="0">
                  <a:pos x="481" y="109"/>
                </a:cxn>
                <a:cxn ang="0">
                  <a:pos x="424" y="138"/>
                </a:cxn>
                <a:cxn ang="0">
                  <a:pos x="421" y="156"/>
                </a:cxn>
                <a:cxn ang="0">
                  <a:pos x="340" y="205"/>
                </a:cxn>
                <a:cxn ang="0">
                  <a:pos x="277" y="253"/>
                </a:cxn>
                <a:cxn ang="0">
                  <a:pos x="154" y="405"/>
                </a:cxn>
                <a:cxn ang="0">
                  <a:pos x="211" y="410"/>
                </a:cxn>
                <a:cxn ang="0">
                  <a:pos x="69" y="458"/>
                </a:cxn>
                <a:cxn ang="0">
                  <a:pos x="46" y="473"/>
                </a:cxn>
                <a:cxn ang="0">
                  <a:pos x="4" y="495"/>
                </a:cxn>
                <a:cxn ang="0">
                  <a:pos x="0" y="519"/>
                </a:cxn>
              </a:cxnLst>
              <a:rect l="0" t="0" r="r" b="b"/>
              <a:pathLst>
                <a:path w="863" h="693">
                  <a:moveTo>
                    <a:pt x="0" y="519"/>
                  </a:moveTo>
                  <a:lnTo>
                    <a:pt x="3" y="548"/>
                  </a:lnTo>
                  <a:lnTo>
                    <a:pt x="81" y="528"/>
                  </a:lnTo>
                  <a:lnTo>
                    <a:pt x="84" y="539"/>
                  </a:lnTo>
                  <a:lnTo>
                    <a:pt x="2" y="560"/>
                  </a:lnTo>
                  <a:lnTo>
                    <a:pt x="22" y="571"/>
                  </a:lnTo>
                  <a:lnTo>
                    <a:pt x="14" y="608"/>
                  </a:lnTo>
                  <a:lnTo>
                    <a:pt x="69" y="577"/>
                  </a:lnTo>
                  <a:lnTo>
                    <a:pt x="9" y="629"/>
                  </a:lnTo>
                  <a:lnTo>
                    <a:pt x="43" y="629"/>
                  </a:lnTo>
                  <a:lnTo>
                    <a:pt x="22" y="674"/>
                  </a:lnTo>
                  <a:lnTo>
                    <a:pt x="105" y="693"/>
                  </a:lnTo>
                  <a:lnTo>
                    <a:pt x="171" y="649"/>
                  </a:lnTo>
                  <a:lnTo>
                    <a:pt x="184" y="610"/>
                  </a:lnTo>
                  <a:lnTo>
                    <a:pt x="205" y="649"/>
                  </a:lnTo>
                  <a:lnTo>
                    <a:pt x="244" y="600"/>
                  </a:lnTo>
                  <a:lnTo>
                    <a:pt x="237" y="556"/>
                  </a:lnTo>
                  <a:lnTo>
                    <a:pt x="255" y="537"/>
                  </a:lnTo>
                  <a:lnTo>
                    <a:pt x="237" y="516"/>
                  </a:lnTo>
                  <a:lnTo>
                    <a:pt x="239" y="417"/>
                  </a:lnTo>
                  <a:lnTo>
                    <a:pt x="301" y="394"/>
                  </a:lnTo>
                  <a:lnTo>
                    <a:pt x="289" y="363"/>
                  </a:lnTo>
                  <a:lnTo>
                    <a:pt x="316" y="288"/>
                  </a:lnTo>
                  <a:lnTo>
                    <a:pt x="374" y="233"/>
                  </a:lnTo>
                  <a:lnTo>
                    <a:pt x="386" y="187"/>
                  </a:lnTo>
                  <a:lnTo>
                    <a:pt x="428" y="179"/>
                  </a:lnTo>
                  <a:lnTo>
                    <a:pt x="440" y="150"/>
                  </a:lnTo>
                  <a:lnTo>
                    <a:pt x="502" y="157"/>
                  </a:lnTo>
                  <a:lnTo>
                    <a:pt x="503" y="120"/>
                  </a:lnTo>
                  <a:lnTo>
                    <a:pt x="518" y="120"/>
                  </a:lnTo>
                  <a:lnTo>
                    <a:pt x="542" y="103"/>
                  </a:lnTo>
                  <a:lnTo>
                    <a:pt x="580" y="136"/>
                  </a:lnTo>
                  <a:lnTo>
                    <a:pt x="650" y="142"/>
                  </a:lnTo>
                  <a:lnTo>
                    <a:pt x="690" y="121"/>
                  </a:lnTo>
                  <a:lnTo>
                    <a:pt x="701" y="76"/>
                  </a:lnTo>
                  <a:lnTo>
                    <a:pt x="767" y="63"/>
                  </a:lnTo>
                  <a:lnTo>
                    <a:pt x="803" y="81"/>
                  </a:lnTo>
                  <a:lnTo>
                    <a:pt x="799" y="120"/>
                  </a:lnTo>
                  <a:lnTo>
                    <a:pt x="861" y="76"/>
                  </a:lnTo>
                  <a:lnTo>
                    <a:pt x="819" y="83"/>
                  </a:lnTo>
                  <a:lnTo>
                    <a:pt x="830" y="72"/>
                  </a:lnTo>
                  <a:lnTo>
                    <a:pt x="788" y="59"/>
                  </a:lnTo>
                  <a:lnTo>
                    <a:pt x="863" y="39"/>
                  </a:lnTo>
                  <a:lnTo>
                    <a:pt x="803" y="13"/>
                  </a:lnTo>
                  <a:lnTo>
                    <a:pt x="763" y="39"/>
                  </a:lnTo>
                  <a:lnTo>
                    <a:pt x="784" y="4"/>
                  </a:lnTo>
                  <a:lnTo>
                    <a:pt x="752" y="0"/>
                  </a:lnTo>
                  <a:lnTo>
                    <a:pt x="731" y="39"/>
                  </a:lnTo>
                  <a:lnTo>
                    <a:pt x="720" y="41"/>
                  </a:lnTo>
                  <a:lnTo>
                    <a:pt x="720" y="8"/>
                  </a:lnTo>
                  <a:lnTo>
                    <a:pt x="665" y="63"/>
                  </a:lnTo>
                  <a:lnTo>
                    <a:pt x="694" y="14"/>
                  </a:lnTo>
                  <a:lnTo>
                    <a:pt x="665" y="6"/>
                  </a:lnTo>
                  <a:lnTo>
                    <a:pt x="606" y="66"/>
                  </a:lnTo>
                  <a:lnTo>
                    <a:pt x="550" y="47"/>
                  </a:lnTo>
                  <a:lnTo>
                    <a:pt x="565" y="81"/>
                  </a:lnTo>
                  <a:lnTo>
                    <a:pt x="542" y="63"/>
                  </a:lnTo>
                  <a:lnTo>
                    <a:pt x="503" y="105"/>
                  </a:lnTo>
                  <a:lnTo>
                    <a:pt x="507" y="70"/>
                  </a:lnTo>
                  <a:lnTo>
                    <a:pt x="487" y="99"/>
                  </a:lnTo>
                  <a:lnTo>
                    <a:pt x="469" y="79"/>
                  </a:lnTo>
                  <a:lnTo>
                    <a:pt x="481" y="109"/>
                  </a:lnTo>
                  <a:lnTo>
                    <a:pt x="436" y="96"/>
                  </a:lnTo>
                  <a:lnTo>
                    <a:pt x="424" y="138"/>
                  </a:lnTo>
                  <a:lnTo>
                    <a:pt x="382" y="153"/>
                  </a:lnTo>
                  <a:lnTo>
                    <a:pt x="421" y="156"/>
                  </a:lnTo>
                  <a:lnTo>
                    <a:pt x="352" y="176"/>
                  </a:lnTo>
                  <a:lnTo>
                    <a:pt x="340" y="205"/>
                  </a:lnTo>
                  <a:lnTo>
                    <a:pt x="360" y="205"/>
                  </a:lnTo>
                  <a:lnTo>
                    <a:pt x="277" y="253"/>
                  </a:lnTo>
                  <a:lnTo>
                    <a:pt x="245" y="336"/>
                  </a:lnTo>
                  <a:lnTo>
                    <a:pt x="154" y="405"/>
                  </a:lnTo>
                  <a:lnTo>
                    <a:pt x="171" y="422"/>
                  </a:lnTo>
                  <a:lnTo>
                    <a:pt x="211" y="410"/>
                  </a:lnTo>
                  <a:lnTo>
                    <a:pt x="118" y="431"/>
                  </a:lnTo>
                  <a:lnTo>
                    <a:pt x="69" y="458"/>
                  </a:lnTo>
                  <a:lnTo>
                    <a:pt x="81" y="473"/>
                  </a:lnTo>
                  <a:lnTo>
                    <a:pt x="46" y="473"/>
                  </a:lnTo>
                  <a:lnTo>
                    <a:pt x="48" y="495"/>
                  </a:lnTo>
                  <a:lnTo>
                    <a:pt x="4" y="495"/>
                  </a:lnTo>
                  <a:lnTo>
                    <a:pt x="46" y="506"/>
                  </a:lnTo>
                  <a:lnTo>
                    <a:pt x="0" y="51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18" name="30492398.25640.2514.62518.6255">
              <a:extLst>
                <a:ext uri="{FF2B5EF4-FFF2-40B4-BE49-F238E27FC236}">
                  <a16:creationId xmlns:a16="http://schemas.microsoft.com/office/drawing/2014/main" id="{40B75EEC-37BB-4C10-88F0-A63E2EC928D9}"/>
                </a:ext>
              </a:extLst>
            </p:cNvPr>
            <p:cNvSpPr>
              <a:spLocks noChangeAspect="1"/>
            </p:cNvSpPr>
            <p:nvPr/>
          </p:nvSpPr>
          <p:spPr bwMode="gray">
            <a:xfrm>
              <a:off x="9937897" y="4748138"/>
              <a:ext cx="296713" cy="237163"/>
            </a:xfrm>
            <a:custGeom>
              <a:avLst/>
              <a:gdLst/>
              <a:ahLst/>
              <a:cxnLst>
                <a:cxn ang="0">
                  <a:pos x="0" y="0"/>
                </a:cxn>
                <a:cxn ang="0">
                  <a:pos x="5" y="216"/>
                </a:cxn>
                <a:cxn ang="0">
                  <a:pos x="59" y="223"/>
                </a:cxn>
                <a:cxn ang="0">
                  <a:pos x="112" y="164"/>
                </a:cxn>
                <a:cxn ang="0">
                  <a:pos x="171" y="190"/>
                </a:cxn>
                <a:cxn ang="0">
                  <a:pos x="226" y="248"/>
                </a:cxn>
                <a:cxn ang="0">
                  <a:pos x="331" y="259"/>
                </a:cxn>
                <a:cxn ang="0">
                  <a:pos x="211" y="162"/>
                </a:cxn>
                <a:cxn ang="0">
                  <a:pos x="220" y="116"/>
                </a:cxn>
                <a:cxn ang="0">
                  <a:pos x="163" y="99"/>
                </a:cxn>
                <a:cxn ang="0">
                  <a:pos x="111" y="40"/>
                </a:cxn>
                <a:cxn ang="0">
                  <a:pos x="0" y="0"/>
                </a:cxn>
              </a:cxnLst>
              <a:rect l="0" t="0" r="r" b="b"/>
              <a:pathLst>
                <a:path w="331" h="259">
                  <a:moveTo>
                    <a:pt x="0" y="0"/>
                  </a:moveTo>
                  <a:lnTo>
                    <a:pt x="5" y="216"/>
                  </a:lnTo>
                  <a:lnTo>
                    <a:pt x="59" y="223"/>
                  </a:lnTo>
                  <a:lnTo>
                    <a:pt x="112" y="164"/>
                  </a:lnTo>
                  <a:lnTo>
                    <a:pt x="171" y="190"/>
                  </a:lnTo>
                  <a:lnTo>
                    <a:pt x="226" y="248"/>
                  </a:lnTo>
                  <a:lnTo>
                    <a:pt x="331" y="259"/>
                  </a:lnTo>
                  <a:lnTo>
                    <a:pt x="211" y="162"/>
                  </a:lnTo>
                  <a:lnTo>
                    <a:pt x="220" y="116"/>
                  </a:lnTo>
                  <a:lnTo>
                    <a:pt x="163" y="99"/>
                  </a:lnTo>
                  <a:lnTo>
                    <a:pt x="111" y="40"/>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19" name="30493401.375653.8753.757.755">
              <a:extLst>
                <a:ext uri="{FF2B5EF4-FFF2-40B4-BE49-F238E27FC236}">
                  <a16:creationId xmlns:a16="http://schemas.microsoft.com/office/drawing/2014/main" id="{CE8F7D75-F503-4858-8513-CB8A6037FD27}"/>
                </a:ext>
              </a:extLst>
            </p:cNvPr>
            <p:cNvSpPr>
              <a:spLocks noChangeAspect="1"/>
            </p:cNvSpPr>
            <p:nvPr/>
          </p:nvSpPr>
          <p:spPr bwMode="gray">
            <a:xfrm>
              <a:off x="10156632" y="4798598"/>
              <a:ext cx="123631" cy="62235"/>
            </a:xfrm>
            <a:custGeom>
              <a:avLst/>
              <a:gdLst/>
              <a:ahLst/>
              <a:cxnLst>
                <a:cxn ang="0">
                  <a:pos x="0" y="44"/>
                </a:cxn>
                <a:cxn ang="0">
                  <a:pos x="81" y="67"/>
                </a:cxn>
                <a:cxn ang="0">
                  <a:pos x="137" y="21"/>
                </a:cxn>
                <a:cxn ang="0">
                  <a:pos x="115" y="0"/>
                </a:cxn>
                <a:cxn ang="0">
                  <a:pos x="97" y="26"/>
                </a:cxn>
                <a:cxn ang="0">
                  <a:pos x="0" y="44"/>
                </a:cxn>
              </a:cxnLst>
              <a:rect l="0" t="0" r="r" b="b"/>
              <a:pathLst>
                <a:path w="137" h="67">
                  <a:moveTo>
                    <a:pt x="0" y="44"/>
                  </a:moveTo>
                  <a:lnTo>
                    <a:pt x="81" y="67"/>
                  </a:lnTo>
                  <a:lnTo>
                    <a:pt x="137" y="21"/>
                  </a:lnTo>
                  <a:lnTo>
                    <a:pt x="115" y="0"/>
                  </a:lnTo>
                  <a:lnTo>
                    <a:pt x="97" y="26"/>
                  </a:lnTo>
                  <a:lnTo>
                    <a:pt x="0" y="4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20" name="30494398.5658.6253.754.1255">
              <a:extLst>
                <a:ext uri="{FF2B5EF4-FFF2-40B4-BE49-F238E27FC236}">
                  <a16:creationId xmlns:a16="http://schemas.microsoft.com/office/drawing/2014/main" id="{22E1A6C0-C300-4A65-AE93-BEBE247AD20E}"/>
                </a:ext>
              </a:extLst>
            </p:cNvPr>
            <p:cNvSpPr>
              <a:spLocks noChangeAspect="1"/>
            </p:cNvSpPr>
            <p:nvPr/>
          </p:nvSpPr>
          <p:spPr bwMode="gray">
            <a:xfrm>
              <a:off x="10232709" y="4753183"/>
              <a:ext cx="64667" cy="60551"/>
            </a:xfrm>
            <a:custGeom>
              <a:avLst/>
              <a:gdLst/>
              <a:ahLst/>
              <a:cxnLst>
                <a:cxn ang="0">
                  <a:pos x="0" y="0"/>
                </a:cxn>
                <a:cxn ang="0">
                  <a:pos x="55" y="30"/>
                </a:cxn>
                <a:cxn ang="0">
                  <a:pos x="73" y="66"/>
                </a:cxn>
                <a:cxn ang="0">
                  <a:pos x="72" y="40"/>
                </a:cxn>
                <a:cxn ang="0">
                  <a:pos x="0" y="0"/>
                </a:cxn>
              </a:cxnLst>
              <a:rect l="0" t="0" r="r" b="b"/>
              <a:pathLst>
                <a:path w="73" h="66">
                  <a:moveTo>
                    <a:pt x="0" y="0"/>
                  </a:moveTo>
                  <a:lnTo>
                    <a:pt x="55" y="30"/>
                  </a:lnTo>
                  <a:lnTo>
                    <a:pt x="73" y="66"/>
                  </a:lnTo>
                  <a:lnTo>
                    <a:pt x="72" y="40"/>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21" name="30497310.37535710.565">
              <a:extLst>
                <a:ext uri="{FF2B5EF4-FFF2-40B4-BE49-F238E27FC236}">
                  <a16:creationId xmlns:a16="http://schemas.microsoft.com/office/drawing/2014/main" id="{E4A9EF79-0F66-46DE-B1C1-E822855E7210}"/>
                </a:ext>
              </a:extLst>
            </p:cNvPr>
            <p:cNvSpPr>
              <a:spLocks noChangeAspect="1"/>
            </p:cNvSpPr>
            <p:nvPr/>
          </p:nvSpPr>
          <p:spPr bwMode="gray">
            <a:xfrm>
              <a:off x="5395906" y="3323489"/>
              <a:ext cx="98904" cy="173246"/>
            </a:xfrm>
            <a:custGeom>
              <a:avLst/>
              <a:gdLst/>
              <a:ahLst/>
              <a:cxnLst>
                <a:cxn ang="0">
                  <a:pos x="0" y="121"/>
                </a:cxn>
                <a:cxn ang="0">
                  <a:pos x="18" y="0"/>
                </a:cxn>
                <a:cxn ang="0">
                  <a:pos x="104" y="8"/>
                </a:cxn>
                <a:cxn ang="0">
                  <a:pos x="66" y="85"/>
                </a:cxn>
                <a:cxn ang="0">
                  <a:pos x="66" y="180"/>
                </a:cxn>
                <a:cxn ang="0">
                  <a:pos x="15" y="185"/>
                </a:cxn>
                <a:cxn ang="0">
                  <a:pos x="22" y="127"/>
                </a:cxn>
                <a:cxn ang="0">
                  <a:pos x="0" y="121"/>
                </a:cxn>
              </a:cxnLst>
              <a:rect l="0" t="0" r="r" b="b"/>
              <a:pathLst>
                <a:path w="104" h="185">
                  <a:moveTo>
                    <a:pt x="0" y="121"/>
                  </a:moveTo>
                  <a:lnTo>
                    <a:pt x="18" y="0"/>
                  </a:lnTo>
                  <a:lnTo>
                    <a:pt x="104" y="8"/>
                  </a:lnTo>
                  <a:lnTo>
                    <a:pt x="66" y="85"/>
                  </a:lnTo>
                  <a:lnTo>
                    <a:pt x="66" y="180"/>
                  </a:lnTo>
                  <a:lnTo>
                    <a:pt x="15" y="185"/>
                  </a:lnTo>
                  <a:lnTo>
                    <a:pt x="22" y="127"/>
                  </a:lnTo>
                  <a:lnTo>
                    <a:pt x="0" y="121"/>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22" name="30498331.125439.62532.87539.6255">
              <a:extLst>
                <a:ext uri="{FF2B5EF4-FFF2-40B4-BE49-F238E27FC236}">
                  <a16:creationId xmlns:a16="http://schemas.microsoft.com/office/drawing/2014/main" id="{1B9022B8-750F-4352-9BE4-216E8060F4AB}"/>
                </a:ext>
              </a:extLst>
            </p:cNvPr>
            <p:cNvSpPr>
              <a:spLocks noChangeAspect="1"/>
            </p:cNvSpPr>
            <p:nvPr/>
          </p:nvSpPr>
          <p:spPr bwMode="gray">
            <a:xfrm>
              <a:off x="6721605" y="3663252"/>
              <a:ext cx="633369" cy="531511"/>
            </a:xfrm>
            <a:custGeom>
              <a:avLst/>
              <a:gdLst/>
              <a:ahLst/>
              <a:cxnLst>
                <a:cxn ang="0">
                  <a:pos x="0" y="153"/>
                </a:cxn>
                <a:cxn ang="0">
                  <a:pos x="10" y="102"/>
                </a:cxn>
                <a:cxn ang="0">
                  <a:pos x="47" y="113"/>
                </a:cxn>
                <a:cxn ang="0">
                  <a:pos x="92" y="81"/>
                </a:cxn>
                <a:cxn ang="0">
                  <a:pos x="112" y="59"/>
                </a:cxn>
                <a:cxn ang="0">
                  <a:pos x="75" y="25"/>
                </a:cxn>
                <a:cxn ang="0">
                  <a:pos x="150" y="0"/>
                </a:cxn>
                <a:cxn ang="0">
                  <a:pos x="300" y="67"/>
                </a:cxn>
                <a:cxn ang="0">
                  <a:pos x="301" y="92"/>
                </a:cxn>
                <a:cxn ang="0">
                  <a:pos x="337" y="108"/>
                </a:cxn>
                <a:cxn ang="0">
                  <a:pos x="369" y="125"/>
                </a:cxn>
                <a:cxn ang="0">
                  <a:pos x="398" y="113"/>
                </a:cxn>
                <a:cxn ang="0">
                  <a:pos x="458" y="132"/>
                </a:cxn>
                <a:cxn ang="0">
                  <a:pos x="539" y="265"/>
                </a:cxn>
                <a:cxn ang="0">
                  <a:pos x="549" y="275"/>
                </a:cxn>
                <a:cxn ang="0">
                  <a:pos x="580" y="327"/>
                </a:cxn>
                <a:cxn ang="0">
                  <a:pos x="686" y="340"/>
                </a:cxn>
                <a:cxn ang="0">
                  <a:pos x="703" y="364"/>
                </a:cxn>
                <a:cxn ang="0">
                  <a:pos x="678" y="433"/>
                </a:cxn>
                <a:cxn ang="0">
                  <a:pos x="580" y="467"/>
                </a:cxn>
                <a:cxn ang="0">
                  <a:pos x="473" y="491"/>
                </a:cxn>
                <a:cxn ang="0">
                  <a:pos x="388" y="584"/>
                </a:cxn>
                <a:cxn ang="0">
                  <a:pos x="388" y="549"/>
                </a:cxn>
                <a:cxn ang="0">
                  <a:pos x="327" y="525"/>
                </a:cxn>
                <a:cxn ang="0">
                  <a:pos x="267" y="557"/>
                </a:cxn>
                <a:cxn ang="0">
                  <a:pos x="207" y="451"/>
                </a:cxn>
                <a:cxn ang="0">
                  <a:pos x="157" y="410"/>
                </a:cxn>
                <a:cxn ang="0">
                  <a:pos x="125" y="300"/>
                </a:cxn>
                <a:cxn ang="0">
                  <a:pos x="0" y="153"/>
                </a:cxn>
              </a:cxnLst>
              <a:rect l="0" t="0" r="r" b="b"/>
              <a:pathLst>
                <a:path w="703" h="584">
                  <a:moveTo>
                    <a:pt x="0" y="153"/>
                  </a:moveTo>
                  <a:lnTo>
                    <a:pt x="10" y="102"/>
                  </a:lnTo>
                  <a:lnTo>
                    <a:pt x="47" y="113"/>
                  </a:lnTo>
                  <a:lnTo>
                    <a:pt x="92" y="81"/>
                  </a:lnTo>
                  <a:lnTo>
                    <a:pt x="112" y="59"/>
                  </a:lnTo>
                  <a:lnTo>
                    <a:pt x="75" y="25"/>
                  </a:lnTo>
                  <a:lnTo>
                    <a:pt x="150" y="0"/>
                  </a:lnTo>
                  <a:lnTo>
                    <a:pt x="300" y="67"/>
                  </a:lnTo>
                  <a:lnTo>
                    <a:pt x="301" y="92"/>
                  </a:lnTo>
                  <a:lnTo>
                    <a:pt x="337" y="108"/>
                  </a:lnTo>
                  <a:lnTo>
                    <a:pt x="369" y="125"/>
                  </a:lnTo>
                  <a:lnTo>
                    <a:pt x="398" y="113"/>
                  </a:lnTo>
                  <a:lnTo>
                    <a:pt x="458" y="132"/>
                  </a:lnTo>
                  <a:lnTo>
                    <a:pt x="539" y="265"/>
                  </a:lnTo>
                  <a:lnTo>
                    <a:pt x="549" y="275"/>
                  </a:lnTo>
                  <a:lnTo>
                    <a:pt x="580" y="327"/>
                  </a:lnTo>
                  <a:lnTo>
                    <a:pt x="686" y="340"/>
                  </a:lnTo>
                  <a:lnTo>
                    <a:pt x="703" y="364"/>
                  </a:lnTo>
                  <a:lnTo>
                    <a:pt x="678" y="433"/>
                  </a:lnTo>
                  <a:lnTo>
                    <a:pt x="580" y="467"/>
                  </a:lnTo>
                  <a:lnTo>
                    <a:pt x="473" y="491"/>
                  </a:lnTo>
                  <a:lnTo>
                    <a:pt x="388" y="584"/>
                  </a:lnTo>
                  <a:lnTo>
                    <a:pt x="388" y="549"/>
                  </a:lnTo>
                  <a:lnTo>
                    <a:pt x="327" y="525"/>
                  </a:lnTo>
                  <a:lnTo>
                    <a:pt x="267" y="557"/>
                  </a:lnTo>
                  <a:lnTo>
                    <a:pt x="207" y="451"/>
                  </a:lnTo>
                  <a:lnTo>
                    <a:pt x="157" y="410"/>
                  </a:lnTo>
                  <a:lnTo>
                    <a:pt x="125" y="300"/>
                  </a:lnTo>
                  <a:lnTo>
                    <a:pt x="0" y="153"/>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23" name="30499206.625411.25103.25321.6255">
              <a:extLst>
                <a:ext uri="{FF2B5EF4-FFF2-40B4-BE49-F238E27FC236}">
                  <a16:creationId xmlns:a16="http://schemas.microsoft.com/office/drawing/2014/main" id="{9B9BE5BD-499A-49D4-BBBD-25B450926C13}"/>
                </a:ext>
              </a:extLst>
            </p:cNvPr>
            <p:cNvSpPr>
              <a:spLocks noChangeAspect="1"/>
            </p:cNvSpPr>
            <p:nvPr/>
          </p:nvSpPr>
          <p:spPr bwMode="gray">
            <a:xfrm>
              <a:off x="6267027" y="1644859"/>
              <a:ext cx="5154439" cy="1673584"/>
            </a:xfrm>
            <a:custGeom>
              <a:avLst/>
              <a:gdLst/>
              <a:ahLst/>
              <a:cxnLst>
                <a:cxn ang="0">
                  <a:pos x="93" y="1148"/>
                </a:cxn>
                <a:cxn ang="0">
                  <a:pos x="301" y="1001"/>
                </a:cxn>
                <a:cxn ang="0">
                  <a:pos x="298" y="591"/>
                </a:cxn>
                <a:cxn ang="0">
                  <a:pos x="541" y="545"/>
                </a:cxn>
                <a:cxn ang="0">
                  <a:pos x="598" y="844"/>
                </a:cxn>
                <a:cxn ang="0">
                  <a:pos x="672" y="747"/>
                </a:cxn>
                <a:cxn ang="0">
                  <a:pos x="846" y="645"/>
                </a:cxn>
                <a:cxn ang="0">
                  <a:pos x="1311" y="554"/>
                </a:cxn>
                <a:cxn ang="0">
                  <a:pos x="1652" y="567"/>
                </a:cxn>
                <a:cxn ang="0">
                  <a:pos x="1660" y="318"/>
                </a:cxn>
                <a:cxn ang="0">
                  <a:pos x="1784" y="629"/>
                </a:cxn>
                <a:cxn ang="0">
                  <a:pos x="1858" y="567"/>
                </a:cxn>
                <a:cxn ang="0">
                  <a:pos x="1938" y="567"/>
                </a:cxn>
                <a:cxn ang="0">
                  <a:pos x="1854" y="411"/>
                </a:cxn>
                <a:cxn ang="0">
                  <a:pos x="2123" y="399"/>
                </a:cxn>
                <a:cxn ang="0">
                  <a:pos x="2237" y="257"/>
                </a:cxn>
                <a:cxn ang="0">
                  <a:pos x="2542" y="107"/>
                </a:cxn>
                <a:cxn ang="0">
                  <a:pos x="2724" y="47"/>
                </a:cxn>
                <a:cxn ang="0">
                  <a:pos x="3143" y="124"/>
                </a:cxn>
                <a:cxn ang="0">
                  <a:pos x="2895" y="301"/>
                </a:cxn>
                <a:cxn ang="0">
                  <a:pos x="3172" y="304"/>
                </a:cxn>
                <a:cxn ang="0">
                  <a:pos x="3460" y="264"/>
                </a:cxn>
                <a:cxn ang="0">
                  <a:pos x="3868" y="399"/>
                </a:cxn>
                <a:cxn ang="0">
                  <a:pos x="4318" y="397"/>
                </a:cxn>
                <a:cxn ang="0">
                  <a:pos x="4766" y="514"/>
                </a:cxn>
                <a:cxn ang="0">
                  <a:pos x="5041" y="496"/>
                </a:cxn>
                <a:cxn ang="0">
                  <a:pos x="5579" y="678"/>
                </a:cxn>
                <a:cxn ang="0">
                  <a:pos x="5552" y="810"/>
                </a:cxn>
                <a:cxn ang="0">
                  <a:pos x="5376" y="708"/>
                </a:cxn>
                <a:cxn ang="0">
                  <a:pos x="5321" y="917"/>
                </a:cxn>
                <a:cxn ang="0">
                  <a:pos x="4890" y="1011"/>
                </a:cxn>
                <a:cxn ang="0">
                  <a:pos x="4762" y="1214"/>
                </a:cxn>
                <a:cxn ang="0">
                  <a:pos x="4582" y="1462"/>
                </a:cxn>
                <a:cxn ang="0">
                  <a:pos x="4826" y="926"/>
                </a:cxn>
                <a:cxn ang="0">
                  <a:pos x="4492" y="1044"/>
                </a:cxn>
                <a:cxn ang="0">
                  <a:pos x="4106" y="1078"/>
                </a:cxn>
                <a:cxn ang="0">
                  <a:pos x="3965" y="1344"/>
                </a:cxn>
                <a:cxn ang="0">
                  <a:pos x="4035" y="1469"/>
                </a:cxn>
                <a:cxn ang="0">
                  <a:pos x="3727" y="1776"/>
                </a:cxn>
                <a:cxn ang="0">
                  <a:pos x="3540" y="1370"/>
                </a:cxn>
                <a:cxn ang="0">
                  <a:pos x="3166" y="1491"/>
                </a:cxn>
                <a:cxn ang="0">
                  <a:pos x="2610" y="1499"/>
                </a:cxn>
                <a:cxn ang="0">
                  <a:pos x="2013" y="1498"/>
                </a:cxn>
                <a:cxn ang="0">
                  <a:pos x="1747" y="1363"/>
                </a:cxn>
                <a:cxn ang="0">
                  <a:pos x="1418" y="1265"/>
                </a:cxn>
                <a:cxn ang="0">
                  <a:pos x="1193" y="1308"/>
                </a:cxn>
                <a:cxn ang="0">
                  <a:pos x="1245" y="1463"/>
                </a:cxn>
                <a:cxn ang="0">
                  <a:pos x="1090" y="1448"/>
                </a:cxn>
                <a:cxn ang="0">
                  <a:pos x="894" y="1483"/>
                </a:cxn>
                <a:cxn ang="0">
                  <a:pos x="888" y="1575"/>
                </a:cxn>
                <a:cxn ang="0">
                  <a:pos x="930" y="1652"/>
                </a:cxn>
                <a:cxn ang="0">
                  <a:pos x="870" y="1795"/>
                </a:cxn>
                <a:cxn ang="0">
                  <a:pos x="643" y="1739"/>
                </a:cxn>
                <a:cxn ang="0">
                  <a:pos x="653" y="1525"/>
                </a:cxn>
                <a:cxn ang="0">
                  <a:pos x="442" y="1397"/>
                </a:cxn>
                <a:cxn ang="0">
                  <a:pos x="383" y="1362"/>
                </a:cxn>
                <a:cxn ang="0">
                  <a:pos x="231" y="1252"/>
                </a:cxn>
                <a:cxn ang="0">
                  <a:pos x="139" y="1341"/>
                </a:cxn>
              </a:cxnLst>
              <a:rect l="0" t="0" r="r" b="b"/>
              <a:pathLst>
                <a:path w="5699" h="1829">
                  <a:moveTo>
                    <a:pt x="0" y="1300"/>
                  </a:moveTo>
                  <a:lnTo>
                    <a:pt x="47" y="1257"/>
                  </a:lnTo>
                  <a:lnTo>
                    <a:pt x="31" y="1275"/>
                  </a:lnTo>
                  <a:lnTo>
                    <a:pt x="52" y="1280"/>
                  </a:lnTo>
                  <a:lnTo>
                    <a:pt x="47" y="1194"/>
                  </a:lnTo>
                  <a:lnTo>
                    <a:pt x="66" y="1154"/>
                  </a:lnTo>
                  <a:lnTo>
                    <a:pt x="93" y="1148"/>
                  </a:lnTo>
                  <a:lnTo>
                    <a:pt x="148" y="1186"/>
                  </a:lnTo>
                  <a:lnTo>
                    <a:pt x="161" y="1114"/>
                  </a:lnTo>
                  <a:lnTo>
                    <a:pt x="137" y="1115"/>
                  </a:lnTo>
                  <a:lnTo>
                    <a:pt x="128" y="1074"/>
                  </a:lnTo>
                  <a:lnTo>
                    <a:pt x="353" y="1037"/>
                  </a:lnTo>
                  <a:lnTo>
                    <a:pt x="298" y="1022"/>
                  </a:lnTo>
                  <a:lnTo>
                    <a:pt x="301" y="1001"/>
                  </a:lnTo>
                  <a:lnTo>
                    <a:pt x="266" y="1008"/>
                  </a:lnTo>
                  <a:lnTo>
                    <a:pt x="394" y="901"/>
                  </a:lnTo>
                  <a:lnTo>
                    <a:pt x="338" y="787"/>
                  </a:lnTo>
                  <a:lnTo>
                    <a:pt x="352" y="733"/>
                  </a:lnTo>
                  <a:lnTo>
                    <a:pt x="317" y="673"/>
                  </a:lnTo>
                  <a:lnTo>
                    <a:pt x="345" y="638"/>
                  </a:lnTo>
                  <a:lnTo>
                    <a:pt x="298" y="591"/>
                  </a:lnTo>
                  <a:lnTo>
                    <a:pt x="312" y="553"/>
                  </a:lnTo>
                  <a:lnTo>
                    <a:pt x="374" y="509"/>
                  </a:lnTo>
                  <a:lnTo>
                    <a:pt x="408" y="503"/>
                  </a:lnTo>
                  <a:lnTo>
                    <a:pt x="451" y="513"/>
                  </a:lnTo>
                  <a:lnTo>
                    <a:pt x="413" y="523"/>
                  </a:lnTo>
                  <a:lnTo>
                    <a:pt x="442" y="539"/>
                  </a:lnTo>
                  <a:lnTo>
                    <a:pt x="541" y="545"/>
                  </a:lnTo>
                  <a:lnTo>
                    <a:pt x="716" y="637"/>
                  </a:lnTo>
                  <a:lnTo>
                    <a:pt x="720" y="681"/>
                  </a:lnTo>
                  <a:lnTo>
                    <a:pt x="644" y="721"/>
                  </a:lnTo>
                  <a:lnTo>
                    <a:pt x="409" y="666"/>
                  </a:lnTo>
                  <a:lnTo>
                    <a:pt x="506" y="732"/>
                  </a:lnTo>
                  <a:lnTo>
                    <a:pt x="503" y="807"/>
                  </a:lnTo>
                  <a:lnTo>
                    <a:pt x="598" y="844"/>
                  </a:lnTo>
                  <a:lnTo>
                    <a:pt x="622" y="838"/>
                  </a:lnTo>
                  <a:lnTo>
                    <a:pt x="610" y="807"/>
                  </a:lnTo>
                  <a:lnTo>
                    <a:pt x="566" y="795"/>
                  </a:lnTo>
                  <a:lnTo>
                    <a:pt x="577" y="769"/>
                  </a:lnTo>
                  <a:lnTo>
                    <a:pt x="620" y="798"/>
                  </a:lnTo>
                  <a:lnTo>
                    <a:pt x="712" y="807"/>
                  </a:lnTo>
                  <a:lnTo>
                    <a:pt x="672" y="747"/>
                  </a:lnTo>
                  <a:lnTo>
                    <a:pt x="757" y="696"/>
                  </a:lnTo>
                  <a:lnTo>
                    <a:pt x="819" y="732"/>
                  </a:lnTo>
                  <a:lnTo>
                    <a:pt x="817" y="595"/>
                  </a:lnTo>
                  <a:lnTo>
                    <a:pt x="791" y="575"/>
                  </a:lnTo>
                  <a:lnTo>
                    <a:pt x="894" y="605"/>
                  </a:lnTo>
                  <a:lnTo>
                    <a:pt x="901" y="622"/>
                  </a:lnTo>
                  <a:lnTo>
                    <a:pt x="846" y="645"/>
                  </a:lnTo>
                  <a:lnTo>
                    <a:pt x="901" y="689"/>
                  </a:lnTo>
                  <a:lnTo>
                    <a:pt x="948" y="638"/>
                  </a:lnTo>
                  <a:lnTo>
                    <a:pt x="1140" y="558"/>
                  </a:lnTo>
                  <a:lnTo>
                    <a:pt x="1169" y="554"/>
                  </a:lnTo>
                  <a:lnTo>
                    <a:pt x="1140" y="568"/>
                  </a:lnTo>
                  <a:lnTo>
                    <a:pt x="1172" y="607"/>
                  </a:lnTo>
                  <a:lnTo>
                    <a:pt x="1311" y="554"/>
                  </a:lnTo>
                  <a:lnTo>
                    <a:pt x="1342" y="593"/>
                  </a:lnTo>
                  <a:lnTo>
                    <a:pt x="1375" y="564"/>
                  </a:lnTo>
                  <a:lnTo>
                    <a:pt x="1359" y="520"/>
                  </a:lnTo>
                  <a:lnTo>
                    <a:pt x="1378" y="506"/>
                  </a:lnTo>
                  <a:lnTo>
                    <a:pt x="1484" y="527"/>
                  </a:lnTo>
                  <a:lnTo>
                    <a:pt x="1624" y="604"/>
                  </a:lnTo>
                  <a:lnTo>
                    <a:pt x="1652" y="567"/>
                  </a:lnTo>
                  <a:lnTo>
                    <a:pt x="1621" y="528"/>
                  </a:lnTo>
                  <a:lnTo>
                    <a:pt x="1579" y="517"/>
                  </a:lnTo>
                  <a:lnTo>
                    <a:pt x="1595" y="457"/>
                  </a:lnTo>
                  <a:lnTo>
                    <a:pt x="1566" y="448"/>
                  </a:lnTo>
                  <a:lnTo>
                    <a:pt x="1576" y="421"/>
                  </a:lnTo>
                  <a:lnTo>
                    <a:pt x="1627" y="391"/>
                  </a:lnTo>
                  <a:lnTo>
                    <a:pt x="1660" y="318"/>
                  </a:lnTo>
                  <a:lnTo>
                    <a:pt x="1733" y="319"/>
                  </a:lnTo>
                  <a:lnTo>
                    <a:pt x="1767" y="330"/>
                  </a:lnTo>
                  <a:lnTo>
                    <a:pt x="1741" y="407"/>
                  </a:lnTo>
                  <a:lnTo>
                    <a:pt x="1771" y="446"/>
                  </a:lnTo>
                  <a:lnTo>
                    <a:pt x="1762" y="553"/>
                  </a:lnTo>
                  <a:lnTo>
                    <a:pt x="1797" y="590"/>
                  </a:lnTo>
                  <a:lnTo>
                    <a:pt x="1784" y="629"/>
                  </a:lnTo>
                  <a:lnTo>
                    <a:pt x="1729" y="659"/>
                  </a:lnTo>
                  <a:lnTo>
                    <a:pt x="1747" y="673"/>
                  </a:lnTo>
                  <a:lnTo>
                    <a:pt x="1674" y="688"/>
                  </a:lnTo>
                  <a:lnTo>
                    <a:pt x="1751" y="714"/>
                  </a:lnTo>
                  <a:lnTo>
                    <a:pt x="1837" y="629"/>
                  </a:lnTo>
                  <a:lnTo>
                    <a:pt x="1828" y="575"/>
                  </a:lnTo>
                  <a:lnTo>
                    <a:pt x="1858" y="567"/>
                  </a:lnTo>
                  <a:lnTo>
                    <a:pt x="1903" y="557"/>
                  </a:lnTo>
                  <a:lnTo>
                    <a:pt x="1925" y="587"/>
                  </a:lnTo>
                  <a:lnTo>
                    <a:pt x="1922" y="627"/>
                  </a:lnTo>
                  <a:lnTo>
                    <a:pt x="1979" y="640"/>
                  </a:lnTo>
                  <a:lnTo>
                    <a:pt x="1935" y="626"/>
                  </a:lnTo>
                  <a:lnTo>
                    <a:pt x="1954" y="602"/>
                  </a:lnTo>
                  <a:lnTo>
                    <a:pt x="1938" y="567"/>
                  </a:lnTo>
                  <a:lnTo>
                    <a:pt x="1807" y="543"/>
                  </a:lnTo>
                  <a:lnTo>
                    <a:pt x="1828" y="459"/>
                  </a:lnTo>
                  <a:lnTo>
                    <a:pt x="1782" y="407"/>
                  </a:lnTo>
                  <a:lnTo>
                    <a:pt x="1847" y="359"/>
                  </a:lnTo>
                  <a:lnTo>
                    <a:pt x="1839" y="325"/>
                  </a:lnTo>
                  <a:lnTo>
                    <a:pt x="1869" y="344"/>
                  </a:lnTo>
                  <a:lnTo>
                    <a:pt x="1854" y="411"/>
                  </a:lnTo>
                  <a:lnTo>
                    <a:pt x="1874" y="421"/>
                  </a:lnTo>
                  <a:lnTo>
                    <a:pt x="1962" y="441"/>
                  </a:lnTo>
                  <a:lnTo>
                    <a:pt x="1883" y="385"/>
                  </a:lnTo>
                  <a:lnTo>
                    <a:pt x="1943" y="388"/>
                  </a:lnTo>
                  <a:lnTo>
                    <a:pt x="1929" y="366"/>
                  </a:lnTo>
                  <a:lnTo>
                    <a:pt x="1962" y="355"/>
                  </a:lnTo>
                  <a:lnTo>
                    <a:pt x="2123" y="399"/>
                  </a:lnTo>
                  <a:lnTo>
                    <a:pt x="2093" y="428"/>
                  </a:lnTo>
                  <a:lnTo>
                    <a:pt x="2089" y="472"/>
                  </a:lnTo>
                  <a:lnTo>
                    <a:pt x="2122" y="496"/>
                  </a:lnTo>
                  <a:lnTo>
                    <a:pt x="2138" y="399"/>
                  </a:lnTo>
                  <a:lnTo>
                    <a:pt x="2050" y="349"/>
                  </a:lnTo>
                  <a:lnTo>
                    <a:pt x="2032" y="282"/>
                  </a:lnTo>
                  <a:lnTo>
                    <a:pt x="2237" y="257"/>
                  </a:lnTo>
                  <a:lnTo>
                    <a:pt x="2211" y="195"/>
                  </a:lnTo>
                  <a:lnTo>
                    <a:pt x="2237" y="209"/>
                  </a:lnTo>
                  <a:lnTo>
                    <a:pt x="2271" y="184"/>
                  </a:lnTo>
                  <a:lnTo>
                    <a:pt x="2247" y="177"/>
                  </a:lnTo>
                  <a:lnTo>
                    <a:pt x="2461" y="126"/>
                  </a:lnTo>
                  <a:lnTo>
                    <a:pt x="2443" y="113"/>
                  </a:lnTo>
                  <a:lnTo>
                    <a:pt x="2542" y="107"/>
                  </a:lnTo>
                  <a:lnTo>
                    <a:pt x="2541" y="124"/>
                  </a:lnTo>
                  <a:lnTo>
                    <a:pt x="2566" y="124"/>
                  </a:lnTo>
                  <a:lnTo>
                    <a:pt x="2637" y="102"/>
                  </a:lnTo>
                  <a:lnTo>
                    <a:pt x="2671" y="114"/>
                  </a:lnTo>
                  <a:lnTo>
                    <a:pt x="2640" y="87"/>
                  </a:lnTo>
                  <a:lnTo>
                    <a:pt x="2721" y="81"/>
                  </a:lnTo>
                  <a:lnTo>
                    <a:pt x="2724" y="47"/>
                  </a:lnTo>
                  <a:lnTo>
                    <a:pt x="2820" y="0"/>
                  </a:lnTo>
                  <a:lnTo>
                    <a:pt x="2886" y="27"/>
                  </a:lnTo>
                  <a:lnTo>
                    <a:pt x="2829" y="52"/>
                  </a:lnTo>
                  <a:lnTo>
                    <a:pt x="2926" y="51"/>
                  </a:lnTo>
                  <a:lnTo>
                    <a:pt x="2887" y="87"/>
                  </a:lnTo>
                  <a:lnTo>
                    <a:pt x="3052" y="69"/>
                  </a:lnTo>
                  <a:lnTo>
                    <a:pt x="3143" y="124"/>
                  </a:lnTo>
                  <a:lnTo>
                    <a:pt x="3129" y="144"/>
                  </a:lnTo>
                  <a:lnTo>
                    <a:pt x="3099" y="132"/>
                  </a:lnTo>
                  <a:lnTo>
                    <a:pt x="3140" y="150"/>
                  </a:lnTo>
                  <a:lnTo>
                    <a:pt x="3119" y="183"/>
                  </a:lnTo>
                  <a:lnTo>
                    <a:pt x="2820" y="342"/>
                  </a:lnTo>
                  <a:lnTo>
                    <a:pt x="2915" y="322"/>
                  </a:lnTo>
                  <a:lnTo>
                    <a:pt x="2895" y="301"/>
                  </a:lnTo>
                  <a:lnTo>
                    <a:pt x="3047" y="271"/>
                  </a:lnTo>
                  <a:lnTo>
                    <a:pt x="3005" y="276"/>
                  </a:lnTo>
                  <a:lnTo>
                    <a:pt x="3015" y="249"/>
                  </a:lnTo>
                  <a:lnTo>
                    <a:pt x="3099" y="271"/>
                  </a:lnTo>
                  <a:lnTo>
                    <a:pt x="3111" y="249"/>
                  </a:lnTo>
                  <a:lnTo>
                    <a:pt x="3130" y="301"/>
                  </a:lnTo>
                  <a:lnTo>
                    <a:pt x="3172" y="304"/>
                  </a:lnTo>
                  <a:lnTo>
                    <a:pt x="3133" y="283"/>
                  </a:lnTo>
                  <a:lnTo>
                    <a:pt x="3213" y="270"/>
                  </a:lnTo>
                  <a:lnTo>
                    <a:pt x="3309" y="282"/>
                  </a:lnTo>
                  <a:lnTo>
                    <a:pt x="3301" y="301"/>
                  </a:lnTo>
                  <a:lnTo>
                    <a:pt x="3385" y="318"/>
                  </a:lnTo>
                  <a:lnTo>
                    <a:pt x="3458" y="314"/>
                  </a:lnTo>
                  <a:lnTo>
                    <a:pt x="3460" y="264"/>
                  </a:lnTo>
                  <a:lnTo>
                    <a:pt x="3482" y="259"/>
                  </a:lnTo>
                  <a:lnTo>
                    <a:pt x="3668" y="314"/>
                  </a:lnTo>
                  <a:lnTo>
                    <a:pt x="3642" y="399"/>
                  </a:lnTo>
                  <a:lnTo>
                    <a:pt x="3728" y="457"/>
                  </a:lnTo>
                  <a:lnTo>
                    <a:pt x="3775" y="377"/>
                  </a:lnTo>
                  <a:lnTo>
                    <a:pt x="3807" y="411"/>
                  </a:lnTo>
                  <a:lnTo>
                    <a:pt x="3868" y="399"/>
                  </a:lnTo>
                  <a:lnTo>
                    <a:pt x="3951" y="428"/>
                  </a:lnTo>
                  <a:lnTo>
                    <a:pt x="4018" y="410"/>
                  </a:lnTo>
                  <a:lnTo>
                    <a:pt x="4011" y="377"/>
                  </a:lnTo>
                  <a:lnTo>
                    <a:pt x="4057" y="323"/>
                  </a:lnTo>
                  <a:lnTo>
                    <a:pt x="4334" y="362"/>
                  </a:lnTo>
                  <a:lnTo>
                    <a:pt x="4352" y="386"/>
                  </a:lnTo>
                  <a:lnTo>
                    <a:pt x="4318" y="397"/>
                  </a:lnTo>
                  <a:lnTo>
                    <a:pt x="4407" y="410"/>
                  </a:lnTo>
                  <a:lnTo>
                    <a:pt x="4440" y="448"/>
                  </a:lnTo>
                  <a:lnTo>
                    <a:pt x="4649" y="441"/>
                  </a:lnTo>
                  <a:lnTo>
                    <a:pt x="4687" y="472"/>
                  </a:lnTo>
                  <a:lnTo>
                    <a:pt x="4674" y="509"/>
                  </a:lnTo>
                  <a:lnTo>
                    <a:pt x="4734" y="535"/>
                  </a:lnTo>
                  <a:lnTo>
                    <a:pt x="4766" y="514"/>
                  </a:lnTo>
                  <a:lnTo>
                    <a:pt x="4914" y="529"/>
                  </a:lnTo>
                  <a:lnTo>
                    <a:pt x="4944" y="509"/>
                  </a:lnTo>
                  <a:lnTo>
                    <a:pt x="4962" y="542"/>
                  </a:lnTo>
                  <a:lnTo>
                    <a:pt x="5024" y="569"/>
                  </a:lnTo>
                  <a:lnTo>
                    <a:pt x="5053" y="550"/>
                  </a:lnTo>
                  <a:lnTo>
                    <a:pt x="5023" y="520"/>
                  </a:lnTo>
                  <a:lnTo>
                    <a:pt x="5041" y="496"/>
                  </a:lnTo>
                  <a:lnTo>
                    <a:pt x="5300" y="534"/>
                  </a:lnTo>
                  <a:lnTo>
                    <a:pt x="5472" y="630"/>
                  </a:lnTo>
                  <a:lnTo>
                    <a:pt x="5508" y="630"/>
                  </a:lnTo>
                  <a:lnTo>
                    <a:pt x="5552" y="708"/>
                  </a:lnTo>
                  <a:lnTo>
                    <a:pt x="5534" y="666"/>
                  </a:lnTo>
                  <a:lnTo>
                    <a:pt x="5562" y="662"/>
                  </a:lnTo>
                  <a:lnTo>
                    <a:pt x="5579" y="678"/>
                  </a:lnTo>
                  <a:lnTo>
                    <a:pt x="5629" y="673"/>
                  </a:lnTo>
                  <a:lnTo>
                    <a:pt x="5699" y="718"/>
                  </a:lnTo>
                  <a:lnTo>
                    <a:pt x="5599" y="767"/>
                  </a:lnTo>
                  <a:lnTo>
                    <a:pt x="5619" y="781"/>
                  </a:lnTo>
                  <a:lnTo>
                    <a:pt x="5584" y="791"/>
                  </a:lnTo>
                  <a:lnTo>
                    <a:pt x="5612" y="809"/>
                  </a:lnTo>
                  <a:lnTo>
                    <a:pt x="5552" y="810"/>
                  </a:lnTo>
                  <a:lnTo>
                    <a:pt x="5533" y="781"/>
                  </a:lnTo>
                  <a:lnTo>
                    <a:pt x="5509" y="792"/>
                  </a:lnTo>
                  <a:lnTo>
                    <a:pt x="5471" y="747"/>
                  </a:lnTo>
                  <a:lnTo>
                    <a:pt x="5403" y="748"/>
                  </a:lnTo>
                  <a:lnTo>
                    <a:pt x="5386" y="721"/>
                  </a:lnTo>
                  <a:lnTo>
                    <a:pt x="5402" y="708"/>
                  </a:lnTo>
                  <a:lnTo>
                    <a:pt x="5376" y="708"/>
                  </a:lnTo>
                  <a:lnTo>
                    <a:pt x="5354" y="718"/>
                  </a:lnTo>
                  <a:lnTo>
                    <a:pt x="5379" y="750"/>
                  </a:lnTo>
                  <a:lnTo>
                    <a:pt x="5364" y="769"/>
                  </a:lnTo>
                  <a:lnTo>
                    <a:pt x="5306" y="800"/>
                  </a:lnTo>
                  <a:lnTo>
                    <a:pt x="5267" y="794"/>
                  </a:lnTo>
                  <a:lnTo>
                    <a:pt x="5332" y="883"/>
                  </a:lnTo>
                  <a:lnTo>
                    <a:pt x="5321" y="917"/>
                  </a:lnTo>
                  <a:lnTo>
                    <a:pt x="5255" y="893"/>
                  </a:lnTo>
                  <a:lnTo>
                    <a:pt x="5258" y="906"/>
                  </a:lnTo>
                  <a:lnTo>
                    <a:pt x="5137" y="950"/>
                  </a:lnTo>
                  <a:lnTo>
                    <a:pt x="5030" y="1041"/>
                  </a:lnTo>
                  <a:lnTo>
                    <a:pt x="4957" y="1007"/>
                  </a:lnTo>
                  <a:lnTo>
                    <a:pt x="4890" y="1044"/>
                  </a:lnTo>
                  <a:lnTo>
                    <a:pt x="4890" y="1011"/>
                  </a:lnTo>
                  <a:lnTo>
                    <a:pt x="4851" y="1045"/>
                  </a:lnTo>
                  <a:lnTo>
                    <a:pt x="4804" y="1043"/>
                  </a:lnTo>
                  <a:lnTo>
                    <a:pt x="4753" y="1131"/>
                  </a:lnTo>
                  <a:lnTo>
                    <a:pt x="4793" y="1148"/>
                  </a:lnTo>
                  <a:lnTo>
                    <a:pt x="4777" y="1177"/>
                  </a:lnTo>
                  <a:lnTo>
                    <a:pt x="4796" y="1223"/>
                  </a:lnTo>
                  <a:lnTo>
                    <a:pt x="4762" y="1214"/>
                  </a:lnTo>
                  <a:lnTo>
                    <a:pt x="4741" y="1254"/>
                  </a:lnTo>
                  <a:lnTo>
                    <a:pt x="4755" y="1290"/>
                  </a:lnTo>
                  <a:lnTo>
                    <a:pt x="4682" y="1320"/>
                  </a:lnTo>
                  <a:lnTo>
                    <a:pt x="4687" y="1360"/>
                  </a:lnTo>
                  <a:lnTo>
                    <a:pt x="4639" y="1371"/>
                  </a:lnTo>
                  <a:lnTo>
                    <a:pt x="4626" y="1415"/>
                  </a:lnTo>
                  <a:lnTo>
                    <a:pt x="4582" y="1462"/>
                  </a:lnTo>
                  <a:lnTo>
                    <a:pt x="4545" y="1290"/>
                  </a:lnTo>
                  <a:lnTo>
                    <a:pt x="4549" y="1198"/>
                  </a:lnTo>
                  <a:lnTo>
                    <a:pt x="4582" y="1143"/>
                  </a:lnTo>
                  <a:lnTo>
                    <a:pt x="4633" y="1132"/>
                  </a:lnTo>
                  <a:lnTo>
                    <a:pt x="4751" y="1016"/>
                  </a:lnTo>
                  <a:lnTo>
                    <a:pt x="4807" y="993"/>
                  </a:lnTo>
                  <a:lnTo>
                    <a:pt x="4826" y="926"/>
                  </a:lnTo>
                  <a:lnTo>
                    <a:pt x="4851" y="908"/>
                  </a:lnTo>
                  <a:lnTo>
                    <a:pt x="4806" y="906"/>
                  </a:lnTo>
                  <a:lnTo>
                    <a:pt x="4792" y="961"/>
                  </a:lnTo>
                  <a:lnTo>
                    <a:pt x="4692" y="1008"/>
                  </a:lnTo>
                  <a:lnTo>
                    <a:pt x="4701" y="938"/>
                  </a:lnTo>
                  <a:lnTo>
                    <a:pt x="4594" y="953"/>
                  </a:lnTo>
                  <a:lnTo>
                    <a:pt x="4492" y="1044"/>
                  </a:lnTo>
                  <a:lnTo>
                    <a:pt x="4512" y="1081"/>
                  </a:lnTo>
                  <a:lnTo>
                    <a:pt x="4403" y="1093"/>
                  </a:lnTo>
                  <a:lnTo>
                    <a:pt x="4389" y="1082"/>
                  </a:lnTo>
                  <a:lnTo>
                    <a:pt x="4426" y="1077"/>
                  </a:lnTo>
                  <a:lnTo>
                    <a:pt x="4336" y="1054"/>
                  </a:lnTo>
                  <a:lnTo>
                    <a:pt x="4311" y="1077"/>
                  </a:lnTo>
                  <a:lnTo>
                    <a:pt x="4106" y="1078"/>
                  </a:lnTo>
                  <a:lnTo>
                    <a:pt x="3862" y="1287"/>
                  </a:lnTo>
                  <a:lnTo>
                    <a:pt x="3911" y="1296"/>
                  </a:lnTo>
                  <a:lnTo>
                    <a:pt x="3911" y="1333"/>
                  </a:lnTo>
                  <a:lnTo>
                    <a:pt x="3940" y="1309"/>
                  </a:lnTo>
                  <a:lnTo>
                    <a:pt x="3932" y="1341"/>
                  </a:lnTo>
                  <a:lnTo>
                    <a:pt x="3969" y="1323"/>
                  </a:lnTo>
                  <a:lnTo>
                    <a:pt x="3965" y="1344"/>
                  </a:lnTo>
                  <a:lnTo>
                    <a:pt x="3976" y="1309"/>
                  </a:lnTo>
                  <a:lnTo>
                    <a:pt x="4011" y="1311"/>
                  </a:lnTo>
                  <a:lnTo>
                    <a:pt x="4064" y="1355"/>
                  </a:lnTo>
                  <a:lnTo>
                    <a:pt x="4017" y="1359"/>
                  </a:lnTo>
                  <a:lnTo>
                    <a:pt x="4058" y="1373"/>
                  </a:lnTo>
                  <a:lnTo>
                    <a:pt x="4068" y="1403"/>
                  </a:lnTo>
                  <a:lnTo>
                    <a:pt x="4035" y="1469"/>
                  </a:lnTo>
                  <a:lnTo>
                    <a:pt x="4028" y="1568"/>
                  </a:lnTo>
                  <a:lnTo>
                    <a:pt x="3856" y="1776"/>
                  </a:lnTo>
                  <a:lnTo>
                    <a:pt x="3796" y="1803"/>
                  </a:lnTo>
                  <a:lnTo>
                    <a:pt x="3749" y="1776"/>
                  </a:lnTo>
                  <a:lnTo>
                    <a:pt x="3708" y="1816"/>
                  </a:lnTo>
                  <a:lnTo>
                    <a:pt x="3703" y="1807"/>
                  </a:lnTo>
                  <a:lnTo>
                    <a:pt x="3727" y="1776"/>
                  </a:lnTo>
                  <a:lnTo>
                    <a:pt x="3717" y="1723"/>
                  </a:lnTo>
                  <a:lnTo>
                    <a:pt x="3790" y="1703"/>
                  </a:lnTo>
                  <a:lnTo>
                    <a:pt x="3848" y="1564"/>
                  </a:lnTo>
                  <a:lnTo>
                    <a:pt x="3723" y="1597"/>
                  </a:lnTo>
                  <a:lnTo>
                    <a:pt x="3703" y="1545"/>
                  </a:lnTo>
                  <a:lnTo>
                    <a:pt x="3602" y="1513"/>
                  </a:lnTo>
                  <a:lnTo>
                    <a:pt x="3540" y="1370"/>
                  </a:lnTo>
                  <a:lnTo>
                    <a:pt x="3473" y="1344"/>
                  </a:lnTo>
                  <a:lnTo>
                    <a:pt x="3352" y="1382"/>
                  </a:lnTo>
                  <a:lnTo>
                    <a:pt x="3375" y="1413"/>
                  </a:lnTo>
                  <a:lnTo>
                    <a:pt x="3326" y="1498"/>
                  </a:lnTo>
                  <a:lnTo>
                    <a:pt x="3277" y="1520"/>
                  </a:lnTo>
                  <a:lnTo>
                    <a:pt x="3227" y="1501"/>
                  </a:lnTo>
                  <a:lnTo>
                    <a:pt x="3166" y="1491"/>
                  </a:lnTo>
                  <a:lnTo>
                    <a:pt x="3008" y="1529"/>
                  </a:lnTo>
                  <a:lnTo>
                    <a:pt x="2869" y="1473"/>
                  </a:lnTo>
                  <a:lnTo>
                    <a:pt x="2780" y="1481"/>
                  </a:lnTo>
                  <a:lnTo>
                    <a:pt x="2747" y="1435"/>
                  </a:lnTo>
                  <a:lnTo>
                    <a:pt x="2659" y="1403"/>
                  </a:lnTo>
                  <a:lnTo>
                    <a:pt x="2612" y="1436"/>
                  </a:lnTo>
                  <a:lnTo>
                    <a:pt x="2610" y="1499"/>
                  </a:lnTo>
                  <a:lnTo>
                    <a:pt x="2409" y="1472"/>
                  </a:lnTo>
                  <a:lnTo>
                    <a:pt x="2303" y="1529"/>
                  </a:lnTo>
                  <a:lnTo>
                    <a:pt x="2247" y="1553"/>
                  </a:lnTo>
                  <a:lnTo>
                    <a:pt x="2175" y="1507"/>
                  </a:lnTo>
                  <a:lnTo>
                    <a:pt x="2130" y="1532"/>
                  </a:lnTo>
                  <a:lnTo>
                    <a:pt x="2045" y="1501"/>
                  </a:lnTo>
                  <a:lnTo>
                    <a:pt x="2013" y="1498"/>
                  </a:lnTo>
                  <a:lnTo>
                    <a:pt x="1988" y="1448"/>
                  </a:lnTo>
                  <a:lnTo>
                    <a:pt x="1943" y="1448"/>
                  </a:lnTo>
                  <a:lnTo>
                    <a:pt x="1924" y="1457"/>
                  </a:lnTo>
                  <a:lnTo>
                    <a:pt x="1888" y="1419"/>
                  </a:lnTo>
                  <a:lnTo>
                    <a:pt x="1863" y="1429"/>
                  </a:lnTo>
                  <a:lnTo>
                    <a:pt x="1840" y="1441"/>
                  </a:lnTo>
                  <a:lnTo>
                    <a:pt x="1747" y="1363"/>
                  </a:lnTo>
                  <a:lnTo>
                    <a:pt x="1719" y="1356"/>
                  </a:lnTo>
                  <a:lnTo>
                    <a:pt x="1656" y="1297"/>
                  </a:lnTo>
                  <a:lnTo>
                    <a:pt x="1597" y="1333"/>
                  </a:lnTo>
                  <a:lnTo>
                    <a:pt x="1586" y="1308"/>
                  </a:lnTo>
                  <a:lnTo>
                    <a:pt x="1498" y="1305"/>
                  </a:lnTo>
                  <a:lnTo>
                    <a:pt x="1465" y="1261"/>
                  </a:lnTo>
                  <a:lnTo>
                    <a:pt x="1418" y="1265"/>
                  </a:lnTo>
                  <a:lnTo>
                    <a:pt x="1402" y="1283"/>
                  </a:lnTo>
                  <a:lnTo>
                    <a:pt x="1342" y="1294"/>
                  </a:lnTo>
                  <a:lnTo>
                    <a:pt x="1326" y="1283"/>
                  </a:lnTo>
                  <a:lnTo>
                    <a:pt x="1304" y="1316"/>
                  </a:lnTo>
                  <a:lnTo>
                    <a:pt x="1286" y="1308"/>
                  </a:lnTo>
                  <a:lnTo>
                    <a:pt x="1216" y="1318"/>
                  </a:lnTo>
                  <a:lnTo>
                    <a:pt x="1193" y="1308"/>
                  </a:lnTo>
                  <a:lnTo>
                    <a:pt x="1184" y="1318"/>
                  </a:lnTo>
                  <a:lnTo>
                    <a:pt x="1220" y="1356"/>
                  </a:lnTo>
                  <a:lnTo>
                    <a:pt x="1195" y="1378"/>
                  </a:lnTo>
                  <a:lnTo>
                    <a:pt x="1198" y="1410"/>
                  </a:lnTo>
                  <a:lnTo>
                    <a:pt x="1238" y="1411"/>
                  </a:lnTo>
                  <a:lnTo>
                    <a:pt x="1255" y="1441"/>
                  </a:lnTo>
                  <a:lnTo>
                    <a:pt x="1245" y="1463"/>
                  </a:lnTo>
                  <a:lnTo>
                    <a:pt x="1216" y="1448"/>
                  </a:lnTo>
                  <a:lnTo>
                    <a:pt x="1193" y="1462"/>
                  </a:lnTo>
                  <a:lnTo>
                    <a:pt x="1171" y="1450"/>
                  </a:lnTo>
                  <a:lnTo>
                    <a:pt x="1160" y="1429"/>
                  </a:lnTo>
                  <a:lnTo>
                    <a:pt x="1132" y="1441"/>
                  </a:lnTo>
                  <a:lnTo>
                    <a:pt x="1112" y="1430"/>
                  </a:lnTo>
                  <a:lnTo>
                    <a:pt x="1090" y="1448"/>
                  </a:lnTo>
                  <a:lnTo>
                    <a:pt x="1058" y="1452"/>
                  </a:lnTo>
                  <a:lnTo>
                    <a:pt x="1040" y="1429"/>
                  </a:lnTo>
                  <a:lnTo>
                    <a:pt x="932" y="1422"/>
                  </a:lnTo>
                  <a:lnTo>
                    <a:pt x="919" y="1435"/>
                  </a:lnTo>
                  <a:lnTo>
                    <a:pt x="908" y="1433"/>
                  </a:lnTo>
                  <a:lnTo>
                    <a:pt x="893" y="1458"/>
                  </a:lnTo>
                  <a:lnTo>
                    <a:pt x="894" y="1483"/>
                  </a:lnTo>
                  <a:lnTo>
                    <a:pt x="882" y="1484"/>
                  </a:lnTo>
                  <a:lnTo>
                    <a:pt x="872" y="1463"/>
                  </a:lnTo>
                  <a:lnTo>
                    <a:pt x="857" y="1466"/>
                  </a:lnTo>
                  <a:lnTo>
                    <a:pt x="853" y="1536"/>
                  </a:lnTo>
                  <a:lnTo>
                    <a:pt x="870" y="1558"/>
                  </a:lnTo>
                  <a:lnTo>
                    <a:pt x="870" y="1578"/>
                  </a:lnTo>
                  <a:lnTo>
                    <a:pt x="888" y="1575"/>
                  </a:lnTo>
                  <a:lnTo>
                    <a:pt x="908" y="1565"/>
                  </a:lnTo>
                  <a:lnTo>
                    <a:pt x="929" y="1597"/>
                  </a:lnTo>
                  <a:lnTo>
                    <a:pt x="944" y="1617"/>
                  </a:lnTo>
                  <a:lnTo>
                    <a:pt x="959" y="1644"/>
                  </a:lnTo>
                  <a:lnTo>
                    <a:pt x="982" y="1651"/>
                  </a:lnTo>
                  <a:lnTo>
                    <a:pt x="952" y="1671"/>
                  </a:lnTo>
                  <a:lnTo>
                    <a:pt x="930" y="1652"/>
                  </a:lnTo>
                  <a:lnTo>
                    <a:pt x="907" y="1732"/>
                  </a:lnTo>
                  <a:lnTo>
                    <a:pt x="934" y="1752"/>
                  </a:lnTo>
                  <a:lnTo>
                    <a:pt x="958" y="1829"/>
                  </a:lnTo>
                  <a:lnTo>
                    <a:pt x="936" y="1816"/>
                  </a:lnTo>
                  <a:lnTo>
                    <a:pt x="914" y="1807"/>
                  </a:lnTo>
                  <a:lnTo>
                    <a:pt x="888" y="1803"/>
                  </a:lnTo>
                  <a:lnTo>
                    <a:pt x="870" y="1795"/>
                  </a:lnTo>
                  <a:lnTo>
                    <a:pt x="852" y="1792"/>
                  </a:lnTo>
                  <a:lnTo>
                    <a:pt x="837" y="1765"/>
                  </a:lnTo>
                  <a:lnTo>
                    <a:pt x="802" y="1781"/>
                  </a:lnTo>
                  <a:lnTo>
                    <a:pt x="771" y="1780"/>
                  </a:lnTo>
                  <a:lnTo>
                    <a:pt x="750" y="1756"/>
                  </a:lnTo>
                  <a:lnTo>
                    <a:pt x="697" y="1734"/>
                  </a:lnTo>
                  <a:lnTo>
                    <a:pt x="643" y="1739"/>
                  </a:lnTo>
                  <a:lnTo>
                    <a:pt x="587" y="1700"/>
                  </a:lnTo>
                  <a:lnTo>
                    <a:pt x="631" y="1664"/>
                  </a:lnTo>
                  <a:lnTo>
                    <a:pt x="636" y="1634"/>
                  </a:lnTo>
                  <a:lnTo>
                    <a:pt x="635" y="1604"/>
                  </a:lnTo>
                  <a:lnTo>
                    <a:pt x="639" y="1580"/>
                  </a:lnTo>
                  <a:lnTo>
                    <a:pt x="668" y="1572"/>
                  </a:lnTo>
                  <a:lnTo>
                    <a:pt x="653" y="1525"/>
                  </a:lnTo>
                  <a:lnTo>
                    <a:pt x="618" y="1513"/>
                  </a:lnTo>
                  <a:lnTo>
                    <a:pt x="602" y="1505"/>
                  </a:lnTo>
                  <a:lnTo>
                    <a:pt x="578" y="1512"/>
                  </a:lnTo>
                  <a:lnTo>
                    <a:pt x="529" y="1499"/>
                  </a:lnTo>
                  <a:lnTo>
                    <a:pt x="489" y="1454"/>
                  </a:lnTo>
                  <a:lnTo>
                    <a:pt x="457" y="1440"/>
                  </a:lnTo>
                  <a:lnTo>
                    <a:pt x="442" y="1397"/>
                  </a:lnTo>
                  <a:lnTo>
                    <a:pt x="413" y="1393"/>
                  </a:lnTo>
                  <a:lnTo>
                    <a:pt x="387" y="1407"/>
                  </a:lnTo>
                  <a:lnTo>
                    <a:pt x="369" y="1415"/>
                  </a:lnTo>
                  <a:lnTo>
                    <a:pt x="361" y="1396"/>
                  </a:lnTo>
                  <a:lnTo>
                    <a:pt x="347" y="1377"/>
                  </a:lnTo>
                  <a:lnTo>
                    <a:pt x="386" y="1374"/>
                  </a:lnTo>
                  <a:lnTo>
                    <a:pt x="383" y="1362"/>
                  </a:lnTo>
                  <a:lnTo>
                    <a:pt x="374" y="1352"/>
                  </a:lnTo>
                  <a:lnTo>
                    <a:pt x="361" y="1342"/>
                  </a:lnTo>
                  <a:lnTo>
                    <a:pt x="341" y="1294"/>
                  </a:lnTo>
                  <a:lnTo>
                    <a:pt x="312" y="1268"/>
                  </a:lnTo>
                  <a:lnTo>
                    <a:pt x="282" y="1267"/>
                  </a:lnTo>
                  <a:lnTo>
                    <a:pt x="253" y="1267"/>
                  </a:lnTo>
                  <a:lnTo>
                    <a:pt x="231" y="1252"/>
                  </a:lnTo>
                  <a:lnTo>
                    <a:pt x="211" y="1249"/>
                  </a:lnTo>
                  <a:lnTo>
                    <a:pt x="194" y="1249"/>
                  </a:lnTo>
                  <a:lnTo>
                    <a:pt x="183" y="1261"/>
                  </a:lnTo>
                  <a:lnTo>
                    <a:pt x="162" y="1282"/>
                  </a:lnTo>
                  <a:lnTo>
                    <a:pt x="159" y="1303"/>
                  </a:lnTo>
                  <a:lnTo>
                    <a:pt x="150" y="1308"/>
                  </a:lnTo>
                  <a:lnTo>
                    <a:pt x="139" y="1341"/>
                  </a:lnTo>
                  <a:lnTo>
                    <a:pt x="130" y="1331"/>
                  </a:lnTo>
                  <a:lnTo>
                    <a:pt x="126" y="1319"/>
                  </a:lnTo>
                  <a:lnTo>
                    <a:pt x="0" y="130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24" name="30500193.25462.12549.3755">
              <a:extLst>
                <a:ext uri="{FF2B5EF4-FFF2-40B4-BE49-F238E27FC236}">
                  <a16:creationId xmlns:a16="http://schemas.microsoft.com/office/drawing/2014/main" id="{EC16AD38-5B1F-4B02-8A4A-B35C747086AD}"/>
                </a:ext>
              </a:extLst>
            </p:cNvPr>
            <p:cNvSpPr>
              <a:spLocks noChangeAspect="1"/>
            </p:cNvSpPr>
            <p:nvPr/>
          </p:nvSpPr>
          <p:spPr bwMode="gray">
            <a:xfrm>
              <a:off x="7082988" y="1427883"/>
              <a:ext cx="148358" cy="65597"/>
            </a:xfrm>
            <a:custGeom>
              <a:avLst/>
              <a:gdLst/>
              <a:ahLst/>
              <a:cxnLst>
                <a:cxn ang="0">
                  <a:pos x="0" y="51"/>
                </a:cxn>
                <a:cxn ang="0">
                  <a:pos x="34" y="34"/>
                </a:cxn>
                <a:cxn ang="0">
                  <a:pos x="8" y="21"/>
                </a:cxn>
                <a:cxn ang="0">
                  <a:pos x="128" y="0"/>
                </a:cxn>
                <a:cxn ang="0">
                  <a:pos x="148" y="1"/>
                </a:cxn>
                <a:cxn ang="0">
                  <a:pos x="125" y="19"/>
                </a:cxn>
                <a:cxn ang="0">
                  <a:pos x="166" y="18"/>
                </a:cxn>
                <a:cxn ang="0">
                  <a:pos x="59" y="59"/>
                </a:cxn>
                <a:cxn ang="0">
                  <a:pos x="34" y="71"/>
                </a:cxn>
                <a:cxn ang="0">
                  <a:pos x="40" y="54"/>
                </a:cxn>
                <a:cxn ang="0">
                  <a:pos x="0" y="51"/>
                </a:cxn>
              </a:cxnLst>
              <a:rect l="0" t="0" r="r" b="b"/>
              <a:pathLst>
                <a:path w="166" h="71">
                  <a:moveTo>
                    <a:pt x="0" y="51"/>
                  </a:moveTo>
                  <a:lnTo>
                    <a:pt x="34" y="34"/>
                  </a:lnTo>
                  <a:lnTo>
                    <a:pt x="8" y="21"/>
                  </a:lnTo>
                  <a:lnTo>
                    <a:pt x="128" y="0"/>
                  </a:lnTo>
                  <a:lnTo>
                    <a:pt x="148" y="1"/>
                  </a:lnTo>
                  <a:lnTo>
                    <a:pt x="125" y="19"/>
                  </a:lnTo>
                  <a:lnTo>
                    <a:pt x="166" y="18"/>
                  </a:lnTo>
                  <a:lnTo>
                    <a:pt x="59" y="59"/>
                  </a:lnTo>
                  <a:lnTo>
                    <a:pt x="34" y="71"/>
                  </a:lnTo>
                  <a:lnTo>
                    <a:pt x="40" y="54"/>
                  </a:lnTo>
                  <a:lnTo>
                    <a:pt x="0" y="51"/>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25" name="30501236.5465.1252.253.755">
              <a:extLst>
                <a:ext uri="{FF2B5EF4-FFF2-40B4-BE49-F238E27FC236}">
                  <a16:creationId xmlns:a16="http://schemas.microsoft.com/office/drawing/2014/main" id="{7986EF5A-CB3B-4D67-9E16-7CBBB0384C81}"/>
                </a:ext>
              </a:extLst>
            </p:cNvPr>
            <p:cNvSpPr>
              <a:spLocks noChangeAspect="1"/>
            </p:cNvSpPr>
            <p:nvPr/>
          </p:nvSpPr>
          <p:spPr bwMode="gray">
            <a:xfrm>
              <a:off x="7130538" y="2129276"/>
              <a:ext cx="58961" cy="35323"/>
            </a:xfrm>
            <a:custGeom>
              <a:avLst/>
              <a:gdLst/>
              <a:ahLst/>
              <a:cxnLst>
                <a:cxn ang="0">
                  <a:pos x="0" y="38"/>
                </a:cxn>
                <a:cxn ang="0">
                  <a:pos x="19" y="0"/>
                </a:cxn>
                <a:cxn ang="0">
                  <a:pos x="66" y="21"/>
                </a:cxn>
                <a:cxn ang="0">
                  <a:pos x="0" y="38"/>
                </a:cxn>
              </a:cxnLst>
              <a:rect l="0" t="0" r="r" b="b"/>
              <a:pathLst>
                <a:path w="66" h="38">
                  <a:moveTo>
                    <a:pt x="0" y="38"/>
                  </a:moveTo>
                  <a:lnTo>
                    <a:pt x="19" y="0"/>
                  </a:lnTo>
                  <a:lnTo>
                    <a:pt x="66" y="21"/>
                  </a:lnTo>
                  <a:lnTo>
                    <a:pt x="0" y="38"/>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26" name="30502223.625471.58.7511.55">
              <a:extLst>
                <a:ext uri="{FF2B5EF4-FFF2-40B4-BE49-F238E27FC236}">
                  <a16:creationId xmlns:a16="http://schemas.microsoft.com/office/drawing/2014/main" id="{CA1BBE2F-00C6-4D33-8144-11885435139C}"/>
                </a:ext>
              </a:extLst>
            </p:cNvPr>
            <p:cNvSpPr>
              <a:spLocks noChangeAspect="1"/>
            </p:cNvSpPr>
            <p:nvPr/>
          </p:nvSpPr>
          <p:spPr bwMode="gray">
            <a:xfrm>
              <a:off x="7231343" y="1920706"/>
              <a:ext cx="184493" cy="142969"/>
            </a:xfrm>
            <a:custGeom>
              <a:avLst/>
              <a:gdLst/>
              <a:ahLst/>
              <a:cxnLst>
                <a:cxn ang="0">
                  <a:pos x="0" y="76"/>
                </a:cxn>
                <a:cxn ang="0">
                  <a:pos x="16" y="109"/>
                </a:cxn>
                <a:cxn ang="0">
                  <a:pos x="38" y="98"/>
                </a:cxn>
                <a:cxn ang="0">
                  <a:pos x="63" y="120"/>
                </a:cxn>
                <a:cxn ang="0">
                  <a:pos x="82" y="109"/>
                </a:cxn>
                <a:cxn ang="0">
                  <a:pos x="75" y="147"/>
                </a:cxn>
                <a:cxn ang="0">
                  <a:pos x="203" y="154"/>
                </a:cxn>
                <a:cxn ang="0">
                  <a:pos x="154" y="127"/>
                </a:cxn>
                <a:cxn ang="0">
                  <a:pos x="129" y="79"/>
                </a:cxn>
                <a:cxn ang="0">
                  <a:pos x="132" y="29"/>
                </a:cxn>
                <a:cxn ang="0">
                  <a:pos x="163" y="0"/>
                </a:cxn>
                <a:cxn ang="0">
                  <a:pos x="52" y="10"/>
                </a:cxn>
                <a:cxn ang="0">
                  <a:pos x="26" y="76"/>
                </a:cxn>
                <a:cxn ang="0">
                  <a:pos x="0" y="76"/>
                </a:cxn>
              </a:cxnLst>
              <a:rect l="0" t="0" r="r" b="b"/>
              <a:pathLst>
                <a:path w="203" h="154">
                  <a:moveTo>
                    <a:pt x="0" y="76"/>
                  </a:moveTo>
                  <a:lnTo>
                    <a:pt x="16" y="109"/>
                  </a:lnTo>
                  <a:lnTo>
                    <a:pt x="38" y="98"/>
                  </a:lnTo>
                  <a:lnTo>
                    <a:pt x="63" y="120"/>
                  </a:lnTo>
                  <a:lnTo>
                    <a:pt x="82" y="109"/>
                  </a:lnTo>
                  <a:lnTo>
                    <a:pt x="75" y="147"/>
                  </a:lnTo>
                  <a:lnTo>
                    <a:pt x="203" y="154"/>
                  </a:lnTo>
                  <a:lnTo>
                    <a:pt x="154" y="127"/>
                  </a:lnTo>
                  <a:lnTo>
                    <a:pt x="129" y="79"/>
                  </a:lnTo>
                  <a:lnTo>
                    <a:pt x="132" y="29"/>
                  </a:lnTo>
                  <a:lnTo>
                    <a:pt x="163" y="0"/>
                  </a:lnTo>
                  <a:lnTo>
                    <a:pt x="52" y="10"/>
                  </a:lnTo>
                  <a:lnTo>
                    <a:pt x="26" y="76"/>
                  </a:lnTo>
                  <a:lnTo>
                    <a:pt x="0" y="76"/>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27" name="30503209.625475.51428.8755">
              <a:extLst>
                <a:ext uri="{FF2B5EF4-FFF2-40B4-BE49-F238E27FC236}">
                  <a16:creationId xmlns:a16="http://schemas.microsoft.com/office/drawing/2014/main" id="{DE0FDCFB-7AE4-4E2E-B1DF-D0DFF0B0EE62}"/>
                </a:ext>
              </a:extLst>
            </p:cNvPr>
            <p:cNvSpPr>
              <a:spLocks noChangeAspect="1"/>
            </p:cNvSpPr>
            <p:nvPr/>
          </p:nvSpPr>
          <p:spPr bwMode="gray">
            <a:xfrm>
              <a:off x="7294109" y="1695319"/>
              <a:ext cx="465993" cy="225387"/>
            </a:xfrm>
            <a:custGeom>
              <a:avLst/>
              <a:gdLst/>
              <a:ahLst/>
              <a:cxnLst>
                <a:cxn ang="0">
                  <a:pos x="0" y="213"/>
                </a:cxn>
                <a:cxn ang="0">
                  <a:pos x="48" y="220"/>
                </a:cxn>
                <a:cxn ang="0">
                  <a:pos x="17" y="242"/>
                </a:cxn>
                <a:cxn ang="0">
                  <a:pos x="102" y="249"/>
                </a:cxn>
                <a:cxn ang="0">
                  <a:pos x="105" y="220"/>
                </a:cxn>
                <a:cxn ang="0">
                  <a:pos x="128" y="225"/>
                </a:cxn>
                <a:cxn ang="0">
                  <a:pos x="103" y="209"/>
                </a:cxn>
                <a:cxn ang="0">
                  <a:pos x="138" y="214"/>
                </a:cxn>
                <a:cxn ang="0">
                  <a:pos x="130" y="183"/>
                </a:cxn>
                <a:cxn ang="0">
                  <a:pos x="147" y="202"/>
                </a:cxn>
                <a:cxn ang="0">
                  <a:pos x="171" y="184"/>
                </a:cxn>
                <a:cxn ang="0">
                  <a:pos x="156" y="163"/>
                </a:cxn>
                <a:cxn ang="0">
                  <a:pos x="208" y="166"/>
                </a:cxn>
                <a:cxn ang="0">
                  <a:pos x="194" y="154"/>
                </a:cxn>
                <a:cxn ang="0">
                  <a:pos x="217" y="157"/>
                </a:cxn>
                <a:cxn ang="0">
                  <a:pos x="231" y="132"/>
                </a:cxn>
                <a:cxn ang="0">
                  <a:pos x="487" y="52"/>
                </a:cxn>
                <a:cxn ang="0">
                  <a:pos x="513" y="22"/>
                </a:cxn>
                <a:cxn ang="0">
                  <a:pos x="463" y="0"/>
                </a:cxn>
                <a:cxn ang="0">
                  <a:pos x="356" y="49"/>
                </a:cxn>
                <a:cxn ang="0">
                  <a:pos x="245" y="49"/>
                </a:cxn>
                <a:cxn ang="0">
                  <a:pos x="127" y="117"/>
                </a:cxn>
                <a:cxn ang="0">
                  <a:pos x="62" y="125"/>
                </a:cxn>
                <a:cxn ang="0">
                  <a:pos x="65" y="154"/>
                </a:cxn>
                <a:cxn ang="0">
                  <a:pos x="101" y="157"/>
                </a:cxn>
                <a:cxn ang="0">
                  <a:pos x="61" y="158"/>
                </a:cxn>
                <a:cxn ang="0">
                  <a:pos x="79" y="170"/>
                </a:cxn>
                <a:cxn ang="0">
                  <a:pos x="48" y="184"/>
                </a:cxn>
                <a:cxn ang="0">
                  <a:pos x="83" y="198"/>
                </a:cxn>
                <a:cxn ang="0">
                  <a:pos x="0" y="213"/>
                </a:cxn>
              </a:cxnLst>
              <a:rect l="0" t="0" r="r" b="b"/>
              <a:pathLst>
                <a:path w="513" h="249">
                  <a:moveTo>
                    <a:pt x="0" y="213"/>
                  </a:moveTo>
                  <a:lnTo>
                    <a:pt x="48" y="220"/>
                  </a:lnTo>
                  <a:lnTo>
                    <a:pt x="17" y="242"/>
                  </a:lnTo>
                  <a:lnTo>
                    <a:pt x="102" y="249"/>
                  </a:lnTo>
                  <a:lnTo>
                    <a:pt x="105" y="220"/>
                  </a:lnTo>
                  <a:lnTo>
                    <a:pt x="128" y="225"/>
                  </a:lnTo>
                  <a:lnTo>
                    <a:pt x="103" y="209"/>
                  </a:lnTo>
                  <a:lnTo>
                    <a:pt x="138" y="214"/>
                  </a:lnTo>
                  <a:lnTo>
                    <a:pt x="130" y="183"/>
                  </a:lnTo>
                  <a:lnTo>
                    <a:pt x="147" y="202"/>
                  </a:lnTo>
                  <a:lnTo>
                    <a:pt x="171" y="184"/>
                  </a:lnTo>
                  <a:lnTo>
                    <a:pt x="156" y="163"/>
                  </a:lnTo>
                  <a:lnTo>
                    <a:pt x="208" y="166"/>
                  </a:lnTo>
                  <a:lnTo>
                    <a:pt x="194" y="154"/>
                  </a:lnTo>
                  <a:lnTo>
                    <a:pt x="217" y="157"/>
                  </a:lnTo>
                  <a:lnTo>
                    <a:pt x="231" y="132"/>
                  </a:lnTo>
                  <a:lnTo>
                    <a:pt x="487" y="52"/>
                  </a:lnTo>
                  <a:lnTo>
                    <a:pt x="513" y="22"/>
                  </a:lnTo>
                  <a:lnTo>
                    <a:pt x="463" y="0"/>
                  </a:lnTo>
                  <a:lnTo>
                    <a:pt x="356" y="49"/>
                  </a:lnTo>
                  <a:lnTo>
                    <a:pt x="245" y="49"/>
                  </a:lnTo>
                  <a:lnTo>
                    <a:pt x="127" y="117"/>
                  </a:lnTo>
                  <a:lnTo>
                    <a:pt x="62" y="125"/>
                  </a:lnTo>
                  <a:lnTo>
                    <a:pt x="65" y="154"/>
                  </a:lnTo>
                  <a:lnTo>
                    <a:pt x="101" y="157"/>
                  </a:lnTo>
                  <a:lnTo>
                    <a:pt x="61" y="158"/>
                  </a:lnTo>
                  <a:lnTo>
                    <a:pt x="79" y="170"/>
                  </a:lnTo>
                  <a:lnTo>
                    <a:pt x="48" y="184"/>
                  </a:lnTo>
                  <a:lnTo>
                    <a:pt x="83" y="198"/>
                  </a:lnTo>
                  <a:lnTo>
                    <a:pt x="0" y="213"/>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28" name="30504191.125492.1252.8755.55">
              <a:extLst>
                <a:ext uri="{FF2B5EF4-FFF2-40B4-BE49-F238E27FC236}">
                  <a16:creationId xmlns:a16="http://schemas.microsoft.com/office/drawing/2014/main" id="{5DC80888-CB1F-40BF-921C-CD3A43E20CAF}"/>
                </a:ext>
              </a:extLst>
            </p:cNvPr>
            <p:cNvSpPr>
              <a:spLocks noChangeAspect="1"/>
            </p:cNvSpPr>
            <p:nvPr/>
          </p:nvSpPr>
          <p:spPr bwMode="gray">
            <a:xfrm>
              <a:off x="7564194" y="1394244"/>
              <a:ext cx="85592" cy="45414"/>
            </a:xfrm>
            <a:custGeom>
              <a:avLst/>
              <a:gdLst/>
              <a:ahLst/>
              <a:cxnLst>
                <a:cxn ang="0">
                  <a:pos x="0" y="36"/>
                </a:cxn>
                <a:cxn ang="0">
                  <a:pos x="31" y="51"/>
                </a:cxn>
                <a:cxn ang="0">
                  <a:pos x="99" y="33"/>
                </a:cxn>
                <a:cxn ang="0">
                  <a:pos x="58" y="0"/>
                </a:cxn>
                <a:cxn ang="0">
                  <a:pos x="0" y="36"/>
                </a:cxn>
              </a:cxnLst>
              <a:rect l="0" t="0" r="r" b="b"/>
              <a:pathLst>
                <a:path w="99" h="51">
                  <a:moveTo>
                    <a:pt x="0" y="36"/>
                  </a:moveTo>
                  <a:lnTo>
                    <a:pt x="31" y="51"/>
                  </a:lnTo>
                  <a:lnTo>
                    <a:pt x="99" y="33"/>
                  </a:lnTo>
                  <a:lnTo>
                    <a:pt x="58" y="0"/>
                  </a:lnTo>
                  <a:lnTo>
                    <a:pt x="0" y="36"/>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29" name="30505196.75545.751.8755.1255">
              <a:extLst>
                <a:ext uri="{FF2B5EF4-FFF2-40B4-BE49-F238E27FC236}">
                  <a16:creationId xmlns:a16="http://schemas.microsoft.com/office/drawing/2014/main" id="{66172BA2-32A5-456E-BCAC-DA0C89BE6636}"/>
                </a:ext>
              </a:extLst>
            </p:cNvPr>
            <p:cNvSpPr>
              <a:spLocks noChangeAspect="1"/>
            </p:cNvSpPr>
            <p:nvPr/>
          </p:nvSpPr>
          <p:spPr bwMode="gray">
            <a:xfrm>
              <a:off x="8421999" y="1483388"/>
              <a:ext cx="81787" cy="33639"/>
            </a:xfrm>
            <a:custGeom>
              <a:avLst/>
              <a:gdLst/>
              <a:ahLst/>
              <a:cxnLst>
                <a:cxn ang="0">
                  <a:pos x="0" y="0"/>
                </a:cxn>
                <a:cxn ang="0">
                  <a:pos x="40" y="26"/>
                </a:cxn>
                <a:cxn ang="0">
                  <a:pos x="26" y="33"/>
                </a:cxn>
                <a:cxn ang="0">
                  <a:pos x="62" y="31"/>
                </a:cxn>
                <a:cxn ang="0">
                  <a:pos x="89" y="15"/>
                </a:cxn>
                <a:cxn ang="0">
                  <a:pos x="0" y="0"/>
                </a:cxn>
              </a:cxnLst>
              <a:rect l="0" t="0" r="r" b="b"/>
              <a:pathLst>
                <a:path w="89" h="33">
                  <a:moveTo>
                    <a:pt x="0" y="0"/>
                  </a:moveTo>
                  <a:lnTo>
                    <a:pt x="40" y="26"/>
                  </a:lnTo>
                  <a:lnTo>
                    <a:pt x="26" y="33"/>
                  </a:lnTo>
                  <a:lnTo>
                    <a:pt x="62" y="31"/>
                  </a:lnTo>
                  <a:lnTo>
                    <a:pt x="89" y="15"/>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30" name="30506191.75546.6255.2511.8755">
              <a:extLst>
                <a:ext uri="{FF2B5EF4-FFF2-40B4-BE49-F238E27FC236}">
                  <a16:creationId xmlns:a16="http://schemas.microsoft.com/office/drawing/2014/main" id="{4009C7C8-00FC-434C-819E-7FCB48514076}"/>
                </a:ext>
              </a:extLst>
            </p:cNvPr>
            <p:cNvSpPr>
              <a:spLocks noChangeAspect="1"/>
            </p:cNvSpPr>
            <p:nvPr/>
          </p:nvSpPr>
          <p:spPr bwMode="gray">
            <a:xfrm>
              <a:off x="8437216" y="1404335"/>
              <a:ext cx="190202" cy="85783"/>
            </a:xfrm>
            <a:custGeom>
              <a:avLst/>
              <a:gdLst/>
              <a:ahLst/>
              <a:cxnLst>
                <a:cxn ang="0">
                  <a:pos x="0" y="75"/>
                </a:cxn>
                <a:cxn ang="0">
                  <a:pos x="56" y="25"/>
                </a:cxn>
                <a:cxn ang="0">
                  <a:pos x="136" y="0"/>
                </a:cxn>
                <a:cxn ang="0">
                  <a:pos x="212" y="44"/>
                </a:cxn>
                <a:cxn ang="0">
                  <a:pos x="187" y="52"/>
                </a:cxn>
                <a:cxn ang="0">
                  <a:pos x="194" y="73"/>
                </a:cxn>
                <a:cxn ang="0">
                  <a:pos x="84" y="92"/>
                </a:cxn>
                <a:cxn ang="0">
                  <a:pos x="0" y="75"/>
                </a:cxn>
              </a:cxnLst>
              <a:rect l="0" t="0" r="r" b="b"/>
              <a:pathLst>
                <a:path w="212" h="92">
                  <a:moveTo>
                    <a:pt x="0" y="75"/>
                  </a:moveTo>
                  <a:lnTo>
                    <a:pt x="56" y="25"/>
                  </a:lnTo>
                  <a:lnTo>
                    <a:pt x="136" y="0"/>
                  </a:lnTo>
                  <a:lnTo>
                    <a:pt x="212" y="44"/>
                  </a:lnTo>
                  <a:lnTo>
                    <a:pt x="187" y="52"/>
                  </a:lnTo>
                  <a:lnTo>
                    <a:pt x="194" y="73"/>
                  </a:lnTo>
                  <a:lnTo>
                    <a:pt x="84" y="92"/>
                  </a:lnTo>
                  <a:lnTo>
                    <a:pt x="0" y="7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31" name="30507196.25549.256.12513.55">
              <a:extLst>
                <a:ext uri="{FF2B5EF4-FFF2-40B4-BE49-F238E27FC236}">
                  <a16:creationId xmlns:a16="http://schemas.microsoft.com/office/drawing/2014/main" id="{2D68D59A-577F-4A11-AE5F-6055D5454A60}"/>
                </a:ext>
              </a:extLst>
            </p:cNvPr>
            <p:cNvSpPr>
              <a:spLocks noChangeAspect="1"/>
            </p:cNvSpPr>
            <p:nvPr/>
          </p:nvSpPr>
          <p:spPr bwMode="gray">
            <a:xfrm>
              <a:off x="8479060" y="1478343"/>
              <a:ext cx="214926" cy="97555"/>
            </a:xfrm>
            <a:custGeom>
              <a:avLst/>
              <a:gdLst/>
              <a:ahLst/>
              <a:cxnLst>
                <a:cxn ang="0">
                  <a:pos x="0" y="46"/>
                </a:cxn>
                <a:cxn ang="0">
                  <a:pos x="44" y="52"/>
                </a:cxn>
                <a:cxn ang="0">
                  <a:pos x="74" y="89"/>
                </a:cxn>
                <a:cxn ang="0">
                  <a:pos x="98" y="78"/>
                </a:cxn>
                <a:cxn ang="0">
                  <a:pos x="197" y="107"/>
                </a:cxn>
                <a:cxn ang="0">
                  <a:pos x="230" y="95"/>
                </a:cxn>
                <a:cxn ang="0">
                  <a:pos x="205" y="67"/>
                </a:cxn>
                <a:cxn ang="0">
                  <a:pos x="224" y="74"/>
                </a:cxn>
                <a:cxn ang="0">
                  <a:pos x="239" y="31"/>
                </a:cxn>
                <a:cxn ang="0">
                  <a:pos x="187" y="9"/>
                </a:cxn>
                <a:cxn ang="0">
                  <a:pos x="136" y="39"/>
                </a:cxn>
                <a:cxn ang="0">
                  <a:pos x="178" y="23"/>
                </a:cxn>
                <a:cxn ang="0">
                  <a:pos x="153" y="0"/>
                </a:cxn>
                <a:cxn ang="0">
                  <a:pos x="70" y="8"/>
                </a:cxn>
                <a:cxn ang="0">
                  <a:pos x="0" y="46"/>
                </a:cxn>
              </a:cxnLst>
              <a:rect l="0" t="0" r="r" b="b"/>
              <a:pathLst>
                <a:path w="239" h="107">
                  <a:moveTo>
                    <a:pt x="0" y="46"/>
                  </a:moveTo>
                  <a:lnTo>
                    <a:pt x="44" y="52"/>
                  </a:lnTo>
                  <a:lnTo>
                    <a:pt x="74" y="89"/>
                  </a:lnTo>
                  <a:lnTo>
                    <a:pt x="98" y="78"/>
                  </a:lnTo>
                  <a:lnTo>
                    <a:pt x="197" y="107"/>
                  </a:lnTo>
                  <a:lnTo>
                    <a:pt x="230" y="95"/>
                  </a:lnTo>
                  <a:lnTo>
                    <a:pt x="205" y="67"/>
                  </a:lnTo>
                  <a:lnTo>
                    <a:pt x="224" y="74"/>
                  </a:lnTo>
                  <a:lnTo>
                    <a:pt x="239" y="31"/>
                  </a:lnTo>
                  <a:lnTo>
                    <a:pt x="187" y="9"/>
                  </a:lnTo>
                  <a:lnTo>
                    <a:pt x="136" y="39"/>
                  </a:lnTo>
                  <a:lnTo>
                    <a:pt x="178" y="23"/>
                  </a:lnTo>
                  <a:lnTo>
                    <a:pt x="153" y="0"/>
                  </a:lnTo>
                  <a:lnTo>
                    <a:pt x="70" y="8"/>
                  </a:lnTo>
                  <a:lnTo>
                    <a:pt x="0" y="46"/>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32" name="30508199.375561.756.2511.255">
              <a:extLst>
                <a:ext uri="{FF2B5EF4-FFF2-40B4-BE49-F238E27FC236}">
                  <a16:creationId xmlns:a16="http://schemas.microsoft.com/office/drawing/2014/main" id="{CA9A5B7C-A11E-46F2-8DEA-57BB7AD35843}"/>
                </a:ext>
              </a:extLst>
            </p:cNvPr>
            <p:cNvSpPr>
              <a:spLocks noChangeAspect="1"/>
            </p:cNvSpPr>
            <p:nvPr/>
          </p:nvSpPr>
          <p:spPr bwMode="gray">
            <a:xfrm>
              <a:off x="8678769" y="1528803"/>
              <a:ext cx="178787" cy="100920"/>
            </a:xfrm>
            <a:custGeom>
              <a:avLst/>
              <a:gdLst/>
              <a:ahLst/>
              <a:cxnLst>
                <a:cxn ang="0">
                  <a:pos x="0" y="92"/>
                </a:cxn>
                <a:cxn ang="0">
                  <a:pos x="15" y="109"/>
                </a:cxn>
                <a:cxn ang="0">
                  <a:pos x="183" y="87"/>
                </a:cxn>
                <a:cxn ang="0">
                  <a:pos x="199" y="51"/>
                </a:cxn>
                <a:cxn ang="0">
                  <a:pos x="152" y="22"/>
                </a:cxn>
                <a:cxn ang="0">
                  <a:pos x="113" y="33"/>
                </a:cxn>
                <a:cxn ang="0">
                  <a:pos x="119" y="10"/>
                </a:cxn>
                <a:cxn ang="0">
                  <a:pos x="96" y="0"/>
                </a:cxn>
                <a:cxn ang="0">
                  <a:pos x="19" y="81"/>
                </a:cxn>
                <a:cxn ang="0">
                  <a:pos x="0" y="92"/>
                </a:cxn>
              </a:cxnLst>
              <a:rect l="0" t="0" r="r" b="b"/>
              <a:pathLst>
                <a:path w="199" h="109">
                  <a:moveTo>
                    <a:pt x="0" y="92"/>
                  </a:moveTo>
                  <a:lnTo>
                    <a:pt x="15" y="109"/>
                  </a:lnTo>
                  <a:lnTo>
                    <a:pt x="183" y="87"/>
                  </a:lnTo>
                  <a:lnTo>
                    <a:pt x="199" y="51"/>
                  </a:lnTo>
                  <a:lnTo>
                    <a:pt x="152" y="22"/>
                  </a:lnTo>
                  <a:lnTo>
                    <a:pt x="113" y="33"/>
                  </a:lnTo>
                  <a:lnTo>
                    <a:pt x="119" y="10"/>
                  </a:lnTo>
                  <a:lnTo>
                    <a:pt x="96" y="0"/>
                  </a:lnTo>
                  <a:lnTo>
                    <a:pt x="19" y="81"/>
                  </a:lnTo>
                  <a:lnTo>
                    <a:pt x="0" y="92"/>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33" name="30509212.5631.755.87512.6255">
              <a:extLst>
                <a:ext uri="{FF2B5EF4-FFF2-40B4-BE49-F238E27FC236}">
                  <a16:creationId xmlns:a16="http://schemas.microsoft.com/office/drawing/2014/main" id="{9914826B-BE1B-4BD4-AE80-A5DCA655FD00}"/>
                </a:ext>
              </a:extLst>
            </p:cNvPr>
            <p:cNvSpPr>
              <a:spLocks noChangeAspect="1"/>
            </p:cNvSpPr>
            <p:nvPr/>
          </p:nvSpPr>
          <p:spPr bwMode="gray">
            <a:xfrm>
              <a:off x="9800954" y="1739053"/>
              <a:ext cx="203514" cy="95874"/>
            </a:xfrm>
            <a:custGeom>
              <a:avLst/>
              <a:gdLst/>
              <a:ahLst/>
              <a:cxnLst>
                <a:cxn ang="0">
                  <a:pos x="0" y="56"/>
                </a:cxn>
                <a:cxn ang="0">
                  <a:pos x="45" y="4"/>
                </a:cxn>
                <a:cxn ang="0">
                  <a:pos x="77" y="0"/>
                </a:cxn>
                <a:cxn ang="0">
                  <a:pos x="128" y="40"/>
                </a:cxn>
                <a:cxn ang="0">
                  <a:pos x="136" y="11"/>
                </a:cxn>
                <a:cxn ang="0">
                  <a:pos x="192" y="34"/>
                </a:cxn>
                <a:cxn ang="0">
                  <a:pos x="187" y="72"/>
                </a:cxn>
                <a:cxn ang="0">
                  <a:pos x="223" y="85"/>
                </a:cxn>
                <a:cxn ang="0">
                  <a:pos x="106" y="92"/>
                </a:cxn>
                <a:cxn ang="0">
                  <a:pos x="99" y="76"/>
                </a:cxn>
                <a:cxn ang="0">
                  <a:pos x="80" y="103"/>
                </a:cxn>
                <a:cxn ang="0">
                  <a:pos x="0" y="56"/>
                </a:cxn>
              </a:cxnLst>
              <a:rect l="0" t="0" r="r" b="b"/>
              <a:pathLst>
                <a:path w="223" h="103">
                  <a:moveTo>
                    <a:pt x="0" y="56"/>
                  </a:moveTo>
                  <a:lnTo>
                    <a:pt x="45" y="4"/>
                  </a:lnTo>
                  <a:lnTo>
                    <a:pt x="77" y="0"/>
                  </a:lnTo>
                  <a:lnTo>
                    <a:pt x="128" y="40"/>
                  </a:lnTo>
                  <a:lnTo>
                    <a:pt x="136" y="11"/>
                  </a:lnTo>
                  <a:lnTo>
                    <a:pt x="192" y="34"/>
                  </a:lnTo>
                  <a:lnTo>
                    <a:pt x="187" y="72"/>
                  </a:lnTo>
                  <a:lnTo>
                    <a:pt x="223" y="85"/>
                  </a:lnTo>
                  <a:lnTo>
                    <a:pt x="106" y="92"/>
                  </a:lnTo>
                  <a:lnTo>
                    <a:pt x="99" y="76"/>
                  </a:lnTo>
                  <a:lnTo>
                    <a:pt x="80" y="103"/>
                  </a:lnTo>
                  <a:lnTo>
                    <a:pt x="0" y="56"/>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34" name="30510212.75640.62547.6255">
              <a:extLst>
                <a:ext uri="{FF2B5EF4-FFF2-40B4-BE49-F238E27FC236}">
                  <a16:creationId xmlns:a16="http://schemas.microsoft.com/office/drawing/2014/main" id="{23E9AF6A-734A-442D-9A8E-D26D70AF73E7}"/>
                </a:ext>
              </a:extLst>
            </p:cNvPr>
            <p:cNvSpPr>
              <a:spLocks noChangeAspect="1"/>
            </p:cNvSpPr>
            <p:nvPr/>
          </p:nvSpPr>
          <p:spPr bwMode="gray">
            <a:xfrm>
              <a:off x="9943607" y="1745779"/>
              <a:ext cx="119826" cy="62232"/>
            </a:xfrm>
            <a:custGeom>
              <a:avLst/>
              <a:gdLst/>
              <a:ahLst/>
              <a:cxnLst>
                <a:cxn ang="0">
                  <a:pos x="0" y="0"/>
                </a:cxn>
                <a:cxn ang="0">
                  <a:pos x="46" y="26"/>
                </a:cxn>
                <a:cxn ang="0">
                  <a:pos x="33" y="50"/>
                </a:cxn>
                <a:cxn ang="0">
                  <a:pos x="57" y="70"/>
                </a:cxn>
                <a:cxn ang="0">
                  <a:pos x="98" y="70"/>
                </a:cxn>
                <a:cxn ang="0">
                  <a:pos x="138" y="44"/>
                </a:cxn>
                <a:cxn ang="0">
                  <a:pos x="0" y="0"/>
                </a:cxn>
              </a:cxnLst>
              <a:rect l="0" t="0" r="r" b="b"/>
              <a:pathLst>
                <a:path w="138" h="70">
                  <a:moveTo>
                    <a:pt x="0" y="0"/>
                  </a:moveTo>
                  <a:lnTo>
                    <a:pt x="46" y="26"/>
                  </a:lnTo>
                  <a:lnTo>
                    <a:pt x="33" y="50"/>
                  </a:lnTo>
                  <a:lnTo>
                    <a:pt x="57" y="70"/>
                  </a:lnTo>
                  <a:lnTo>
                    <a:pt x="98" y="70"/>
                  </a:lnTo>
                  <a:lnTo>
                    <a:pt x="138" y="44"/>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35" name="30511280.5641.2520.3755.8755">
              <a:extLst>
                <a:ext uri="{FF2B5EF4-FFF2-40B4-BE49-F238E27FC236}">
                  <a16:creationId xmlns:a16="http://schemas.microsoft.com/office/drawing/2014/main" id="{840A2E49-1D3B-46D9-BF35-0782CCBC8EB2}"/>
                </a:ext>
              </a:extLst>
            </p:cNvPr>
            <p:cNvSpPr>
              <a:spLocks noChangeAspect="1"/>
            </p:cNvSpPr>
            <p:nvPr/>
          </p:nvSpPr>
          <p:spPr bwMode="gray">
            <a:xfrm>
              <a:off x="9953113" y="2842441"/>
              <a:ext cx="95099" cy="329672"/>
            </a:xfrm>
            <a:custGeom>
              <a:avLst/>
              <a:gdLst/>
              <a:ahLst/>
              <a:cxnLst>
                <a:cxn ang="0">
                  <a:pos x="0" y="92"/>
                </a:cxn>
                <a:cxn ang="0">
                  <a:pos x="18" y="137"/>
                </a:cxn>
                <a:cxn ang="0">
                  <a:pos x="18" y="363"/>
                </a:cxn>
                <a:cxn ang="0">
                  <a:pos x="36" y="335"/>
                </a:cxn>
                <a:cxn ang="0">
                  <a:pos x="62" y="353"/>
                </a:cxn>
                <a:cxn ang="0">
                  <a:pos x="32" y="291"/>
                </a:cxn>
                <a:cxn ang="0">
                  <a:pos x="48" y="228"/>
                </a:cxn>
                <a:cxn ang="0">
                  <a:pos x="103" y="247"/>
                </a:cxn>
                <a:cxn ang="0">
                  <a:pos x="51" y="128"/>
                </a:cxn>
                <a:cxn ang="0">
                  <a:pos x="36" y="0"/>
                </a:cxn>
                <a:cxn ang="0">
                  <a:pos x="0" y="92"/>
                </a:cxn>
              </a:cxnLst>
              <a:rect l="0" t="0" r="r" b="b"/>
              <a:pathLst>
                <a:path w="103" h="363">
                  <a:moveTo>
                    <a:pt x="0" y="92"/>
                  </a:moveTo>
                  <a:lnTo>
                    <a:pt x="18" y="137"/>
                  </a:lnTo>
                  <a:lnTo>
                    <a:pt x="18" y="363"/>
                  </a:lnTo>
                  <a:lnTo>
                    <a:pt x="36" y="335"/>
                  </a:lnTo>
                  <a:lnTo>
                    <a:pt x="62" y="353"/>
                  </a:lnTo>
                  <a:lnTo>
                    <a:pt x="32" y="291"/>
                  </a:lnTo>
                  <a:lnTo>
                    <a:pt x="48" y="228"/>
                  </a:lnTo>
                  <a:lnTo>
                    <a:pt x="103" y="247"/>
                  </a:lnTo>
                  <a:lnTo>
                    <a:pt x="51" y="128"/>
                  </a:lnTo>
                  <a:lnTo>
                    <a:pt x="36" y="0"/>
                  </a:lnTo>
                  <a:lnTo>
                    <a:pt x="0" y="92"/>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36" name="30512215649.8752.8758.755">
              <a:extLst>
                <a:ext uri="{FF2B5EF4-FFF2-40B4-BE49-F238E27FC236}">
                  <a16:creationId xmlns:a16="http://schemas.microsoft.com/office/drawing/2014/main" id="{78C297AE-DFC5-40D0-B245-59285A44A93A}"/>
                </a:ext>
              </a:extLst>
            </p:cNvPr>
            <p:cNvSpPr>
              <a:spLocks noChangeAspect="1"/>
            </p:cNvSpPr>
            <p:nvPr/>
          </p:nvSpPr>
          <p:spPr bwMode="gray">
            <a:xfrm>
              <a:off x="10091961" y="1781102"/>
              <a:ext cx="140748" cy="47095"/>
            </a:xfrm>
            <a:custGeom>
              <a:avLst/>
              <a:gdLst/>
              <a:ahLst/>
              <a:cxnLst>
                <a:cxn ang="0">
                  <a:pos x="0" y="0"/>
                </a:cxn>
                <a:cxn ang="0">
                  <a:pos x="28" y="36"/>
                </a:cxn>
                <a:cxn ang="0">
                  <a:pos x="99" y="52"/>
                </a:cxn>
                <a:cxn ang="0">
                  <a:pos x="155" y="41"/>
                </a:cxn>
                <a:cxn ang="0">
                  <a:pos x="0" y="0"/>
                </a:cxn>
              </a:cxnLst>
              <a:rect l="0" t="0" r="r" b="b"/>
              <a:pathLst>
                <a:path w="155" h="52">
                  <a:moveTo>
                    <a:pt x="0" y="0"/>
                  </a:moveTo>
                  <a:lnTo>
                    <a:pt x="28" y="36"/>
                  </a:lnTo>
                  <a:lnTo>
                    <a:pt x="99" y="52"/>
                  </a:lnTo>
                  <a:lnTo>
                    <a:pt x="155" y="41"/>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37" name="30513306.25357.2516.7523.255">
              <a:extLst>
                <a:ext uri="{FF2B5EF4-FFF2-40B4-BE49-F238E27FC236}">
                  <a16:creationId xmlns:a16="http://schemas.microsoft.com/office/drawing/2014/main" id="{AE131307-A219-47C5-9D09-33C6B6CFA8E7}"/>
                </a:ext>
              </a:extLst>
            </p:cNvPr>
            <p:cNvSpPr>
              <a:spLocks noChangeAspect="1"/>
            </p:cNvSpPr>
            <p:nvPr/>
          </p:nvSpPr>
          <p:spPr bwMode="gray">
            <a:xfrm>
              <a:off x="5399711" y="3257892"/>
              <a:ext cx="372795" cy="270801"/>
            </a:xfrm>
            <a:custGeom>
              <a:avLst/>
              <a:gdLst/>
              <a:ahLst/>
              <a:cxnLst>
                <a:cxn ang="0">
                  <a:pos x="0" y="24"/>
                </a:cxn>
                <a:cxn ang="0">
                  <a:pos x="14" y="73"/>
                </a:cxn>
                <a:cxn ang="0">
                  <a:pos x="100" y="81"/>
                </a:cxn>
                <a:cxn ang="0">
                  <a:pos x="62" y="158"/>
                </a:cxn>
                <a:cxn ang="0">
                  <a:pos x="62" y="253"/>
                </a:cxn>
                <a:cxn ang="0">
                  <a:pos x="124" y="295"/>
                </a:cxn>
                <a:cxn ang="0">
                  <a:pos x="243" y="268"/>
                </a:cxn>
                <a:cxn ang="0">
                  <a:pos x="310" y="196"/>
                </a:cxn>
                <a:cxn ang="0">
                  <a:pos x="297" y="167"/>
                </a:cxn>
                <a:cxn ang="0">
                  <a:pos x="332" y="115"/>
                </a:cxn>
                <a:cxn ang="0">
                  <a:pos x="409" y="74"/>
                </a:cxn>
                <a:cxn ang="0">
                  <a:pos x="411" y="51"/>
                </a:cxn>
                <a:cxn ang="0">
                  <a:pos x="361" y="45"/>
                </a:cxn>
                <a:cxn ang="0">
                  <a:pos x="350" y="41"/>
                </a:cxn>
                <a:cxn ang="0">
                  <a:pos x="246" y="11"/>
                </a:cxn>
                <a:cxn ang="0">
                  <a:pos x="36" y="0"/>
                </a:cxn>
                <a:cxn ang="0">
                  <a:pos x="0" y="24"/>
                </a:cxn>
              </a:cxnLst>
              <a:rect l="0" t="0" r="r" b="b"/>
              <a:pathLst>
                <a:path w="411" h="295">
                  <a:moveTo>
                    <a:pt x="0" y="24"/>
                  </a:moveTo>
                  <a:lnTo>
                    <a:pt x="14" y="73"/>
                  </a:lnTo>
                  <a:lnTo>
                    <a:pt x="100" y="81"/>
                  </a:lnTo>
                  <a:lnTo>
                    <a:pt x="62" y="158"/>
                  </a:lnTo>
                  <a:lnTo>
                    <a:pt x="62" y="253"/>
                  </a:lnTo>
                  <a:lnTo>
                    <a:pt x="124" y="295"/>
                  </a:lnTo>
                  <a:lnTo>
                    <a:pt x="243" y="268"/>
                  </a:lnTo>
                  <a:lnTo>
                    <a:pt x="310" y="196"/>
                  </a:lnTo>
                  <a:lnTo>
                    <a:pt x="297" y="167"/>
                  </a:lnTo>
                  <a:lnTo>
                    <a:pt x="332" y="115"/>
                  </a:lnTo>
                  <a:lnTo>
                    <a:pt x="409" y="74"/>
                  </a:lnTo>
                  <a:lnTo>
                    <a:pt x="411" y="51"/>
                  </a:lnTo>
                  <a:lnTo>
                    <a:pt x="361" y="45"/>
                  </a:lnTo>
                  <a:lnTo>
                    <a:pt x="350" y="41"/>
                  </a:lnTo>
                  <a:lnTo>
                    <a:pt x="246" y="11"/>
                  </a:lnTo>
                  <a:lnTo>
                    <a:pt x="36" y="0"/>
                  </a:lnTo>
                  <a:lnTo>
                    <a:pt x="0" y="2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38" name="30515196.75394.7514.12519.8755">
              <a:extLst>
                <a:ext uri="{FF2B5EF4-FFF2-40B4-BE49-F238E27FC236}">
                  <a16:creationId xmlns:a16="http://schemas.microsoft.com/office/drawing/2014/main" id="{D28259A9-6468-466F-996C-90257475216E}"/>
                </a:ext>
              </a:extLst>
            </p:cNvPr>
            <p:cNvSpPr>
              <a:spLocks noChangeAspect="1"/>
            </p:cNvSpPr>
            <p:nvPr/>
          </p:nvSpPr>
          <p:spPr bwMode="gray">
            <a:xfrm>
              <a:off x="6000747" y="1483388"/>
              <a:ext cx="319535" cy="230433"/>
            </a:xfrm>
            <a:custGeom>
              <a:avLst/>
              <a:gdLst/>
              <a:ahLst/>
              <a:cxnLst>
                <a:cxn ang="0">
                  <a:pos x="0" y="31"/>
                </a:cxn>
                <a:cxn ang="0">
                  <a:pos x="3" y="62"/>
                </a:cxn>
                <a:cxn ang="0">
                  <a:pos x="39" y="62"/>
                </a:cxn>
                <a:cxn ang="0">
                  <a:pos x="28" y="77"/>
                </a:cxn>
                <a:cxn ang="0">
                  <a:pos x="54" y="87"/>
                </a:cxn>
                <a:cxn ang="0">
                  <a:pos x="20" y="85"/>
                </a:cxn>
                <a:cxn ang="0">
                  <a:pos x="83" y="111"/>
                </a:cxn>
                <a:cxn ang="0">
                  <a:pos x="55" y="121"/>
                </a:cxn>
                <a:cxn ang="0">
                  <a:pos x="75" y="140"/>
                </a:cxn>
                <a:cxn ang="0">
                  <a:pos x="129" y="129"/>
                </a:cxn>
                <a:cxn ang="0">
                  <a:pos x="128" y="103"/>
                </a:cxn>
                <a:cxn ang="0">
                  <a:pos x="157" y="93"/>
                </a:cxn>
                <a:cxn ang="0">
                  <a:pos x="161" y="122"/>
                </a:cxn>
                <a:cxn ang="0">
                  <a:pos x="195" y="103"/>
                </a:cxn>
                <a:cxn ang="0">
                  <a:pos x="189" y="122"/>
                </a:cxn>
                <a:cxn ang="0">
                  <a:pos x="220" y="124"/>
                </a:cxn>
                <a:cxn ang="0">
                  <a:pos x="98" y="153"/>
                </a:cxn>
                <a:cxn ang="0">
                  <a:pos x="103" y="175"/>
                </a:cxn>
                <a:cxn ang="0">
                  <a:pos x="204" y="158"/>
                </a:cxn>
                <a:cxn ang="0">
                  <a:pos x="135" y="179"/>
                </a:cxn>
                <a:cxn ang="0">
                  <a:pos x="175" y="191"/>
                </a:cxn>
                <a:cxn ang="0">
                  <a:pos x="106" y="201"/>
                </a:cxn>
                <a:cxn ang="0">
                  <a:pos x="209" y="252"/>
                </a:cxn>
                <a:cxn ang="0">
                  <a:pos x="275" y="122"/>
                </a:cxn>
                <a:cxn ang="0">
                  <a:pos x="354" y="92"/>
                </a:cxn>
                <a:cxn ang="0">
                  <a:pos x="267" y="70"/>
                </a:cxn>
                <a:cxn ang="0">
                  <a:pos x="255" y="37"/>
                </a:cxn>
                <a:cxn ang="0">
                  <a:pos x="230" y="56"/>
                </a:cxn>
                <a:cxn ang="0">
                  <a:pos x="241" y="26"/>
                </a:cxn>
                <a:cxn ang="0">
                  <a:pos x="182" y="0"/>
                </a:cxn>
                <a:cxn ang="0">
                  <a:pos x="162" y="26"/>
                </a:cxn>
                <a:cxn ang="0">
                  <a:pos x="190" y="87"/>
                </a:cxn>
                <a:cxn ang="0">
                  <a:pos x="124" y="25"/>
                </a:cxn>
                <a:cxn ang="0">
                  <a:pos x="103" y="37"/>
                </a:cxn>
                <a:cxn ang="0">
                  <a:pos x="117" y="69"/>
                </a:cxn>
                <a:cxn ang="0">
                  <a:pos x="53" y="40"/>
                </a:cxn>
                <a:cxn ang="0">
                  <a:pos x="98" y="22"/>
                </a:cxn>
                <a:cxn ang="0">
                  <a:pos x="0" y="31"/>
                </a:cxn>
              </a:cxnLst>
              <a:rect l="0" t="0" r="r" b="b"/>
              <a:pathLst>
                <a:path w="354" h="252">
                  <a:moveTo>
                    <a:pt x="0" y="31"/>
                  </a:moveTo>
                  <a:lnTo>
                    <a:pt x="3" y="62"/>
                  </a:lnTo>
                  <a:lnTo>
                    <a:pt x="39" y="62"/>
                  </a:lnTo>
                  <a:lnTo>
                    <a:pt x="28" y="77"/>
                  </a:lnTo>
                  <a:lnTo>
                    <a:pt x="54" y="87"/>
                  </a:lnTo>
                  <a:lnTo>
                    <a:pt x="20" y="85"/>
                  </a:lnTo>
                  <a:lnTo>
                    <a:pt x="83" y="111"/>
                  </a:lnTo>
                  <a:lnTo>
                    <a:pt x="55" y="121"/>
                  </a:lnTo>
                  <a:lnTo>
                    <a:pt x="75" y="140"/>
                  </a:lnTo>
                  <a:lnTo>
                    <a:pt x="129" y="129"/>
                  </a:lnTo>
                  <a:lnTo>
                    <a:pt x="128" y="103"/>
                  </a:lnTo>
                  <a:lnTo>
                    <a:pt x="157" y="93"/>
                  </a:lnTo>
                  <a:lnTo>
                    <a:pt x="161" y="122"/>
                  </a:lnTo>
                  <a:lnTo>
                    <a:pt x="195" y="103"/>
                  </a:lnTo>
                  <a:lnTo>
                    <a:pt x="189" y="122"/>
                  </a:lnTo>
                  <a:lnTo>
                    <a:pt x="220" y="124"/>
                  </a:lnTo>
                  <a:lnTo>
                    <a:pt x="98" y="153"/>
                  </a:lnTo>
                  <a:lnTo>
                    <a:pt x="103" y="175"/>
                  </a:lnTo>
                  <a:lnTo>
                    <a:pt x="204" y="158"/>
                  </a:lnTo>
                  <a:lnTo>
                    <a:pt x="135" y="179"/>
                  </a:lnTo>
                  <a:lnTo>
                    <a:pt x="175" y="191"/>
                  </a:lnTo>
                  <a:lnTo>
                    <a:pt x="106" y="201"/>
                  </a:lnTo>
                  <a:lnTo>
                    <a:pt x="209" y="252"/>
                  </a:lnTo>
                  <a:lnTo>
                    <a:pt x="275" y="122"/>
                  </a:lnTo>
                  <a:lnTo>
                    <a:pt x="354" y="92"/>
                  </a:lnTo>
                  <a:lnTo>
                    <a:pt x="267" y="70"/>
                  </a:lnTo>
                  <a:lnTo>
                    <a:pt x="255" y="37"/>
                  </a:lnTo>
                  <a:lnTo>
                    <a:pt x="230" y="56"/>
                  </a:lnTo>
                  <a:lnTo>
                    <a:pt x="241" y="26"/>
                  </a:lnTo>
                  <a:lnTo>
                    <a:pt x="182" y="0"/>
                  </a:lnTo>
                  <a:lnTo>
                    <a:pt x="162" y="26"/>
                  </a:lnTo>
                  <a:lnTo>
                    <a:pt x="190" y="87"/>
                  </a:lnTo>
                  <a:lnTo>
                    <a:pt x="124" y="25"/>
                  </a:lnTo>
                  <a:lnTo>
                    <a:pt x="103" y="37"/>
                  </a:lnTo>
                  <a:lnTo>
                    <a:pt x="117" y="69"/>
                  </a:lnTo>
                  <a:lnTo>
                    <a:pt x="53" y="40"/>
                  </a:lnTo>
                  <a:lnTo>
                    <a:pt x="98" y="22"/>
                  </a:lnTo>
                  <a:lnTo>
                    <a:pt x="0" y="31"/>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39" name="30516194.75407.56185">
              <a:extLst>
                <a:ext uri="{FF2B5EF4-FFF2-40B4-BE49-F238E27FC236}">
                  <a16:creationId xmlns:a16="http://schemas.microsoft.com/office/drawing/2014/main" id="{50582F26-6B01-43CD-A958-101324676EE5}"/>
                </a:ext>
              </a:extLst>
            </p:cNvPr>
            <p:cNvSpPr>
              <a:spLocks noChangeAspect="1"/>
            </p:cNvSpPr>
            <p:nvPr/>
          </p:nvSpPr>
          <p:spPr bwMode="gray">
            <a:xfrm>
              <a:off x="6206162" y="1454795"/>
              <a:ext cx="287202" cy="94190"/>
            </a:xfrm>
            <a:custGeom>
              <a:avLst/>
              <a:gdLst/>
              <a:ahLst/>
              <a:cxnLst>
                <a:cxn ang="0">
                  <a:pos x="0" y="29"/>
                </a:cxn>
                <a:cxn ang="0">
                  <a:pos x="47" y="38"/>
                </a:cxn>
                <a:cxn ang="0">
                  <a:pos x="17" y="50"/>
                </a:cxn>
                <a:cxn ang="0">
                  <a:pos x="29" y="60"/>
                </a:cxn>
                <a:cxn ang="0">
                  <a:pos x="147" y="58"/>
                </a:cxn>
                <a:cxn ang="0">
                  <a:pos x="73" y="73"/>
                </a:cxn>
                <a:cxn ang="0">
                  <a:pos x="191" y="106"/>
                </a:cxn>
                <a:cxn ang="0">
                  <a:pos x="269" y="87"/>
                </a:cxn>
                <a:cxn ang="0">
                  <a:pos x="320" y="50"/>
                </a:cxn>
                <a:cxn ang="0">
                  <a:pos x="307" y="32"/>
                </a:cxn>
                <a:cxn ang="0">
                  <a:pos x="231" y="33"/>
                </a:cxn>
                <a:cxn ang="0">
                  <a:pos x="243" y="14"/>
                </a:cxn>
                <a:cxn ang="0">
                  <a:pos x="181" y="33"/>
                </a:cxn>
                <a:cxn ang="0">
                  <a:pos x="173" y="0"/>
                </a:cxn>
                <a:cxn ang="0">
                  <a:pos x="158" y="43"/>
                </a:cxn>
                <a:cxn ang="0">
                  <a:pos x="73" y="0"/>
                </a:cxn>
                <a:cxn ang="0">
                  <a:pos x="76" y="27"/>
                </a:cxn>
                <a:cxn ang="0">
                  <a:pos x="50" y="14"/>
                </a:cxn>
                <a:cxn ang="0">
                  <a:pos x="61" y="39"/>
                </a:cxn>
                <a:cxn ang="0">
                  <a:pos x="0" y="29"/>
                </a:cxn>
              </a:cxnLst>
              <a:rect l="0" t="0" r="r" b="b"/>
              <a:pathLst>
                <a:path w="320" h="106">
                  <a:moveTo>
                    <a:pt x="0" y="29"/>
                  </a:moveTo>
                  <a:lnTo>
                    <a:pt x="47" y="38"/>
                  </a:lnTo>
                  <a:lnTo>
                    <a:pt x="17" y="50"/>
                  </a:lnTo>
                  <a:lnTo>
                    <a:pt x="29" y="60"/>
                  </a:lnTo>
                  <a:lnTo>
                    <a:pt x="147" y="58"/>
                  </a:lnTo>
                  <a:lnTo>
                    <a:pt x="73" y="73"/>
                  </a:lnTo>
                  <a:lnTo>
                    <a:pt x="191" y="106"/>
                  </a:lnTo>
                  <a:lnTo>
                    <a:pt x="269" y="87"/>
                  </a:lnTo>
                  <a:lnTo>
                    <a:pt x="320" y="50"/>
                  </a:lnTo>
                  <a:lnTo>
                    <a:pt x="307" y="32"/>
                  </a:lnTo>
                  <a:lnTo>
                    <a:pt x="231" y="33"/>
                  </a:lnTo>
                  <a:lnTo>
                    <a:pt x="243" y="14"/>
                  </a:lnTo>
                  <a:lnTo>
                    <a:pt x="181" y="33"/>
                  </a:lnTo>
                  <a:lnTo>
                    <a:pt x="173" y="0"/>
                  </a:lnTo>
                  <a:lnTo>
                    <a:pt x="158" y="43"/>
                  </a:lnTo>
                  <a:lnTo>
                    <a:pt x="73" y="0"/>
                  </a:lnTo>
                  <a:lnTo>
                    <a:pt x="76" y="27"/>
                  </a:lnTo>
                  <a:lnTo>
                    <a:pt x="50" y="14"/>
                  </a:lnTo>
                  <a:lnTo>
                    <a:pt x="61" y="39"/>
                  </a:lnTo>
                  <a:lnTo>
                    <a:pt x="0" y="2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40" name="30517204.5413.62547.8755">
              <a:extLst>
                <a:ext uri="{FF2B5EF4-FFF2-40B4-BE49-F238E27FC236}">
                  <a16:creationId xmlns:a16="http://schemas.microsoft.com/office/drawing/2014/main" id="{7CBD5120-C11D-4916-8816-C5E9C4F2EE4D}"/>
                </a:ext>
              </a:extLst>
            </p:cNvPr>
            <p:cNvSpPr>
              <a:spLocks noChangeAspect="1"/>
            </p:cNvSpPr>
            <p:nvPr/>
          </p:nvSpPr>
          <p:spPr bwMode="gray">
            <a:xfrm>
              <a:off x="6305066" y="1611221"/>
              <a:ext cx="125532" cy="63916"/>
            </a:xfrm>
            <a:custGeom>
              <a:avLst/>
              <a:gdLst/>
              <a:ahLst/>
              <a:cxnLst>
                <a:cxn ang="0">
                  <a:pos x="0" y="55"/>
                </a:cxn>
                <a:cxn ang="0">
                  <a:pos x="11" y="20"/>
                </a:cxn>
                <a:cxn ang="0">
                  <a:pos x="67" y="0"/>
                </a:cxn>
                <a:cxn ang="0">
                  <a:pos x="77" y="20"/>
                </a:cxn>
                <a:cxn ang="0">
                  <a:pos x="137" y="36"/>
                </a:cxn>
                <a:cxn ang="0">
                  <a:pos x="54" y="69"/>
                </a:cxn>
                <a:cxn ang="0">
                  <a:pos x="67" y="51"/>
                </a:cxn>
                <a:cxn ang="0">
                  <a:pos x="0" y="55"/>
                </a:cxn>
              </a:cxnLst>
              <a:rect l="0" t="0" r="r" b="b"/>
              <a:pathLst>
                <a:path w="137" h="69">
                  <a:moveTo>
                    <a:pt x="0" y="55"/>
                  </a:moveTo>
                  <a:lnTo>
                    <a:pt x="11" y="20"/>
                  </a:lnTo>
                  <a:lnTo>
                    <a:pt x="67" y="0"/>
                  </a:lnTo>
                  <a:lnTo>
                    <a:pt x="77" y="20"/>
                  </a:lnTo>
                  <a:lnTo>
                    <a:pt x="137" y="36"/>
                  </a:lnTo>
                  <a:lnTo>
                    <a:pt x="54" y="69"/>
                  </a:lnTo>
                  <a:lnTo>
                    <a:pt x="67" y="51"/>
                  </a:lnTo>
                  <a:lnTo>
                    <a:pt x="0" y="5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41" name="30518237.875395.539.7524.1255">
              <a:extLst>
                <a:ext uri="{FF2B5EF4-FFF2-40B4-BE49-F238E27FC236}">
                  <a16:creationId xmlns:a16="http://schemas.microsoft.com/office/drawing/2014/main" id="{20C42988-421D-4322-B041-E9BE13D1A2A9}"/>
                </a:ext>
              </a:extLst>
            </p:cNvPr>
            <p:cNvSpPr>
              <a:spLocks noChangeAspect="1"/>
            </p:cNvSpPr>
            <p:nvPr/>
          </p:nvSpPr>
          <p:spPr bwMode="gray">
            <a:xfrm>
              <a:off x="6012158" y="2149458"/>
              <a:ext cx="386106" cy="645884"/>
            </a:xfrm>
            <a:custGeom>
              <a:avLst/>
              <a:gdLst/>
              <a:ahLst/>
              <a:cxnLst>
                <a:cxn ang="0">
                  <a:pos x="0" y="529"/>
                </a:cxn>
                <a:cxn ang="0">
                  <a:pos x="18" y="611"/>
                </a:cxn>
                <a:cxn ang="0">
                  <a:pos x="55" y="649"/>
                </a:cxn>
                <a:cxn ang="0">
                  <a:pos x="51" y="704"/>
                </a:cxn>
                <a:cxn ang="0">
                  <a:pos x="155" y="667"/>
                </a:cxn>
                <a:cxn ang="0">
                  <a:pos x="183" y="556"/>
                </a:cxn>
                <a:cxn ang="0">
                  <a:pos x="162" y="551"/>
                </a:cxn>
                <a:cxn ang="0">
                  <a:pos x="241" y="517"/>
                </a:cxn>
                <a:cxn ang="0">
                  <a:pos x="166" y="509"/>
                </a:cxn>
                <a:cxn ang="0">
                  <a:pos x="223" y="517"/>
                </a:cxn>
                <a:cxn ang="0">
                  <a:pos x="253" y="488"/>
                </a:cxn>
                <a:cxn ang="0">
                  <a:pos x="208" y="452"/>
                </a:cxn>
                <a:cxn ang="0">
                  <a:pos x="165" y="477"/>
                </a:cxn>
                <a:cxn ang="0">
                  <a:pos x="199" y="455"/>
                </a:cxn>
                <a:cxn ang="0">
                  <a:pos x="201" y="353"/>
                </a:cxn>
                <a:cxn ang="0">
                  <a:pos x="345" y="257"/>
                </a:cxn>
                <a:cxn ang="0">
                  <a:pos x="334" y="236"/>
                </a:cxn>
                <a:cxn ang="0">
                  <a:pos x="359" y="188"/>
                </a:cxn>
                <a:cxn ang="0">
                  <a:pos x="429" y="173"/>
                </a:cxn>
                <a:cxn ang="0">
                  <a:pos x="411" y="59"/>
                </a:cxn>
                <a:cxn ang="0">
                  <a:pos x="313" y="0"/>
                </a:cxn>
                <a:cxn ang="0">
                  <a:pos x="298" y="0"/>
                </a:cxn>
                <a:cxn ang="0">
                  <a:pos x="297" y="37"/>
                </a:cxn>
                <a:cxn ang="0">
                  <a:pos x="235" y="30"/>
                </a:cxn>
                <a:cxn ang="0">
                  <a:pos x="223" y="59"/>
                </a:cxn>
                <a:cxn ang="0">
                  <a:pos x="181" y="67"/>
                </a:cxn>
                <a:cxn ang="0">
                  <a:pos x="169" y="113"/>
                </a:cxn>
                <a:cxn ang="0">
                  <a:pos x="111" y="168"/>
                </a:cxn>
                <a:cxn ang="0">
                  <a:pos x="84" y="243"/>
                </a:cxn>
                <a:cxn ang="0">
                  <a:pos x="96" y="274"/>
                </a:cxn>
                <a:cxn ang="0">
                  <a:pos x="34" y="297"/>
                </a:cxn>
                <a:cxn ang="0">
                  <a:pos x="32" y="396"/>
                </a:cxn>
                <a:cxn ang="0">
                  <a:pos x="50" y="417"/>
                </a:cxn>
                <a:cxn ang="0">
                  <a:pos x="32" y="436"/>
                </a:cxn>
                <a:cxn ang="0">
                  <a:pos x="39" y="480"/>
                </a:cxn>
                <a:cxn ang="0">
                  <a:pos x="0" y="529"/>
                </a:cxn>
              </a:cxnLst>
              <a:rect l="0" t="0" r="r" b="b"/>
              <a:pathLst>
                <a:path w="429" h="704">
                  <a:moveTo>
                    <a:pt x="0" y="529"/>
                  </a:moveTo>
                  <a:lnTo>
                    <a:pt x="18" y="611"/>
                  </a:lnTo>
                  <a:lnTo>
                    <a:pt x="55" y="649"/>
                  </a:lnTo>
                  <a:lnTo>
                    <a:pt x="51" y="704"/>
                  </a:lnTo>
                  <a:lnTo>
                    <a:pt x="155" y="667"/>
                  </a:lnTo>
                  <a:lnTo>
                    <a:pt x="183" y="556"/>
                  </a:lnTo>
                  <a:lnTo>
                    <a:pt x="162" y="551"/>
                  </a:lnTo>
                  <a:lnTo>
                    <a:pt x="241" y="517"/>
                  </a:lnTo>
                  <a:lnTo>
                    <a:pt x="166" y="509"/>
                  </a:lnTo>
                  <a:lnTo>
                    <a:pt x="223" y="517"/>
                  </a:lnTo>
                  <a:lnTo>
                    <a:pt x="253" y="488"/>
                  </a:lnTo>
                  <a:lnTo>
                    <a:pt x="208" y="452"/>
                  </a:lnTo>
                  <a:lnTo>
                    <a:pt x="165" y="477"/>
                  </a:lnTo>
                  <a:lnTo>
                    <a:pt x="199" y="455"/>
                  </a:lnTo>
                  <a:lnTo>
                    <a:pt x="201" y="353"/>
                  </a:lnTo>
                  <a:lnTo>
                    <a:pt x="345" y="257"/>
                  </a:lnTo>
                  <a:lnTo>
                    <a:pt x="334" y="236"/>
                  </a:lnTo>
                  <a:lnTo>
                    <a:pt x="359" y="188"/>
                  </a:lnTo>
                  <a:lnTo>
                    <a:pt x="429" y="173"/>
                  </a:lnTo>
                  <a:lnTo>
                    <a:pt x="411" y="59"/>
                  </a:lnTo>
                  <a:lnTo>
                    <a:pt x="313" y="0"/>
                  </a:lnTo>
                  <a:lnTo>
                    <a:pt x="298" y="0"/>
                  </a:lnTo>
                  <a:lnTo>
                    <a:pt x="297" y="37"/>
                  </a:lnTo>
                  <a:lnTo>
                    <a:pt x="235" y="30"/>
                  </a:lnTo>
                  <a:lnTo>
                    <a:pt x="223" y="59"/>
                  </a:lnTo>
                  <a:lnTo>
                    <a:pt x="181" y="67"/>
                  </a:lnTo>
                  <a:lnTo>
                    <a:pt x="169" y="113"/>
                  </a:lnTo>
                  <a:lnTo>
                    <a:pt x="111" y="168"/>
                  </a:lnTo>
                  <a:lnTo>
                    <a:pt x="84" y="243"/>
                  </a:lnTo>
                  <a:lnTo>
                    <a:pt x="96" y="274"/>
                  </a:lnTo>
                  <a:lnTo>
                    <a:pt x="34" y="297"/>
                  </a:lnTo>
                  <a:lnTo>
                    <a:pt x="32" y="396"/>
                  </a:lnTo>
                  <a:lnTo>
                    <a:pt x="50" y="417"/>
                  </a:lnTo>
                  <a:lnTo>
                    <a:pt x="32" y="436"/>
                  </a:lnTo>
                  <a:lnTo>
                    <a:pt x="39" y="480"/>
                  </a:lnTo>
                  <a:lnTo>
                    <a:pt x="0" y="52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42" name="30519296.875385.6254.1258.255">
              <a:extLst>
                <a:ext uri="{FF2B5EF4-FFF2-40B4-BE49-F238E27FC236}">
                  <a16:creationId xmlns:a16="http://schemas.microsoft.com/office/drawing/2014/main" id="{6FE48C5B-85B1-4E41-8A9D-C334FE91BC22}"/>
                </a:ext>
              </a:extLst>
            </p:cNvPr>
            <p:cNvSpPr>
              <a:spLocks noChangeAspect="1"/>
            </p:cNvSpPr>
            <p:nvPr/>
          </p:nvSpPr>
          <p:spPr bwMode="gray">
            <a:xfrm>
              <a:off x="5854293" y="3106512"/>
              <a:ext cx="133142" cy="65597"/>
            </a:xfrm>
            <a:custGeom>
              <a:avLst/>
              <a:gdLst/>
              <a:ahLst/>
              <a:cxnLst>
                <a:cxn ang="0">
                  <a:pos x="0" y="50"/>
                </a:cxn>
                <a:cxn ang="0">
                  <a:pos x="33" y="73"/>
                </a:cxn>
                <a:cxn ang="0">
                  <a:pos x="80" y="53"/>
                </a:cxn>
                <a:cxn ang="0">
                  <a:pos x="100" y="72"/>
                </a:cxn>
                <a:cxn ang="0">
                  <a:pos x="147" y="33"/>
                </a:cxn>
                <a:cxn ang="0">
                  <a:pos x="119" y="29"/>
                </a:cxn>
                <a:cxn ang="0">
                  <a:pos x="118" y="11"/>
                </a:cxn>
                <a:cxn ang="0">
                  <a:pos x="114" y="7"/>
                </a:cxn>
                <a:cxn ang="0">
                  <a:pos x="49" y="0"/>
                </a:cxn>
                <a:cxn ang="0">
                  <a:pos x="0" y="50"/>
                </a:cxn>
              </a:cxnLst>
              <a:rect l="0" t="0" r="r" b="b"/>
              <a:pathLst>
                <a:path w="147" h="73">
                  <a:moveTo>
                    <a:pt x="0" y="50"/>
                  </a:moveTo>
                  <a:lnTo>
                    <a:pt x="33" y="73"/>
                  </a:lnTo>
                  <a:lnTo>
                    <a:pt x="80" y="53"/>
                  </a:lnTo>
                  <a:lnTo>
                    <a:pt x="100" y="72"/>
                  </a:lnTo>
                  <a:lnTo>
                    <a:pt x="147" y="33"/>
                  </a:lnTo>
                  <a:lnTo>
                    <a:pt x="119" y="29"/>
                  </a:lnTo>
                  <a:lnTo>
                    <a:pt x="118" y="11"/>
                  </a:lnTo>
                  <a:lnTo>
                    <a:pt x="114" y="7"/>
                  </a:lnTo>
                  <a:lnTo>
                    <a:pt x="49" y="0"/>
                  </a:lnTo>
                  <a:lnTo>
                    <a:pt x="0" y="5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43" name="30520320.5441.12510.37513.3755">
              <a:extLst>
                <a:ext uri="{FF2B5EF4-FFF2-40B4-BE49-F238E27FC236}">
                  <a16:creationId xmlns:a16="http://schemas.microsoft.com/office/drawing/2014/main" id="{331BA618-6331-47EB-9740-587BB44CFC02}"/>
                </a:ext>
              </a:extLst>
            </p:cNvPr>
            <p:cNvSpPr>
              <a:spLocks noChangeAspect="1"/>
            </p:cNvSpPr>
            <p:nvPr/>
          </p:nvSpPr>
          <p:spPr bwMode="gray">
            <a:xfrm>
              <a:off x="6744431" y="3490005"/>
              <a:ext cx="214926" cy="166517"/>
            </a:xfrm>
            <a:custGeom>
              <a:avLst/>
              <a:gdLst/>
              <a:ahLst/>
              <a:cxnLst>
                <a:cxn ang="0">
                  <a:pos x="0" y="169"/>
                </a:cxn>
                <a:cxn ang="0">
                  <a:pos x="4" y="150"/>
                </a:cxn>
                <a:cxn ang="0">
                  <a:pos x="38" y="111"/>
                </a:cxn>
                <a:cxn ang="0">
                  <a:pos x="19" y="93"/>
                </a:cxn>
                <a:cxn ang="0">
                  <a:pos x="17" y="47"/>
                </a:cxn>
                <a:cxn ang="0">
                  <a:pos x="38" y="9"/>
                </a:cxn>
                <a:cxn ang="0">
                  <a:pos x="237" y="0"/>
                </a:cxn>
                <a:cxn ang="0">
                  <a:pos x="200" y="27"/>
                </a:cxn>
                <a:cxn ang="0">
                  <a:pos x="188" y="100"/>
                </a:cxn>
                <a:cxn ang="0">
                  <a:pos x="107" y="144"/>
                </a:cxn>
                <a:cxn ang="0">
                  <a:pos x="35" y="183"/>
                </a:cxn>
                <a:cxn ang="0">
                  <a:pos x="0" y="169"/>
                </a:cxn>
              </a:cxnLst>
              <a:rect l="0" t="0" r="r" b="b"/>
              <a:pathLst>
                <a:path w="237" h="183">
                  <a:moveTo>
                    <a:pt x="0" y="169"/>
                  </a:moveTo>
                  <a:lnTo>
                    <a:pt x="4" y="150"/>
                  </a:lnTo>
                  <a:lnTo>
                    <a:pt x="38" y="111"/>
                  </a:lnTo>
                  <a:lnTo>
                    <a:pt x="19" y="93"/>
                  </a:lnTo>
                  <a:lnTo>
                    <a:pt x="17" y="47"/>
                  </a:lnTo>
                  <a:lnTo>
                    <a:pt x="38" y="9"/>
                  </a:lnTo>
                  <a:lnTo>
                    <a:pt x="237" y="0"/>
                  </a:lnTo>
                  <a:lnTo>
                    <a:pt x="200" y="27"/>
                  </a:lnTo>
                  <a:lnTo>
                    <a:pt x="188" y="100"/>
                  </a:lnTo>
                  <a:lnTo>
                    <a:pt x="107" y="144"/>
                  </a:lnTo>
                  <a:lnTo>
                    <a:pt x="35" y="183"/>
                  </a:lnTo>
                  <a:lnTo>
                    <a:pt x="0" y="16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44" name="30522343.5470.56.75105">
              <a:extLst>
                <a:ext uri="{FF2B5EF4-FFF2-40B4-BE49-F238E27FC236}">
                  <a16:creationId xmlns:a16="http://schemas.microsoft.com/office/drawing/2014/main" id="{4F4CAA25-9E39-4877-8A01-AAFB4200CB26}"/>
                </a:ext>
              </a:extLst>
            </p:cNvPr>
            <p:cNvSpPr>
              <a:spLocks noChangeAspect="1"/>
            </p:cNvSpPr>
            <p:nvPr/>
          </p:nvSpPr>
          <p:spPr bwMode="gray">
            <a:xfrm>
              <a:off x="7216126" y="3861726"/>
              <a:ext cx="161670" cy="111011"/>
            </a:xfrm>
            <a:custGeom>
              <a:avLst/>
              <a:gdLst/>
              <a:ahLst/>
              <a:cxnLst>
                <a:cxn ang="0">
                  <a:pos x="0" y="55"/>
                </a:cxn>
                <a:cxn ang="0">
                  <a:pos x="9" y="52"/>
                </a:cxn>
                <a:cxn ang="0">
                  <a:pos x="23" y="71"/>
                </a:cxn>
                <a:cxn ang="0">
                  <a:pos x="97" y="70"/>
                </a:cxn>
                <a:cxn ang="0">
                  <a:pos x="165" y="0"/>
                </a:cxn>
                <a:cxn ang="0">
                  <a:pos x="174" y="43"/>
                </a:cxn>
                <a:cxn ang="0">
                  <a:pos x="154" y="44"/>
                </a:cxn>
                <a:cxn ang="0">
                  <a:pos x="165" y="70"/>
                </a:cxn>
                <a:cxn ang="0">
                  <a:pos x="137" y="120"/>
                </a:cxn>
                <a:cxn ang="0">
                  <a:pos x="31" y="107"/>
                </a:cxn>
                <a:cxn ang="0">
                  <a:pos x="0" y="55"/>
                </a:cxn>
              </a:cxnLst>
              <a:rect l="0" t="0" r="r" b="b"/>
              <a:pathLst>
                <a:path w="174" h="120">
                  <a:moveTo>
                    <a:pt x="0" y="55"/>
                  </a:moveTo>
                  <a:lnTo>
                    <a:pt x="9" y="52"/>
                  </a:lnTo>
                  <a:lnTo>
                    <a:pt x="23" y="71"/>
                  </a:lnTo>
                  <a:lnTo>
                    <a:pt x="97" y="70"/>
                  </a:lnTo>
                  <a:lnTo>
                    <a:pt x="165" y="0"/>
                  </a:lnTo>
                  <a:lnTo>
                    <a:pt x="174" y="43"/>
                  </a:lnTo>
                  <a:lnTo>
                    <a:pt x="154" y="44"/>
                  </a:lnTo>
                  <a:lnTo>
                    <a:pt x="165" y="70"/>
                  </a:lnTo>
                  <a:lnTo>
                    <a:pt x="137" y="120"/>
                  </a:lnTo>
                  <a:lnTo>
                    <a:pt x="31" y="107"/>
                  </a:lnTo>
                  <a:lnTo>
                    <a:pt x="0" y="5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45" name="30523320.875388.2514.257.55">
              <a:extLst>
                <a:ext uri="{FF2B5EF4-FFF2-40B4-BE49-F238E27FC236}">
                  <a16:creationId xmlns:a16="http://schemas.microsoft.com/office/drawing/2014/main" id="{A148117A-C5B2-4D53-B036-09BCA2980755}"/>
                </a:ext>
              </a:extLst>
            </p:cNvPr>
            <p:cNvSpPr>
              <a:spLocks noChangeAspect="1"/>
            </p:cNvSpPr>
            <p:nvPr/>
          </p:nvSpPr>
          <p:spPr bwMode="gray">
            <a:xfrm>
              <a:off x="5896137" y="3496735"/>
              <a:ext cx="119826" cy="228752"/>
            </a:xfrm>
            <a:custGeom>
              <a:avLst/>
              <a:gdLst/>
              <a:ahLst/>
              <a:cxnLst>
                <a:cxn ang="0">
                  <a:pos x="0" y="117"/>
                </a:cxn>
                <a:cxn ang="0">
                  <a:pos x="28" y="94"/>
                </a:cxn>
                <a:cxn ang="0">
                  <a:pos x="42" y="3"/>
                </a:cxn>
                <a:cxn ang="0">
                  <a:pos x="123" y="0"/>
                </a:cxn>
                <a:cxn ang="0">
                  <a:pos x="103" y="31"/>
                </a:cxn>
                <a:cxn ang="0">
                  <a:pos x="126" y="69"/>
                </a:cxn>
                <a:cxn ang="0">
                  <a:pos x="79" y="117"/>
                </a:cxn>
                <a:cxn ang="0">
                  <a:pos x="132" y="147"/>
                </a:cxn>
                <a:cxn ang="0">
                  <a:pos x="66" y="252"/>
                </a:cxn>
                <a:cxn ang="0">
                  <a:pos x="56" y="185"/>
                </a:cxn>
                <a:cxn ang="0">
                  <a:pos x="0" y="117"/>
                </a:cxn>
              </a:cxnLst>
              <a:rect l="0" t="0" r="r" b="b"/>
              <a:pathLst>
                <a:path w="132" h="252">
                  <a:moveTo>
                    <a:pt x="0" y="117"/>
                  </a:moveTo>
                  <a:lnTo>
                    <a:pt x="28" y="94"/>
                  </a:lnTo>
                  <a:lnTo>
                    <a:pt x="42" y="3"/>
                  </a:lnTo>
                  <a:lnTo>
                    <a:pt x="123" y="0"/>
                  </a:lnTo>
                  <a:lnTo>
                    <a:pt x="103" y="31"/>
                  </a:lnTo>
                  <a:lnTo>
                    <a:pt x="126" y="69"/>
                  </a:lnTo>
                  <a:lnTo>
                    <a:pt x="79" y="117"/>
                  </a:lnTo>
                  <a:lnTo>
                    <a:pt x="132" y="147"/>
                  </a:lnTo>
                  <a:lnTo>
                    <a:pt x="66" y="252"/>
                  </a:lnTo>
                  <a:lnTo>
                    <a:pt x="56" y="185"/>
                  </a:lnTo>
                  <a:lnTo>
                    <a:pt x="0" y="117"/>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46" name="30524310.25423.545.255">
              <a:extLst>
                <a:ext uri="{FF2B5EF4-FFF2-40B4-BE49-F238E27FC236}">
                  <a16:creationId xmlns:a16="http://schemas.microsoft.com/office/drawing/2014/main" id="{C91C59BB-CB6F-4FE5-892A-18EB601FF429}"/>
                </a:ext>
              </a:extLst>
            </p:cNvPr>
            <p:cNvSpPr>
              <a:spLocks noChangeAspect="1"/>
            </p:cNvSpPr>
            <p:nvPr/>
          </p:nvSpPr>
          <p:spPr bwMode="gray">
            <a:xfrm>
              <a:off x="6462935" y="3323489"/>
              <a:ext cx="85589" cy="65597"/>
            </a:xfrm>
            <a:custGeom>
              <a:avLst/>
              <a:gdLst/>
              <a:ahLst/>
              <a:cxnLst>
                <a:cxn ang="0">
                  <a:pos x="0" y="47"/>
                </a:cxn>
                <a:cxn ang="0">
                  <a:pos x="11" y="3"/>
                </a:cxn>
                <a:cxn ang="0">
                  <a:pos x="63" y="0"/>
                </a:cxn>
                <a:cxn ang="0">
                  <a:pos x="93" y="34"/>
                </a:cxn>
                <a:cxn ang="0">
                  <a:pos x="50" y="36"/>
                </a:cxn>
                <a:cxn ang="0">
                  <a:pos x="4" y="70"/>
                </a:cxn>
                <a:cxn ang="0">
                  <a:pos x="24" y="49"/>
                </a:cxn>
                <a:cxn ang="0">
                  <a:pos x="0" y="47"/>
                </a:cxn>
              </a:cxnLst>
              <a:rect l="0" t="0" r="r" b="b"/>
              <a:pathLst>
                <a:path w="93" h="70">
                  <a:moveTo>
                    <a:pt x="0" y="47"/>
                  </a:moveTo>
                  <a:lnTo>
                    <a:pt x="11" y="3"/>
                  </a:lnTo>
                  <a:lnTo>
                    <a:pt x="63" y="0"/>
                  </a:lnTo>
                  <a:lnTo>
                    <a:pt x="93" y="34"/>
                  </a:lnTo>
                  <a:lnTo>
                    <a:pt x="50" y="36"/>
                  </a:lnTo>
                  <a:lnTo>
                    <a:pt x="4" y="70"/>
                  </a:lnTo>
                  <a:lnTo>
                    <a:pt x="24" y="49"/>
                  </a:lnTo>
                  <a:lnTo>
                    <a:pt x="0" y="47"/>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47" name="30525309.7542413.534.755">
              <a:extLst>
                <a:ext uri="{FF2B5EF4-FFF2-40B4-BE49-F238E27FC236}">
                  <a16:creationId xmlns:a16="http://schemas.microsoft.com/office/drawing/2014/main" id="{73A1884C-E7C7-43AC-B7D1-B4270B955174}"/>
                </a:ext>
              </a:extLst>
            </p:cNvPr>
            <p:cNvSpPr>
              <a:spLocks noChangeAspect="1"/>
            </p:cNvSpPr>
            <p:nvPr/>
          </p:nvSpPr>
          <p:spPr bwMode="gray">
            <a:xfrm>
              <a:off x="6472442" y="3315078"/>
              <a:ext cx="557287" cy="220341"/>
            </a:xfrm>
            <a:custGeom>
              <a:avLst/>
              <a:gdLst/>
              <a:ahLst/>
              <a:cxnLst>
                <a:cxn ang="0">
                  <a:pos x="0" y="79"/>
                </a:cxn>
                <a:cxn ang="0">
                  <a:pos x="26" y="141"/>
                </a:cxn>
                <a:cxn ang="0">
                  <a:pos x="2" y="148"/>
                </a:cxn>
                <a:cxn ang="0">
                  <a:pos x="26" y="158"/>
                </a:cxn>
                <a:cxn ang="0">
                  <a:pos x="36" y="196"/>
                </a:cxn>
                <a:cxn ang="0">
                  <a:pos x="70" y="192"/>
                </a:cxn>
                <a:cxn ang="0">
                  <a:pos x="36" y="209"/>
                </a:cxn>
                <a:cxn ang="0">
                  <a:pos x="76" y="202"/>
                </a:cxn>
                <a:cxn ang="0">
                  <a:pos x="118" y="227"/>
                </a:cxn>
                <a:cxn ang="0">
                  <a:pos x="157" y="200"/>
                </a:cxn>
                <a:cxn ang="0">
                  <a:pos x="217" y="235"/>
                </a:cxn>
                <a:cxn ang="0">
                  <a:pos x="323" y="200"/>
                </a:cxn>
                <a:cxn ang="0">
                  <a:pos x="320" y="238"/>
                </a:cxn>
                <a:cxn ang="0">
                  <a:pos x="341" y="200"/>
                </a:cxn>
                <a:cxn ang="0">
                  <a:pos x="540" y="191"/>
                </a:cxn>
                <a:cxn ang="0">
                  <a:pos x="614" y="188"/>
                </a:cxn>
                <a:cxn ang="0">
                  <a:pos x="592" y="104"/>
                </a:cxn>
                <a:cxn ang="0">
                  <a:pos x="609" y="86"/>
                </a:cxn>
                <a:cxn ang="0">
                  <a:pos x="546" y="16"/>
                </a:cxn>
                <a:cxn ang="0">
                  <a:pos x="505" y="16"/>
                </a:cxn>
                <a:cxn ang="0">
                  <a:pos x="393" y="45"/>
                </a:cxn>
                <a:cxn ang="0">
                  <a:pos x="296" y="0"/>
                </a:cxn>
                <a:cxn ang="0">
                  <a:pos x="235" y="1"/>
                </a:cxn>
                <a:cxn ang="0">
                  <a:pos x="158" y="42"/>
                </a:cxn>
                <a:cxn ang="0">
                  <a:pos x="96" y="31"/>
                </a:cxn>
                <a:cxn ang="0">
                  <a:pos x="116" y="53"/>
                </a:cxn>
                <a:cxn ang="0">
                  <a:pos x="0" y="79"/>
                </a:cxn>
              </a:cxnLst>
              <a:rect l="0" t="0" r="r" b="b"/>
              <a:pathLst>
                <a:path w="614" h="238">
                  <a:moveTo>
                    <a:pt x="0" y="79"/>
                  </a:moveTo>
                  <a:lnTo>
                    <a:pt x="26" y="141"/>
                  </a:lnTo>
                  <a:lnTo>
                    <a:pt x="2" y="148"/>
                  </a:lnTo>
                  <a:lnTo>
                    <a:pt x="26" y="158"/>
                  </a:lnTo>
                  <a:lnTo>
                    <a:pt x="36" y="196"/>
                  </a:lnTo>
                  <a:lnTo>
                    <a:pt x="70" y="192"/>
                  </a:lnTo>
                  <a:lnTo>
                    <a:pt x="36" y="209"/>
                  </a:lnTo>
                  <a:lnTo>
                    <a:pt x="76" y="202"/>
                  </a:lnTo>
                  <a:lnTo>
                    <a:pt x="118" y="227"/>
                  </a:lnTo>
                  <a:lnTo>
                    <a:pt x="157" y="200"/>
                  </a:lnTo>
                  <a:lnTo>
                    <a:pt x="217" y="235"/>
                  </a:lnTo>
                  <a:lnTo>
                    <a:pt x="323" y="200"/>
                  </a:lnTo>
                  <a:lnTo>
                    <a:pt x="320" y="238"/>
                  </a:lnTo>
                  <a:lnTo>
                    <a:pt x="341" y="200"/>
                  </a:lnTo>
                  <a:lnTo>
                    <a:pt x="540" y="191"/>
                  </a:lnTo>
                  <a:lnTo>
                    <a:pt x="614" y="188"/>
                  </a:lnTo>
                  <a:lnTo>
                    <a:pt x="592" y="104"/>
                  </a:lnTo>
                  <a:lnTo>
                    <a:pt x="609" y="86"/>
                  </a:lnTo>
                  <a:lnTo>
                    <a:pt x="546" y="16"/>
                  </a:lnTo>
                  <a:lnTo>
                    <a:pt x="505" y="16"/>
                  </a:lnTo>
                  <a:lnTo>
                    <a:pt x="393" y="45"/>
                  </a:lnTo>
                  <a:lnTo>
                    <a:pt x="296" y="0"/>
                  </a:lnTo>
                  <a:lnTo>
                    <a:pt x="235" y="1"/>
                  </a:lnTo>
                  <a:lnTo>
                    <a:pt x="158" y="42"/>
                  </a:lnTo>
                  <a:lnTo>
                    <a:pt x="96" y="31"/>
                  </a:lnTo>
                  <a:lnTo>
                    <a:pt x="116" y="53"/>
                  </a:lnTo>
                  <a:lnTo>
                    <a:pt x="0" y="7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48" name="30526278.375355.37597.6255">
              <a:extLst>
                <a:ext uri="{FF2B5EF4-FFF2-40B4-BE49-F238E27FC236}">
                  <a16:creationId xmlns:a16="http://schemas.microsoft.com/office/drawing/2014/main" id="{95CA6DB9-C631-489B-ACBE-EE7FC078F9D1}"/>
                </a:ext>
              </a:extLst>
            </p:cNvPr>
            <p:cNvSpPr>
              <a:spLocks noChangeAspect="1"/>
            </p:cNvSpPr>
            <p:nvPr/>
          </p:nvSpPr>
          <p:spPr bwMode="gray">
            <a:xfrm>
              <a:off x="5371183" y="2807118"/>
              <a:ext cx="123631" cy="144650"/>
            </a:xfrm>
            <a:custGeom>
              <a:avLst/>
              <a:gdLst/>
              <a:ahLst/>
              <a:cxnLst>
                <a:cxn ang="0">
                  <a:pos x="0" y="132"/>
                </a:cxn>
                <a:cxn ang="0">
                  <a:pos x="18" y="146"/>
                </a:cxn>
                <a:cxn ang="0">
                  <a:pos x="4" y="158"/>
                </a:cxn>
                <a:cxn ang="0">
                  <a:pos x="127" y="133"/>
                </a:cxn>
                <a:cxn ang="0">
                  <a:pos x="136" y="51"/>
                </a:cxn>
                <a:cxn ang="0">
                  <a:pos x="120" y="32"/>
                </a:cxn>
                <a:cxn ang="0">
                  <a:pos x="84" y="41"/>
                </a:cxn>
                <a:cxn ang="0">
                  <a:pos x="72" y="29"/>
                </a:cxn>
                <a:cxn ang="0">
                  <a:pos x="87" y="9"/>
                </a:cxn>
                <a:cxn ang="0">
                  <a:pos x="72" y="0"/>
                </a:cxn>
                <a:cxn ang="0">
                  <a:pos x="57" y="40"/>
                </a:cxn>
                <a:cxn ang="0">
                  <a:pos x="4" y="51"/>
                </a:cxn>
                <a:cxn ang="0">
                  <a:pos x="21" y="60"/>
                </a:cxn>
                <a:cxn ang="0">
                  <a:pos x="11" y="82"/>
                </a:cxn>
                <a:cxn ang="0">
                  <a:pos x="44" y="88"/>
                </a:cxn>
                <a:cxn ang="0">
                  <a:pos x="14" y="118"/>
                </a:cxn>
                <a:cxn ang="0">
                  <a:pos x="50" y="111"/>
                </a:cxn>
                <a:cxn ang="0">
                  <a:pos x="0" y="132"/>
                </a:cxn>
              </a:cxnLst>
              <a:rect l="0" t="0" r="r" b="b"/>
              <a:pathLst>
                <a:path w="136" h="158">
                  <a:moveTo>
                    <a:pt x="0" y="132"/>
                  </a:moveTo>
                  <a:lnTo>
                    <a:pt x="18" y="146"/>
                  </a:lnTo>
                  <a:lnTo>
                    <a:pt x="4" y="158"/>
                  </a:lnTo>
                  <a:lnTo>
                    <a:pt x="127" y="133"/>
                  </a:lnTo>
                  <a:lnTo>
                    <a:pt x="136" y="51"/>
                  </a:lnTo>
                  <a:lnTo>
                    <a:pt x="120" y="32"/>
                  </a:lnTo>
                  <a:lnTo>
                    <a:pt x="84" y="41"/>
                  </a:lnTo>
                  <a:lnTo>
                    <a:pt x="72" y="29"/>
                  </a:lnTo>
                  <a:lnTo>
                    <a:pt x="87" y="9"/>
                  </a:lnTo>
                  <a:lnTo>
                    <a:pt x="72" y="0"/>
                  </a:lnTo>
                  <a:lnTo>
                    <a:pt x="57" y="40"/>
                  </a:lnTo>
                  <a:lnTo>
                    <a:pt x="4" y="51"/>
                  </a:lnTo>
                  <a:lnTo>
                    <a:pt x="21" y="60"/>
                  </a:lnTo>
                  <a:lnTo>
                    <a:pt x="11" y="82"/>
                  </a:lnTo>
                  <a:lnTo>
                    <a:pt x="44" y="88"/>
                  </a:lnTo>
                  <a:lnTo>
                    <a:pt x="14" y="118"/>
                  </a:lnTo>
                  <a:lnTo>
                    <a:pt x="50" y="111"/>
                  </a:lnTo>
                  <a:lnTo>
                    <a:pt x="0" y="132"/>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49" name="30527277.75359.253.54.8755">
              <a:extLst>
                <a:ext uri="{FF2B5EF4-FFF2-40B4-BE49-F238E27FC236}">
                  <a16:creationId xmlns:a16="http://schemas.microsoft.com/office/drawing/2014/main" id="{25268780-AC29-46B6-A317-9792F5EA33AB}"/>
                </a:ext>
              </a:extLst>
            </p:cNvPr>
            <p:cNvSpPr>
              <a:spLocks noChangeAspect="1"/>
            </p:cNvSpPr>
            <p:nvPr/>
          </p:nvSpPr>
          <p:spPr bwMode="gray">
            <a:xfrm>
              <a:off x="5433949" y="2798707"/>
              <a:ext cx="76082" cy="55506"/>
            </a:xfrm>
            <a:custGeom>
              <a:avLst/>
              <a:gdLst/>
              <a:ahLst/>
              <a:cxnLst>
                <a:cxn ang="0">
                  <a:pos x="0" y="40"/>
                </a:cxn>
                <a:cxn ang="0">
                  <a:pos x="12" y="52"/>
                </a:cxn>
                <a:cxn ang="0">
                  <a:pos x="48" y="43"/>
                </a:cxn>
                <a:cxn ang="0">
                  <a:pos x="64" y="62"/>
                </a:cxn>
                <a:cxn ang="0">
                  <a:pos x="85" y="40"/>
                </a:cxn>
                <a:cxn ang="0">
                  <a:pos x="66" y="9"/>
                </a:cxn>
                <a:cxn ang="0">
                  <a:pos x="24" y="0"/>
                </a:cxn>
                <a:cxn ang="0">
                  <a:pos x="15" y="20"/>
                </a:cxn>
                <a:cxn ang="0">
                  <a:pos x="0" y="40"/>
                </a:cxn>
              </a:cxnLst>
              <a:rect l="0" t="0" r="r" b="b"/>
              <a:pathLst>
                <a:path w="85" h="62">
                  <a:moveTo>
                    <a:pt x="0" y="40"/>
                  </a:moveTo>
                  <a:lnTo>
                    <a:pt x="12" y="52"/>
                  </a:lnTo>
                  <a:lnTo>
                    <a:pt x="48" y="43"/>
                  </a:lnTo>
                  <a:lnTo>
                    <a:pt x="64" y="62"/>
                  </a:lnTo>
                  <a:lnTo>
                    <a:pt x="85" y="40"/>
                  </a:lnTo>
                  <a:lnTo>
                    <a:pt x="66" y="9"/>
                  </a:lnTo>
                  <a:lnTo>
                    <a:pt x="24" y="0"/>
                  </a:lnTo>
                  <a:lnTo>
                    <a:pt x="15" y="20"/>
                  </a:lnTo>
                  <a:lnTo>
                    <a:pt x="0" y="4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50" name="30528270361.3751.51.255">
              <a:extLst>
                <a:ext uri="{FF2B5EF4-FFF2-40B4-BE49-F238E27FC236}">
                  <a16:creationId xmlns:a16="http://schemas.microsoft.com/office/drawing/2014/main" id="{13D94B64-F513-493C-B723-8652E2BCDA44}"/>
                </a:ext>
              </a:extLst>
            </p:cNvPr>
            <p:cNvSpPr>
              <a:spLocks noChangeAspect="1"/>
            </p:cNvSpPr>
            <p:nvPr/>
          </p:nvSpPr>
          <p:spPr bwMode="gray">
            <a:xfrm>
              <a:off x="5466282" y="2672556"/>
              <a:ext cx="20922" cy="23547"/>
            </a:xfrm>
            <a:custGeom>
              <a:avLst/>
              <a:gdLst/>
              <a:ahLst/>
              <a:cxnLst>
                <a:cxn ang="0">
                  <a:pos x="0" y="27"/>
                </a:cxn>
                <a:cxn ang="0">
                  <a:pos x="0" y="5"/>
                </a:cxn>
                <a:cxn ang="0">
                  <a:pos x="22" y="0"/>
                </a:cxn>
                <a:cxn ang="0">
                  <a:pos x="0" y="27"/>
                </a:cxn>
              </a:cxnLst>
              <a:rect l="0" t="0" r="r" b="b"/>
              <a:pathLst>
                <a:path w="22" h="27">
                  <a:moveTo>
                    <a:pt x="0" y="27"/>
                  </a:moveTo>
                  <a:lnTo>
                    <a:pt x="0" y="5"/>
                  </a:lnTo>
                  <a:lnTo>
                    <a:pt x="22" y="0"/>
                  </a:lnTo>
                  <a:lnTo>
                    <a:pt x="0" y="27"/>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51" name="30529271.536211.1255">
              <a:extLst>
                <a:ext uri="{FF2B5EF4-FFF2-40B4-BE49-F238E27FC236}">
                  <a16:creationId xmlns:a16="http://schemas.microsoft.com/office/drawing/2014/main" id="{59591326-D450-4F0F-8B8E-DF8B1DBF8816}"/>
                </a:ext>
              </a:extLst>
            </p:cNvPr>
            <p:cNvSpPr>
              <a:spLocks noChangeAspect="1"/>
            </p:cNvSpPr>
            <p:nvPr/>
          </p:nvSpPr>
          <p:spPr bwMode="gray">
            <a:xfrm>
              <a:off x="5475793" y="2696107"/>
              <a:ext cx="19021" cy="15137"/>
            </a:xfrm>
            <a:custGeom>
              <a:avLst/>
              <a:gdLst/>
              <a:ahLst/>
              <a:cxnLst>
                <a:cxn ang="0">
                  <a:pos x="0" y="14"/>
                </a:cxn>
                <a:cxn ang="0">
                  <a:pos x="11" y="0"/>
                </a:cxn>
                <a:cxn ang="0">
                  <a:pos x="21" y="18"/>
                </a:cxn>
                <a:cxn ang="0">
                  <a:pos x="0" y="14"/>
                </a:cxn>
              </a:cxnLst>
              <a:rect l="0" t="0" r="r" b="b"/>
              <a:pathLst>
                <a:path w="21" h="18">
                  <a:moveTo>
                    <a:pt x="0" y="14"/>
                  </a:moveTo>
                  <a:lnTo>
                    <a:pt x="11" y="0"/>
                  </a:lnTo>
                  <a:lnTo>
                    <a:pt x="21" y="18"/>
                  </a:lnTo>
                  <a:lnTo>
                    <a:pt x="0" y="1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52" name="30530269.125363.12522.2514.55">
              <a:extLst>
                <a:ext uri="{FF2B5EF4-FFF2-40B4-BE49-F238E27FC236}">
                  <a16:creationId xmlns:a16="http://schemas.microsoft.com/office/drawing/2014/main" id="{2B1894BE-0BE6-4227-8BC3-0D466EB86A4A}"/>
                </a:ext>
              </a:extLst>
            </p:cNvPr>
            <p:cNvSpPr>
              <a:spLocks noChangeAspect="1"/>
            </p:cNvSpPr>
            <p:nvPr/>
          </p:nvSpPr>
          <p:spPr bwMode="gray">
            <a:xfrm>
              <a:off x="5494810" y="2659103"/>
              <a:ext cx="233947" cy="358265"/>
            </a:xfrm>
            <a:custGeom>
              <a:avLst/>
              <a:gdLst/>
              <a:ahLst/>
              <a:cxnLst>
                <a:cxn ang="0">
                  <a:pos x="0" y="92"/>
                </a:cxn>
                <a:cxn ang="0">
                  <a:pos x="10" y="39"/>
                </a:cxn>
                <a:cxn ang="0">
                  <a:pos x="38" y="0"/>
                </a:cxn>
                <a:cxn ang="0">
                  <a:pos x="98" y="0"/>
                </a:cxn>
                <a:cxn ang="0">
                  <a:pos x="63" y="47"/>
                </a:cxn>
                <a:cxn ang="0">
                  <a:pos x="142" y="57"/>
                </a:cxn>
                <a:cxn ang="0">
                  <a:pos x="92" y="121"/>
                </a:cxn>
                <a:cxn ang="0">
                  <a:pos x="151" y="143"/>
                </a:cxn>
                <a:cxn ang="0">
                  <a:pos x="207" y="224"/>
                </a:cxn>
                <a:cxn ang="0">
                  <a:pos x="191" y="230"/>
                </a:cxn>
                <a:cxn ang="0">
                  <a:pos x="216" y="249"/>
                </a:cxn>
                <a:cxn ang="0">
                  <a:pos x="202" y="270"/>
                </a:cxn>
                <a:cxn ang="0">
                  <a:pos x="258" y="274"/>
                </a:cxn>
                <a:cxn ang="0">
                  <a:pos x="224" y="328"/>
                </a:cxn>
                <a:cxn ang="0">
                  <a:pos x="247" y="343"/>
                </a:cxn>
                <a:cxn ang="0">
                  <a:pos x="15" y="394"/>
                </a:cxn>
                <a:cxn ang="0">
                  <a:pos x="118" y="321"/>
                </a:cxn>
                <a:cxn ang="0">
                  <a:pos x="88" y="332"/>
                </a:cxn>
                <a:cxn ang="0">
                  <a:pos x="29" y="310"/>
                </a:cxn>
                <a:cxn ang="0">
                  <a:pos x="73" y="282"/>
                </a:cxn>
                <a:cxn ang="0">
                  <a:pos x="45" y="270"/>
                </a:cxn>
                <a:cxn ang="0">
                  <a:pos x="104" y="241"/>
                </a:cxn>
                <a:cxn ang="0">
                  <a:pos x="111" y="205"/>
                </a:cxn>
                <a:cxn ang="0">
                  <a:pos x="81" y="194"/>
                </a:cxn>
                <a:cxn ang="0">
                  <a:pos x="98" y="173"/>
                </a:cxn>
                <a:cxn ang="0">
                  <a:pos x="37" y="183"/>
                </a:cxn>
                <a:cxn ang="0">
                  <a:pos x="38" y="127"/>
                </a:cxn>
                <a:cxn ang="0">
                  <a:pos x="10" y="153"/>
                </a:cxn>
                <a:cxn ang="0">
                  <a:pos x="26" y="95"/>
                </a:cxn>
                <a:cxn ang="0">
                  <a:pos x="0" y="92"/>
                </a:cxn>
              </a:cxnLst>
              <a:rect l="0" t="0" r="r" b="b"/>
              <a:pathLst>
                <a:path w="258" h="394">
                  <a:moveTo>
                    <a:pt x="0" y="92"/>
                  </a:moveTo>
                  <a:lnTo>
                    <a:pt x="10" y="39"/>
                  </a:lnTo>
                  <a:lnTo>
                    <a:pt x="38" y="0"/>
                  </a:lnTo>
                  <a:lnTo>
                    <a:pt x="98" y="0"/>
                  </a:lnTo>
                  <a:lnTo>
                    <a:pt x="63" y="47"/>
                  </a:lnTo>
                  <a:lnTo>
                    <a:pt x="142" y="57"/>
                  </a:lnTo>
                  <a:lnTo>
                    <a:pt x="92" y="121"/>
                  </a:lnTo>
                  <a:lnTo>
                    <a:pt x="151" y="143"/>
                  </a:lnTo>
                  <a:lnTo>
                    <a:pt x="207" y="224"/>
                  </a:lnTo>
                  <a:lnTo>
                    <a:pt x="191" y="230"/>
                  </a:lnTo>
                  <a:lnTo>
                    <a:pt x="216" y="249"/>
                  </a:lnTo>
                  <a:lnTo>
                    <a:pt x="202" y="270"/>
                  </a:lnTo>
                  <a:lnTo>
                    <a:pt x="258" y="274"/>
                  </a:lnTo>
                  <a:lnTo>
                    <a:pt x="224" y="328"/>
                  </a:lnTo>
                  <a:lnTo>
                    <a:pt x="247" y="343"/>
                  </a:lnTo>
                  <a:lnTo>
                    <a:pt x="15" y="394"/>
                  </a:lnTo>
                  <a:lnTo>
                    <a:pt x="118" y="321"/>
                  </a:lnTo>
                  <a:lnTo>
                    <a:pt x="88" y="332"/>
                  </a:lnTo>
                  <a:lnTo>
                    <a:pt x="29" y="310"/>
                  </a:lnTo>
                  <a:lnTo>
                    <a:pt x="73" y="282"/>
                  </a:lnTo>
                  <a:lnTo>
                    <a:pt x="45" y="270"/>
                  </a:lnTo>
                  <a:lnTo>
                    <a:pt x="104" y="241"/>
                  </a:lnTo>
                  <a:lnTo>
                    <a:pt x="111" y="205"/>
                  </a:lnTo>
                  <a:lnTo>
                    <a:pt x="81" y="194"/>
                  </a:lnTo>
                  <a:lnTo>
                    <a:pt x="98" y="173"/>
                  </a:lnTo>
                  <a:lnTo>
                    <a:pt x="37" y="183"/>
                  </a:lnTo>
                  <a:lnTo>
                    <a:pt x="38" y="127"/>
                  </a:lnTo>
                  <a:lnTo>
                    <a:pt x="10" y="153"/>
                  </a:lnTo>
                  <a:lnTo>
                    <a:pt x="26" y="95"/>
                  </a:lnTo>
                  <a:lnTo>
                    <a:pt x="0" y="92"/>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53" name="30541254.75728.51.755.755">
              <a:extLst>
                <a:ext uri="{FF2B5EF4-FFF2-40B4-BE49-F238E27FC236}">
                  <a16:creationId xmlns:a16="http://schemas.microsoft.com/office/drawing/2014/main" id="{8F1E40C2-BE6A-48C7-8073-54E22EE81118}"/>
                </a:ext>
              </a:extLst>
            </p:cNvPr>
            <p:cNvSpPr>
              <a:spLocks noChangeAspect="1"/>
            </p:cNvSpPr>
            <p:nvPr/>
          </p:nvSpPr>
          <p:spPr bwMode="gray">
            <a:xfrm>
              <a:off x="11352990" y="2423621"/>
              <a:ext cx="91298" cy="30277"/>
            </a:xfrm>
            <a:custGeom>
              <a:avLst/>
              <a:gdLst/>
              <a:ahLst/>
              <a:cxnLst>
                <a:cxn ang="0">
                  <a:pos x="0" y="10"/>
                </a:cxn>
                <a:cxn ang="0">
                  <a:pos x="61" y="0"/>
                </a:cxn>
                <a:cxn ang="0">
                  <a:pos x="101" y="15"/>
                </a:cxn>
                <a:cxn ang="0">
                  <a:pos x="81" y="32"/>
                </a:cxn>
                <a:cxn ang="0">
                  <a:pos x="0" y="10"/>
                </a:cxn>
              </a:cxnLst>
              <a:rect l="0" t="0" r="r" b="b"/>
              <a:pathLst>
                <a:path w="101" h="32">
                  <a:moveTo>
                    <a:pt x="0" y="10"/>
                  </a:moveTo>
                  <a:lnTo>
                    <a:pt x="61" y="0"/>
                  </a:lnTo>
                  <a:lnTo>
                    <a:pt x="101" y="15"/>
                  </a:lnTo>
                  <a:lnTo>
                    <a:pt x="81" y="32"/>
                  </a:lnTo>
                  <a:lnTo>
                    <a:pt x="0" y="1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54" name="30558282.5513.2572.375115.1255">
              <a:extLst>
                <a:ext uri="{FF2B5EF4-FFF2-40B4-BE49-F238E27FC236}">
                  <a16:creationId xmlns:a16="http://schemas.microsoft.com/office/drawing/2014/main" id="{7A46A530-1B91-4F81-8C5B-A02CA3EC6875}"/>
                </a:ext>
              </a:extLst>
            </p:cNvPr>
            <p:cNvSpPr>
              <a:spLocks noChangeAspect="1"/>
            </p:cNvSpPr>
            <p:nvPr/>
          </p:nvSpPr>
          <p:spPr bwMode="gray">
            <a:xfrm>
              <a:off x="7902751" y="2876079"/>
              <a:ext cx="1844948" cy="1170665"/>
            </a:xfrm>
            <a:custGeom>
              <a:avLst/>
              <a:gdLst/>
              <a:ahLst/>
              <a:cxnLst>
                <a:cxn ang="0">
                  <a:pos x="13" y="562"/>
                </a:cxn>
                <a:cxn ang="0">
                  <a:pos x="216" y="484"/>
                </a:cxn>
                <a:cxn ang="0">
                  <a:pos x="209" y="371"/>
                </a:cxn>
                <a:cxn ang="0">
                  <a:pos x="312" y="273"/>
                </a:cxn>
                <a:cxn ang="0">
                  <a:pos x="407" y="225"/>
                </a:cxn>
                <a:cxn ang="0">
                  <a:pos x="506" y="243"/>
                </a:cxn>
                <a:cxn ang="0">
                  <a:pos x="572" y="355"/>
                </a:cxn>
                <a:cxn ang="0">
                  <a:pos x="781" y="456"/>
                </a:cxn>
                <a:cxn ang="0">
                  <a:pos x="1039" y="503"/>
                </a:cxn>
                <a:cxn ang="0">
                  <a:pos x="1278" y="419"/>
                </a:cxn>
                <a:cxn ang="0">
                  <a:pos x="1329" y="374"/>
                </a:cxn>
                <a:cxn ang="0">
                  <a:pos x="1530" y="295"/>
                </a:cxn>
                <a:cxn ang="0">
                  <a:pos x="1402" y="254"/>
                </a:cxn>
                <a:cxn ang="0">
                  <a:pos x="1423" y="157"/>
                </a:cxn>
                <a:cxn ang="0">
                  <a:pos x="1522" y="154"/>
                </a:cxn>
                <a:cxn ang="0">
                  <a:pos x="1548" y="38"/>
                </a:cxn>
                <a:cxn ang="0">
                  <a:pos x="1736" y="26"/>
                </a:cxn>
                <a:cxn ang="0">
                  <a:pos x="1899" y="201"/>
                </a:cxn>
                <a:cxn ang="0">
                  <a:pos x="2044" y="220"/>
                </a:cxn>
                <a:cxn ang="0">
                  <a:pos x="1913" y="379"/>
                </a:cxn>
                <a:cxn ang="0">
                  <a:pos x="1899" y="463"/>
                </a:cxn>
                <a:cxn ang="0">
                  <a:pos x="1823" y="491"/>
                </a:cxn>
                <a:cxn ang="0">
                  <a:pos x="1777" y="506"/>
                </a:cxn>
                <a:cxn ang="0">
                  <a:pos x="1593" y="617"/>
                </a:cxn>
                <a:cxn ang="0">
                  <a:pos x="1608" y="528"/>
                </a:cxn>
                <a:cxn ang="0">
                  <a:pos x="1469" y="624"/>
                </a:cxn>
                <a:cxn ang="0">
                  <a:pos x="1574" y="653"/>
                </a:cxn>
                <a:cxn ang="0">
                  <a:pos x="1553" y="710"/>
                </a:cxn>
                <a:cxn ang="0">
                  <a:pos x="1611" y="880"/>
                </a:cxn>
                <a:cxn ang="0">
                  <a:pos x="1611" y="909"/>
                </a:cxn>
                <a:cxn ang="0">
                  <a:pos x="1614" y="946"/>
                </a:cxn>
                <a:cxn ang="0">
                  <a:pos x="1425" y="1188"/>
                </a:cxn>
                <a:cxn ang="0">
                  <a:pos x="1347" y="1207"/>
                </a:cxn>
                <a:cxn ang="0">
                  <a:pos x="1310" y="1228"/>
                </a:cxn>
                <a:cxn ang="0">
                  <a:pos x="1216" y="1286"/>
                </a:cxn>
                <a:cxn ang="0">
                  <a:pos x="1142" y="1242"/>
                </a:cxn>
                <a:cxn ang="0">
                  <a:pos x="953" y="1209"/>
                </a:cxn>
                <a:cxn ang="0">
                  <a:pos x="935" y="1247"/>
                </a:cxn>
                <a:cxn ang="0">
                  <a:pos x="856" y="1220"/>
                </a:cxn>
                <a:cxn ang="0">
                  <a:pos x="799" y="1161"/>
                </a:cxn>
                <a:cxn ang="0">
                  <a:pos x="833" y="1030"/>
                </a:cxn>
                <a:cxn ang="0">
                  <a:pos x="757" y="996"/>
                </a:cxn>
                <a:cxn ang="0">
                  <a:pos x="604" y="1020"/>
                </a:cxn>
                <a:cxn ang="0">
                  <a:pos x="507" y="1038"/>
                </a:cxn>
                <a:cxn ang="0">
                  <a:pos x="481" y="1019"/>
                </a:cxn>
                <a:cxn ang="0">
                  <a:pos x="352" y="967"/>
                </a:cxn>
                <a:cxn ang="0">
                  <a:pos x="178" y="908"/>
                </a:cxn>
                <a:cxn ang="0">
                  <a:pos x="197" y="843"/>
                </a:cxn>
                <a:cxn ang="0">
                  <a:pos x="221" y="740"/>
                </a:cxn>
                <a:cxn ang="0">
                  <a:pos x="134" y="741"/>
                </a:cxn>
                <a:cxn ang="0">
                  <a:pos x="35" y="671"/>
                </a:cxn>
                <a:cxn ang="0">
                  <a:pos x="0" y="612"/>
                </a:cxn>
              </a:cxnLst>
              <a:rect l="0" t="0" r="r" b="b"/>
              <a:pathLst>
                <a:path w="2044" h="1286">
                  <a:moveTo>
                    <a:pt x="0" y="612"/>
                  </a:moveTo>
                  <a:lnTo>
                    <a:pt x="13" y="562"/>
                  </a:lnTo>
                  <a:lnTo>
                    <a:pt x="87" y="551"/>
                  </a:lnTo>
                  <a:lnTo>
                    <a:pt x="216" y="484"/>
                  </a:lnTo>
                  <a:lnTo>
                    <a:pt x="235" y="432"/>
                  </a:lnTo>
                  <a:lnTo>
                    <a:pt x="209" y="371"/>
                  </a:lnTo>
                  <a:lnTo>
                    <a:pt x="290" y="355"/>
                  </a:lnTo>
                  <a:lnTo>
                    <a:pt x="312" y="273"/>
                  </a:lnTo>
                  <a:lnTo>
                    <a:pt x="397" y="278"/>
                  </a:lnTo>
                  <a:lnTo>
                    <a:pt x="407" y="225"/>
                  </a:lnTo>
                  <a:lnTo>
                    <a:pt x="472" y="198"/>
                  </a:lnTo>
                  <a:lnTo>
                    <a:pt x="506" y="243"/>
                  </a:lnTo>
                  <a:lnTo>
                    <a:pt x="553" y="260"/>
                  </a:lnTo>
                  <a:lnTo>
                    <a:pt x="572" y="355"/>
                  </a:lnTo>
                  <a:lnTo>
                    <a:pt x="719" y="392"/>
                  </a:lnTo>
                  <a:lnTo>
                    <a:pt x="781" y="456"/>
                  </a:lnTo>
                  <a:lnTo>
                    <a:pt x="902" y="452"/>
                  </a:lnTo>
                  <a:lnTo>
                    <a:pt x="1039" y="503"/>
                  </a:lnTo>
                  <a:lnTo>
                    <a:pt x="1222" y="456"/>
                  </a:lnTo>
                  <a:lnTo>
                    <a:pt x="1278" y="419"/>
                  </a:lnTo>
                  <a:lnTo>
                    <a:pt x="1278" y="368"/>
                  </a:lnTo>
                  <a:lnTo>
                    <a:pt x="1329" y="374"/>
                  </a:lnTo>
                  <a:lnTo>
                    <a:pt x="1440" y="300"/>
                  </a:lnTo>
                  <a:lnTo>
                    <a:pt x="1530" y="295"/>
                  </a:lnTo>
                  <a:lnTo>
                    <a:pt x="1487" y="239"/>
                  </a:lnTo>
                  <a:lnTo>
                    <a:pt x="1402" y="254"/>
                  </a:lnTo>
                  <a:lnTo>
                    <a:pt x="1401" y="191"/>
                  </a:lnTo>
                  <a:lnTo>
                    <a:pt x="1423" y="157"/>
                  </a:lnTo>
                  <a:lnTo>
                    <a:pt x="1473" y="176"/>
                  </a:lnTo>
                  <a:lnTo>
                    <a:pt x="1522" y="154"/>
                  </a:lnTo>
                  <a:lnTo>
                    <a:pt x="1571" y="69"/>
                  </a:lnTo>
                  <a:lnTo>
                    <a:pt x="1548" y="38"/>
                  </a:lnTo>
                  <a:lnTo>
                    <a:pt x="1669" y="0"/>
                  </a:lnTo>
                  <a:lnTo>
                    <a:pt x="1736" y="26"/>
                  </a:lnTo>
                  <a:lnTo>
                    <a:pt x="1798" y="169"/>
                  </a:lnTo>
                  <a:lnTo>
                    <a:pt x="1899" y="201"/>
                  </a:lnTo>
                  <a:lnTo>
                    <a:pt x="1919" y="253"/>
                  </a:lnTo>
                  <a:lnTo>
                    <a:pt x="2044" y="220"/>
                  </a:lnTo>
                  <a:lnTo>
                    <a:pt x="1986" y="359"/>
                  </a:lnTo>
                  <a:lnTo>
                    <a:pt x="1913" y="379"/>
                  </a:lnTo>
                  <a:lnTo>
                    <a:pt x="1923" y="432"/>
                  </a:lnTo>
                  <a:lnTo>
                    <a:pt x="1899" y="463"/>
                  </a:lnTo>
                  <a:lnTo>
                    <a:pt x="1886" y="452"/>
                  </a:lnTo>
                  <a:lnTo>
                    <a:pt x="1823" y="491"/>
                  </a:lnTo>
                  <a:lnTo>
                    <a:pt x="1823" y="513"/>
                  </a:lnTo>
                  <a:lnTo>
                    <a:pt x="1777" y="506"/>
                  </a:lnTo>
                  <a:lnTo>
                    <a:pt x="1692" y="568"/>
                  </a:lnTo>
                  <a:lnTo>
                    <a:pt x="1593" y="617"/>
                  </a:lnTo>
                  <a:lnTo>
                    <a:pt x="1623" y="551"/>
                  </a:lnTo>
                  <a:lnTo>
                    <a:pt x="1608" y="528"/>
                  </a:lnTo>
                  <a:lnTo>
                    <a:pt x="1473" y="604"/>
                  </a:lnTo>
                  <a:lnTo>
                    <a:pt x="1469" y="624"/>
                  </a:lnTo>
                  <a:lnTo>
                    <a:pt x="1515" y="674"/>
                  </a:lnTo>
                  <a:lnTo>
                    <a:pt x="1574" y="653"/>
                  </a:lnTo>
                  <a:lnTo>
                    <a:pt x="1636" y="671"/>
                  </a:lnTo>
                  <a:lnTo>
                    <a:pt x="1553" y="710"/>
                  </a:lnTo>
                  <a:lnTo>
                    <a:pt x="1523" y="763"/>
                  </a:lnTo>
                  <a:lnTo>
                    <a:pt x="1611" y="880"/>
                  </a:lnTo>
                  <a:lnTo>
                    <a:pt x="1550" y="869"/>
                  </a:lnTo>
                  <a:lnTo>
                    <a:pt x="1611" y="909"/>
                  </a:lnTo>
                  <a:lnTo>
                    <a:pt x="1552" y="935"/>
                  </a:lnTo>
                  <a:lnTo>
                    <a:pt x="1614" y="946"/>
                  </a:lnTo>
                  <a:lnTo>
                    <a:pt x="1501" y="1133"/>
                  </a:lnTo>
                  <a:lnTo>
                    <a:pt x="1425" y="1188"/>
                  </a:lnTo>
                  <a:lnTo>
                    <a:pt x="1353" y="1206"/>
                  </a:lnTo>
                  <a:lnTo>
                    <a:pt x="1347" y="1207"/>
                  </a:lnTo>
                  <a:lnTo>
                    <a:pt x="1329" y="1196"/>
                  </a:lnTo>
                  <a:lnTo>
                    <a:pt x="1310" y="1228"/>
                  </a:lnTo>
                  <a:lnTo>
                    <a:pt x="1223" y="1247"/>
                  </a:lnTo>
                  <a:lnTo>
                    <a:pt x="1216" y="1286"/>
                  </a:lnTo>
                  <a:lnTo>
                    <a:pt x="1201" y="1239"/>
                  </a:lnTo>
                  <a:lnTo>
                    <a:pt x="1142" y="1242"/>
                  </a:lnTo>
                  <a:lnTo>
                    <a:pt x="1052" y="1184"/>
                  </a:lnTo>
                  <a:lnTo>
                    <a:pt x="953" y="1209"/>
                  </a:lnTo>
                  <a:lnTo>
                    <a:pt x="932" y="1210"/>
                  </a:lnTo>
                  <a:lnTo>
                    <a:pt x="935" y="1247"/>
                  </a:lnTo>
                  <a:lnTo>
                    <a:pt x="920" y="1238"/>
                  </a:lnTo>
                  <a:lnTo>
                    <a:pt x="856" y="1220"/>
                  </a:lnTo>
                  <a:lnTo>
                    <a:pt x="837" y="1152"/>
                  </a:lnTo>
                  <a:lnTo>
                    <a:pt x="799" y="1161"/>
                  </a:lnTo>
                  <a:lnTo>
                    <a:pt x="834" y="1062"/>
                  </a:lnTo>
                  <a:lnTo>
                    <a:pt x="833" y="1030"/>
                  </a:lnTo>
                  <a:lnTo>
                    <a:pt x="792" y="1009"/>
                  </a:lnTo>
                  <a:lnTo>
                    <a:pt x="757" y="996"/>
                  </a:lnTo>
                  <a:lnTo>
                    <a:pt x="746" y="960"/>
                  </a:lnTo>
                  <a:lnTo>
                    <a:pt x="604" y="1020"/>
                  </a:lnTo>
                  <a:lnTo>
                    <a:pt x="540" y="1004"/>
                  </a:lnTo>
                  <a:lnTo>
                    <a:pt x="507" y="1038"/>
                  </a:lnTo>
                  <a:lnTo>
                    <a:pt x="503" y="1014"/>
                  </a:lnTo>
                  <a:lnTo>
                    <a:pt x="481" y="1019"/>
                  </a:lnTo>
                  <a:lnTo>
                    <a:pt x="408" y="1019"/>
                  </a:lnTo>
                  <a:lnTo>
                    <a:pt x="352" y="967"/>
                  </a:lnTo>
                  <a:lnTo>
                    <a:pt x="246" y="932"/>
                  </a:lnTo>
                  <a:lnTo>
                    <a:pt x="178" y="908"/>
                  </a:lnTo>
                  <a:lnTo>
                    <a:pt x="161" y="850"/>
                  </a:lnTo>
                  <a:lnTo>
                    <a:pt x="197" y="843"/>
                  </a:lnTo>
                  <a:lnTo>
                    <a:pt x="175" y="796"/>
                  </a:lnTo>
                  <a:lnTo>
                    <a:pt x="221" y="740"/>
                  </a:lnTo>
                  <a:lnTo>
                    <a:pt x="186" y="721"/>
                  </a:lnTo>
                  <a:lnTo>
                    <a:pt x="134" y="741"/>
                  </a:lnTo>
                  <a:lnTo>
                    <a:pt x="32" y="679"/>
                  </a:lnTo>
                  <a:lnTo>
                    <a:pt x="35" y="671"/>
                  </a:lnTo>
                  <a:lnTo>
                    <a:pt x="36" y="626"/>
                  </a:lnTo>
                  <a:lnTo>
                    <a:pt x="0" y="612"/>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55" name="30559355.5579.253.545">
              <a:extLst>
                <a:ext uri="{FF2B5EF4-FFF2-40B4-BE49-F238E27FC236}">
                  <a16:creationId xmlns:a16="http://schemas.microsoft.com/office/drawing/2014/main" id="{BA7B24F4-8A0B-4A9C-9ABF-FB1F4CAF87C3}"/>
                </a:ext>
              </a:extLst>
            </p:cNvPr>
            <p:cNvSpPr>
              <a:spLocks noChangeAspect="1"/>
            </p:cNvSpPr>
            <p:nvPr/>
          </p:nvSpPr>
          <p:spPr bwMode="gray">
            <a:xfrm>
              <a:off x="8960269" y="4055155"/>
              <a:ext cx="62766" cy="57186"/>
            </a:xfrm>
            <a:custGeom>
              <a:avLst/>
              <a:gdLst/>
              <a:ahLst/>
              <a:cxnLst>
                <a:cxn ang="0">
                  <a:pos x="0" y="48"/>
                </a:cxn>
                <a:cxn ang="0">
                  <a:pos x="23" y="0"/>
                </a:cxn>
                <a:cxn ang="0">
                  <a:pos x="73" y="11"/>
                </a:cxn>
                <a:cxn ang="0">
                  <a:pos x="33" y="62"/>
                </a:cxn>
                <a:cxn ang="0">
                  <a:pos x="0" y="48"/>
                </a:cxn>
              </a:cxnLst>
              <a:rect l="0" t="0" r="r" b="b"/>
              <a:pathLst>
                <a:path w="73" h="62">
                  <a:moveTo>
                    <a:pt x="0" y="48"/>
                  </a:moveTo>
                  <a:lnTo>
                    <a:pt x="23" y="0"/>
                  </a:lnTo>
                  <a:lnTo>
                    <a:pt x="73" y="11"/>
                  </a:lnTo>
                  <a:lnTo>
                    <a:pt x="33" y="62"/>
                  </a:lnTo>
                  <a:lnTo>
                    <a:pt x="0" y="48"/>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56" name="30560323.25502.554.87555.255">
              <a:extLst>
                <a:ext uri="{FF2B5EF4-FFF2-40B4-BE49-F238E27FC236}">
                  <a16:creationId xmlns:a16="http://schemas.microsoft.com/office/drawing/2014/main" id="{179902F9-1688-4AD6-82BE-209944CB7E51}"/>
                </a:ext>
              </a:extLst>
            </p:cNvPr>
            <p:cNvSpPr>
              <a:spLocks noChangeAspect="1"/>
            </p:cNvSpPr>
            <p:nvPr/>
          </p:nvSpPr>
          <p:spPr bwMode="gray">
            <a:xfrm>
              <a:off x="7727769" y="3535420"/>
              <a:ext cx="886334" cy="888092"/>
            </a:xfrm>
            <a:custGeom>
              <a:avLst/>
              <a:gdLst/>
              <a:ahLst/>
              <a:cxnLst>
                <a:cxn ang="0">
                  <a:pos x="0" y="444"/>
                </a:cxn>
                <a:cxn ang="0">
                  <a:pos x="27" y="422"/>
                </a:cxn>
                <a:cxn ang="0">
                  <a:pos x="103" y="422"/>
                </a:cxn>
                <a:cxn ang="0">
                  <a:pos x="51" y="320"/>
                </a:cxn>
                <a:cxn ang="0">
                  <a:pos x="81" y="293"/>
                </a:cxn>
                <a:cxn ang="0">
                  <a:pos x="125" y="295"/>
                </a:cxn>
                <a:cxn ang="0">
                  <a:pos x="224" y="184"/>
                </a:cxn>
                <a:cxn ang="0">
                  <a:pos x="217" y="154"/>
                </a:cxn>
                <a:cxn ang="0">
                  <a:pos x="243" y="136"/>
                </a:cxn>
                <a:cxn ang="0">
                  <a:pos x="199" y="101"/>
                </a:cxn>
                <a:cxn ang="0">
                  <a:pos x="198" y="46"/>
                </a:cxn>
                <a:cxn ang="0">
                  <a:pos x="294" y="46"/>
                </a:cxn>
                <a:cxn ang="0">
                  <a:pos x="322" y="20"/>
                </a:cxn>
                <a:cxn ang="0">
                  <a:pos x="374" y="0"/>
                </a:cxn>
                <a:cxn ang="0">
                  <a:pos x="409" y="19"/>
                </a:cxn>
                <a:cxn ang="0">
                  <a:pos x="363" y="75"/>
                </a:cxn>
                <a:cxn ang="0">
                  <a:pos x="385" y="122"/>
                </a:cxn>
                <a:cxn ang="0">
                  <a:pos x="349" y="129"/>
                </a:cxn>
                <a:cxn ang="0">
                  <a:pos x="366" y="187"/>
                </a:cxn>
                <a:cxn ang="0">
                  <a:pos x="434" y="211"/>
                </a:cxn>
                <a:cxn ang="0">
                  <a:pos x="401" y="265"/>
                </a:cxn>
                <a:cxn ang="0">
                  <a:pos x="491" y="316"/>
                </a:cxn>
                <a:cxn ang="0">
                  <a:pos x="665" y="349"/>
                </a:cxn>
                <a:cxn ang="0">
                  <a:pos x="669" y="298"/>
                </a:cxn>
                <a:cxn ang="0">
                  <a:pos x="691" y="293"/>
                </a:cxn>
                <a:cxn ang="0">
                  <a:pos x="695" y="317"/>
                </a:cxn>
                <a:cxn ang="0">
                  <a:pos x="709" y="339"/>
                </a:cxn>
                <a:cxn ang="0">
                  <a:pos x="797" y="330"/>
                </a:cxn>
                <a:cxn ang="0">
                  <a:pos x="792" y="299"/>
                </a:cxn>
                <a:cxn ang="0">
                  <a:pos x="934" y="239"/>
                </a:cxn>
                <a:cxn ang="0">
                  <a:pos x="945" y="275"/>
                </a:cxn>
                <a:cxn ang="0">
                  <a:pos x="980" y="288"/>
                </a:cxn>
                <a:cxn ang="0">
                  <a:pos x="966" y="324"/>
                </a:cxn>
                <a:cxn ang="0">
                  <a:pos x="907" y="346"/>
                </a:cxn>
                <a:cxn ang="0">
                  <a:pos x="820" y="507"/>
                </a:cxn>
                <a:cxn ang="0">
                  <a:pos x="803" y="442"/>
                </a:cxn>
                <a:cxn ang="0">
                  <a:pos x="787" y="467"/>
                </a:cxn>
                <a:cxn ang="0">
                  <a:pos x="767" y="436"/>
                </a:cxn>
                <a:cxn ang="0">
                  <a:pos x="805" y="396"/>
                </a:cxn>
                <a:cxn ang="0">
                  <a:pos x="730" y="390"/>
                </a:cxn>
                <a:cxn ang="0">
                  <a:pos x="682" y="345"/>
                </a:cxn>
                <a:cxn ang="0">
                  <a:pos x="666" y="370"/>
                </a:cxn>
                <a:cxn ang="0">
                  <a:pos x="684" y="390"/>
                </a:cxn>
                <a:cxn ang="0">
                  <a:pos x="661" y="404"/>
                </a:cxn>
                <a:cxn ang="0">
                  <a:pos x="683" y="425"/>
                </a:cxn>
                <a:cxn ang="0">
                  <a:pos x="695" y="517"/>
                </a:cxn>
                <a:cxn ang="0">
                  <a:pos x="666" y="502"/>
                </a:cxn>
                <a:cxn ang="0">
                  <a:pos x="610" y="574"/>
                </a:cxn>
                <a:cxn ang="0">
                  <a:pos x="408" y="722"/>
                </a:cxn>
                <a:cxn ang="0">
                  <a:pos x="393" y="903"/>
                </a:cxn>
                <a:cxn ang="0">
                  <a:pos x="309" y="976"/>
                </a:cxn>
                <a:cxn ang="0">
                  <a:pos x="234" y="836"/>
                </a:cxn>
                <a:cxn ang="0">
                  <a:pos x="203" y="724"/>
                </a:cxn>
                <a:cxn ang="0">
                  <a:pos x="176" y="698"/>
                </a:cxn>
                <a:cxn ang="0">
                  <a:pos x="155" y="496"/>
                </a:cxn>
                <a:cxn ang="0">
                  <a:pos x="139" y="489"/>
                </a:cxn>
                <a:cxn ang="0">
                  <a:pos x="126" y="533"/>
                </a:cxn>
                <a:cxn ang="0">
                  <a:pos x="78" y="546"/>
                </a:cxn>
                <a:cxn ang="0">
                  <a:pos x="30" y="492"/>
                </a:cxn>
                <a:cxn ang="0">
                  <a:pos x="77" y="464"/>
                </a:cxn>
                <a:cxn ang="0">
                  <a:pos x="30" y="474"/>
                </a:cxn>
                <a:cxn ang="0">
                  <a:pos x="0" y="444"/>
                </a:cxn>
              </a:cxnLst>
              <a:rect l="0" t="0" r="r" b="b"/>
              <a:pathLst>
                <a:path w="980" h="976">
                  <a:moveTo>
                    <a:pt x="0" y="444"/>
                  </a:moveTo>
                  <a:lnTo>
                    <a:pt x="27" y="422"/>
                  </a:lnTo>
                  <a:lnTo>
                    <a:pt x="103" y="422"/>
                  </a:lnTo>
                  <a:lnTo>
                    <a:pt x="51" y="320"/>
                  </a:lnTo>
                  <a:lnTo>
                    <a:pt x="81" y="293"/>
                  </a:lnTo>
                  <a:lnTo>
                    <a:pt x="125" y="295"/>
                  </a:lnTo>
                  <a:lnTo>
                    <a:pt x="224" y="184"/>
                  </a:lnTo>
                  <a:lnTo>
                    <a:pt x="217" y="154"/>
                  </a:lnTo>
                  <a:lnTo>
                    <a:pt x="243" y="136"/>
                  </a:lnTo>
                  <a:lnTo>
                    <a:pt x="199" y="101"/>
                  </a:lnTo>
                  <a:lnTo>
                    <a:pt x="198" y="46"/>
                  </a:lnTo>
                  <a:lnTo>
                    <a:pt x="294" y="46"/>
                  </a:lnTo>
                  <a:lnTo>
                    <a:pt x="322" y="20"/>
                  </a:lnTo>
                  <a:lnTo>
                    <a:pt x="374" y="0"/>
                  </a:lnTo>
                  <a:lnTo>
                    <a:pt x="409" y="19"/>
                  </a:lnTo>
                  <a:lnTo>
                    <a:pt x="363" y="75"/>
                  </a:lnTo>
                  <a:lnTo>
                    <a:pt x="385" y="122"/>
                  </a:lnTo>
                  <a:lnTo>
                    <a:pt x="349" y="129"/>
                  </a:lnTo>
                  <a:lnTo>
                    <a:pt x="366" y="187"/>
                  </a:lnTo>
                  <a:lnTo>
                    <a:pt x="434" y="211"/>
                  </a:lnTo>
                  <a:lnTo>
                    <a:pt x="401" y="265"/>
                  </a:lnTo>
                  <a:lnTo>
                    <a:pt x="491" y="316"/>
                  </a:lnTo>
                  <a:lnTo>
                    <a:pt x="665" y="349"/>
                  </a:lnTo>
                  <a:lnTo>
                    <a:pt x="669" y="298"/>
                  </a:lnTo>
                  <a:lnTo>
                    <a:pt x="691" y="293"/>
                  </a:lnTo>
                  <a:lnTo>
                    <a:pt x="695" y="317"/>
                  </a:lnTo>
                  <a:lnTo>
                    <a:pt x="709" y="339"/>
                  </a:lnTo>
                  <a:lnTo>
                    <a:pt x="797" y="330"/>
                  </a:lnTo>
                  <a:lnTo>
                    <a:pt x="792" y="299"/>
                  </a:lnTo>
                  <a:lnTo>
                    <a:pt x="934" y="239"/>
                  </a:lnTo>
                  <a:lnTo>
                    <a:pt x="945" y="275"/>
                  </a:lnTo>
                  <a:lnTo>
                    <a:pt x="980" y="288"/>
                  </a:lnTo>
                  <a:lnTo>
                    <a:pt x="966" y="324"/>
                  </a:lnTo>
                  <a:lnTo>
                    <a:pt x="907" y="346"/>
                  </a:lnTo>
                  <a:lnTo>
                    <a:pt x="820" y="507"/>
                  </a:lnTo>
                  <a:lnTo>
                    <a:pt x="803" y="442"/>
                  </a:lnTo>
                  <a:lnTo>
                    <a:pt x="787" y="467"/>
                  </a:lnTo>
                  <a:lnTo>
                    <a:pt x="767" y="436"/>
                  </a:lnTo>
                  <a:lnTo>
                    <a:pt x="805" y="396"/>
                  </a:lnTo>
                  <a:lnTo>
                    <a:pt x="730" y="390"/>
                  </a:lnTo>
                  <a:lnTo>
                    <a:pt x="682" y="345"/>
                  </a:lnTo>
                  <a:lnTo>
                    <a:pt x="666" y="370"/>
                  </a:lnTo>
                  <a:lnTo>
                    <a:pt x="684" y="390"/>
                  </a:lnTo>
                  <a:lnTo>
                    <a:pt x="661" y="404"/>
                  </a:lnTo>
                  <a:lnTo>
                    <a:pt x="683" y="425"/>
                  </a:lnTo>
                  <a:lnTo>
                    <a:pt x="695" y="517"/>
                  </a:lnTo>
                  <a:lnTo>
                    <a:pt x="666" y="502"/>
                  </a:lnTo>
                  <a:lnTo>
                    <a:pt x="610" y="574"/>
                  </a:lnTo>
                  <a:lnTo>
                    <a:pt x="408" y="722"/>
                  </a:lnTo>
                  <a:lnTo>
                    <a:pt x="393" y="903"/>
                  </a:lnTo>
                  <a:lnTo>
                    <a:pt x="309" y="976"/>
                  </a:lnTo>
                  <a:lnTo>
                    <a:pt x="234" y="836"/>
                  </a:lnTo>
                  <a:lnTo>
                    <a:pt x="203" y="724"/>
                  </a:lnTo>
                  <a:lnTo>
                    <a:pt x="176" y="698"/>
                  </a:lnTo>
                  <a:lnTo>
                    <a:pt x="155" y="496"/>
                  </a:lnTo>
                  <a:lnTo>
                    <a:pt x="139" y="489"/>
                  </a:lnTo>
                  <a:lnTo>
                    <a:pt x="126" y="533"/>
                  </a:lnTo>
                  <a:lnTo>
                    <a:pt x="78" y="546"/>
                  </a:lnTo>
                  <a:lnTo>
                    <a:pt x="30" y="492"/>
                  </a:lnTo>
                  <a:lnTo>
                    <a:pt x="77" y="464"/>
                  </a:lnTo>
                  <a:lnTo>
                    <a:pt x="30" y="474"/>
                  </a:lnTo>
                  <a:lnTo>
                    <a:pt x="0" y="44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57" name="30561382.875553.87521.37520.3755">
              <a:extLst>
                <a:ext uri="{FF2B5EF4-FFF2-40B4-BE49-F238E27FC236}">
                  <a16:creationId xmlns:a16="http://schemas.microsoft.com/office/drawing/2014/main" id="{C15EF720-E9DC-427F-B250-E787F3124E47}"/>
                </a:ext>
              </a:extLst>
            </p:cNvPr>
            <p:cNvSpPr>
              <a:spLocks noChangeAspect="1"/>
            </p:cNvSpPr>
            <p:nvPr/>
          </p:nvSpPr>
          <p:spPr bwMode="gray">
            <a:xfrm>
              <a:off x="8551336" y="4497519"/>
              <a:ext cx="329046" cy="348174"/>
            </a:xfrm>
            <a:custGeom>
              <a:avLst/>
              <a:gdLst/>
              <a:ahLst/>
              <a:cxnLst>
                <a:cxn ang="0">
                  <a:pos x="0" y="0"/>
                </a:cxn>
                <a:cxn ang="0">
                  <a:pos x="80" y="15"/>
                </a:cxn>
                <a:cxn ang="0">
                  <a:pos x="182" y="114"/>
                </a:cxn>
                <a:cxn ang="0">
                  <a:pos x="264" y="150"/>
                </a:cxn>
                <a:cxn ang="0">
                  <a:pos x="255" y="177"/>
                </a:cxn>
                <a:cxn ang="0">
                  <a:pos x="283" y="175"/>
                </a:cxn>
                <a:cxn ang="0">
                  <a:pos x="279" y="212"/>
                </a:cxn>
                <a:cxn ang="0">
                  <a:pos x="363" y="282"/>
                </a:cxn>
                <a:cxn ang="0">
                  <a:pos x="354" y="377"/>
                </a:cxn>
                <a:cxn ang="0">
                  <a:pos x="318" y="378"/>
                </a:cxn>
                <a:cxn ang="0">
                  <a:pos x="244" y="323"/>
                </a:cxn>
                <a:cxn ang="0">
                  <a:pos x="124" y="132"/>
                </a:cxn>
                <a:cxn ang="0">
                  <a:pos x="0" y="0"/>
                </a:cxn>
              </a:cxnLst>
              <a:rect l="0" t="0" r="r" b="b"/>
              <a:pathLst>
                <a:path w="363" h="378">
                  <a:moveTo>
                    <a:pt x="0" y="0"/>
                  </a:moveTo>
                  <a:lnTo>
                    <a:pt x="80" y="15"/>
                  </a:lnTo>
                  <a:lnTo>
                    <a:pt x="182" y="114"/>
                  </a:lnTo>
                  <a:lnTo>
                    <a:pt x="264" y="150"/>
                  </a:lnTo>
                  <a:lnTo>
                    <a:pt x="255" y="177"/>
                  </a:lnTo>
                  <a:lnTo>
                    <a:pt x="283" y="175"/>
                  </a:lnTo>
                  <a:lnTo>
                    <a:pt x="279" y="212"/>
                  </a:lnTo>
                  <a:lnTo>
                    <a:pt x="363" y="282"/>
                  </a:lnTo>
                  <a:lnTo>
                    <a:pt x="354" y="377"/>
                  </a:lnTo>
                  <a:lnTo>
                    <a:pt x="318" y="378"/>
                  </a:lnTo>
                  <a:lnTo>
                    <a:pt x="244" y="323"/>
                  </a:lnTo>
                  <a:lnTo>
                    <a:pt x="124" y="132"/>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58" name="30562404.6255735.2517.1255">
              <a:extLst>
                <a:ext uri="{FF2B5EF4-FFF2-40B4-BE49-F238E27FC236}">
                  <a16:creationId xmlns:a16="http://schemas.microsoft.com/office/drawing/2014/main" id="{E3A133E9-1FE7-4D5C-852B-47457C8146AA}"/>
                </a:ext>
              </a:extLst>
            </p:cNvPr>
            <p:cNvSpPr>
              <a:spLocks noChangeAspect="1"/>
            </p:cNvSpPr>
            <p:nvPr/>
          </p:nvSpPr>
          <p:spPr bwMode="gray">
            <a:xfrm>
              <a:off x="8857560" y="4852419"/>
              <a:ext cx="275791" cy="85783"/>
            </a:xfrm>
            <a:custGeom>
              <a:avLst/>
              <a:gdLst/>
              <a:ahLst/>
              <a:cxnLst>
                <a:cxn ang="0">
                  <a:pos x="0" y="26"/>
                </a:cxn>
                <a:cxn ang="0">
                  <a:pos x="21" y="0"/>
                </a:cxn>
                <a:cxn ang="0">
                  <a:pos x="234" y="29"/>
                </a:cxn>
                <a:cxn ang="0">
                  <a:pos x="254" y="53"/>
                </a:cxn>
                <a:cxn ang="0">
                  <a:pos x="298" y="62"/>
                </a:cxn>
                <a:cxn ang="0">
                  <a:pos x="304" y="95"/>
                </a:cxn>
                <a:cxn ang="0">
                  <a:pos x="54" y="49"/>
                </a:cxn>
                <a:cxn ang="0">
                  <a:pos x="0" y="26"/>
                </a:cxn>
              </a:cxnLst>
              <a:rect l="0" t="0" r="r" b="b"/>
              <a:pathLst>
                <a:path w="304" h="95">
                  <a:moveTo>
                    <a:pt x="0" y="26"/>
                  </a:moveTo>
                  <a:lnTo>
                    <a:pt x="21" y="0"/>
                  </a:lnTo>
                  <a:lnTo>
                    <a:pt x="234" y="29"/>
                  </a:lnTo>
                  <a:lnTo>
                    <a:pt x="254" y="53"/>
                  </a:lnTo>
                  <a:lnTo>
                    <a:pt x="298" y="62"/>
                  </a:lnTo>
                  <a:lnTo>
                    <a:pt x="304" y="95"/>
                  </a:lnTo>
                  <a:lnTo>
                    <a:pt x="54" y="49"/>
                  </a:lnTo>
                  <a:lnTo>
                    <a:pt x="0" y="26"/>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59" name="30563385.25579.8751618.55">
              <a:extLst>
                <a:ext uri="{FF2B5EF4-FFF2-40B4-BE49-F238E27FC236}">
                  <a16:creationId xmlns:a16="http://schemas.microsoft.com/office/drawing/2014/main" id="{FE6AB102-10CF-4F94-BC5E-D8BFAE34A1A8}"/>
                </a:ext>
              </a:extLst>
            </p:cNvPr>
            <p:cNvSpPr>
              <a:spLocks noChangeAspect="1"/>
            </p:cNvSpPr>
            <p:nvPr/>
          </p:nvSpPr>
          <p:spPr bwMode="gray">
            <a:xfrm>
              <a:off x="8969780" y="4536207"/>
              <a:ext cx="296713" cy="262391"/>
            </a:xfrm>
            <a:custGeom>
              <a:avLst/>
              <a:gdLst/>
              <a:ahLst/>
              <a:cxnLst>
                <a:cxn ang="0">
                  <a:pos x="0" y="126"/>
                </a:cxn>
                <a:cxn ang="0">
                  <a:pos x="22" y="89"/>
                </a:cxn>
                <a:cxn ang="0">
                  <a:pos x="50" y="112"/>
                </a:cxn>
                <a:cxn ang="0">
                  <a:pos x="150" y="104"/>
                </a:cxn>
                <a:cxn ang="0">
                  <a:pos x="183" y="92"/>
                </a:cxn>
                <a:cxn ang="0">
                  <a:pos x="227" y="0"/>
                </a:cxn>
                <a:cxn ang="0">
                  <a:pos x="285" y="4"/>
                </a:cxn>
                <a:cxn ang="0">
                  <a:pos x="272" y="27"/>
                </a:cxn>
                <a:cxn ang="0">
                  <a:pos x="329" y="112"/>
                </a:cxn>
                <a:cxn ang="0">
                  <a:pos x="297" y="106"/>
                </a:cxn>
                <a:cxn ang="0">
                  <a:pos x="241" y="202"/>
                </a:cxn>
                <a:cxn ang="0">
                  <a:pos x="232" y="262"/>
                </a:cxn>
                <a:cxn ang="0">
                  <a:pos x="197" y="280"/>
                </a:cxn>
                <a:cxn ang="0">
                  <a:pos x="133" y="245"/>
                </a:cxn>
                <a:cxn ang="0">
                  <a:pos x="96" y="261"/>
                </a:cxn>
                <a:cxn ang="0">
                  <a:pos x="91" y="232"/>
                </a:cxn>
                <a:cxn ang="0">
                  <a:pos x="40" y="238"/>
                </a:cxn>
                <a:cxn ang="0">
                  <a:pos x="0" y="126"/>
                </a:cxn>
              </a:cxnLst>
              <a:rect l="0" t="0" r="r" b="b"/>
              <a:pathLst>
                <a:path w="329" h="280">
                  <a:moveTo>
                    <a:pt x="0" y="126"/>
                  </a:moveTo>
                  <a:lnTo>
                    <a:pt x="22" y="89"/>
                  </a:lnTo>
                  <a:lnTo>
                    <a:pt x="50" y="112"/>
                  </a:lnTo>
                  <a:lnTo>
                    <a:pt x="150" y="104"/>
                  </a:lnTo>
                  <a:lnTo>
                    <a:pt x="183" y="92"/>
                  </a:lnTo>
                  <a:lnTo>
                    <a:pt x="227" y="0"/>
                  </a:lnTo>
                  <a:lnTo>
                    <a:pt x="285" y="4"/>
                  </a:lnTo>
                  <a:lnTo>
                    <a:pt x="272" y="27"/>
                  </a:lnTo>
                  <a:lnTo>
                    <a:pt x="329" y="112"/>
                  </a:lnTo>
                  <a:lnTo>
                    <a:pt x="297" y="106"/>
                  </a:lnTo>
                  <a:lnTo>
                    <a:pt x="241" y="202"/>
                  </a:lnTo>
                  <a:lnTo>
                    <a:pt x="232" y="262"/>
                  </a:lnTo>
                  <a:lnTo>
                    <a:pt x="197" y="280"/>
                  </a:lnTo>
                  <a:lnTo>
                    <a:pt x="133" y="245"/>
                  </a:lnTo>
                  <a:lnTo>
                    <a:pt x="96" y="261"/>
                  </a:lnTo>
                  <a:lnTo>
                    <a:pt x="91" y="232"/>
                  </a:lnTo>
                  <a:lnTo>
                    <a:pt x="40" y="238"/>
                  </a:lnTo>
                  <a:lnTo>
                    <a:pt x="0" y="126"/>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60" name="30564409.25594.51.1254.55">
              <a:extLst>
                <a:ext uri="{FF2B5EF4-FFF2-40B4-BE49-F238E27FC236}">
                  <a16:creationId xmlns:a16="http://schemas.microsoft.com/office/drawing/2014/main" id="{258EDC2D-DDBE-40F0-905D-611AD3961C19}"/>
                </a:ext>
              </a:extLst>
            </p:cNvPr>
            <p:cNvSpPr>
              <a:spLocks noChangeAspect="1"/>
            </p:cNvSpPr>
            <p:nvPr/>
          </p:nvSpPr>
          <p:spPr bwMode="gray">
            <a:xfrm>
              <a:off x="9203723" y="4926426"/>
              <a:ext cx="72277" cy="16821"/>
            </a:xfrm>
            <a:custGeom>
              <a:avLst/>
              <a:gdLst/>
              <a:ahLst/>
              <a:cxnLst>
                <a:cxn ang="0">
                  <a:pos x="0" y="4"/>
                </a:cxn>
                <a:cxn ang="0">
                  <a:pos x="10" y="21"/>
                </a:cxn>
                <a:cxn ang="0">
                  <a:pos x="82" y="7"/>
                </a:cxn>
                <a:cxn ang="0">
                  <a:pos x="27" y="0"/>
                </a:cxn>
                <a:cxn ang="0">
                  <a:pos x="0" y="4"/>
                </a:cxn>
              </a:cxnLst>
              <a:rect l="0" t="0" r="r" b="b"/>
              <a:pathLst>
                <a:path w="82" h="21">
                  <a:moveTo>
                    <a:pt x="0" y="4"/>
                  </a:moveTo>
                  <a:lnTo>
                    <a:pt x="10" y="21"/>
                  </a:lnTo>
                  <a:lnTo>
                    <a:pt x="82" y="7"/>
                  </a:lnTo>
                  <a:lnTo>
                    <a:pt x="27" y="0"/>
                  </a:lnTo>
                  <a:lnTo>
                    <a:pt x="0" y="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61" name="30565390598.37513.87511.6255">
              <a:extLst>
                <a:ext uri="{FF2B5EF4-FFF2-40B4-BE49-F238E27FC236}">
                  <a16:creationId xmlns:a16="http://schemas.microsoft.com/office/drawing/2014/main" id="{7682D872-A4E0-4131-B150-4DFC0D90A1D1}"/>
                </a:ext>
              </a:extLst>
            </p:cNvPr>
            <p:cNvSpPr>
              <a:spLocks noChangeAspect="1"/>
            </p:cNvSpPr>
            <p:nvPr/>
          </p:nvSpPr>
          <p:spPr bwMode="gray">
            <a:xfrm>
              <a:off x="9266493" y="4613576"/>
              <a:ext cx="186397" cy="227071"/>
            </a:xfrm>
            <a:custGeom>
              <a:avLst/>
              <a:gdLst/>
              <a:ahLst/>
              <a:cxnLst>
                <a:cxn ang="0">
                  <a:pos x="0" y="145"/>
                </a:cxn>
                <a:cxn ang="0">
                  <a:pos x="26" y="191"/>
                </a:cxn>
                <a:cxn ang="0">
                  <a:pos x="17" y="235"/>
                </a:cxn>
                <a:cxn ang="0">
                  <a:pos x="50" y="244"/>
                </a:cxn>
                <a:cxn ang="0">
                  <a:pos x="48" y="154"/>
                </a:cxn>
                <a:cxn ang="0">
                  <a:pos x="70" y="145"/>
                </a:cxn>
                <a:cxn ang="0">
                  <a:pos x="72" y="180"/>
                </a:cxn>
                <a:cxn ang="0">
                  <a:pos x="92" y="220"/>
                </a:cxn>
                <a:cxn ang="0">
                  <a:pos x="129" y="202"/>
                </a:cxn>
                <a:cxn ang="0">
                  <a:pos x="83" y="118"/>
                </a:cxn>
                <a:cxn ang="0">
                  <a:pos x="152" y="81"/>
                </a:cxn>
                <a:cxn ang="0">
                  <a:pos x="60" y="104"/>
                </a:cxn>
                <a:cxn ang="0">
                  <a:pos x="46" y="50"/>
                </a:cxn>
                <a:cxn ang="0">
                  <a:pos x="181" y="45"/>
                </a:cxn>
                <a:cxn ang="0">
                  <a:pos x="206" y="0"/>
                </a:cxn>
                <a:cxn ang="0">
                  <a:pos x="166" y="28"/>
                </a:cxn>
                <a:cxn ang="0">
                  <a:pos x="70" y="13"/>
                </a:cxn>
                <a:cxn ang="0">
                  <a:pos x="37" y="34"/>
                </a:cxn>
                <a:cxn ang="0">
                  <a:pos x="0" y="145"/>
                </a:cxn>
              </a:cxnLst>
              <a:rect l="0" t="0" r="r" b="b"/>
              <a:pathLst>
                <a:path w="206" h="244">
                  <a:moveTo>
                    <a:pt x="0" y="145"/>
                  </a:moveTo>
                  <a:lnTo>
                    <a:pt x="26" y="191"/>
                  </a:lnTo>
                  <a:lnTo>
                    <a:pt x="17" y="235"/>
                  </a:lnTo>
                  <a:lnTo>
                    <a:pt x="50" y="244"/>
                  </a:lnTo>
                  <a:lnTo>
                    <a:pt x="48" y="154"/>
                  </a:lnTo>
                  <a:lnTo>
                    <a:pt x="70" y="145"/>
                  </a:lnTo>
                  <a:lnTo>
                    <a:pt x="72" y="180"/>
                  </a:lnTo>
                  <a:lnTo>
                    <a:pt x="92" y="220"/>
                  </a:lnTo>
                  <a:lnTo>
                    <a:pt x="129" y="202"/>
                  </a:lnTo>
                  <a:lnTo>
                    <a:pt x="83" y="118"/>
                  </a:lnTo>
                  <a:lnTo>
                    <a:pt x="152" y="81"/>
                  </a:lnTo>
                  <a:lnTo>
                    <a:pt x="60" y="104"/>
                  </a:lnTo>
                  <a:lnTo>
                    <a:pt x="46" y="50"/>
                  </a:lnTo>
                  <a:lnTo>
                    <a:pt x="181" y="45"/>
                  </a:lnTo>
                  <a:lnTo>
                    <a:pt x="206" y="0"/>
                  </a:lnTo>
                  <a:lnTo>
                    <a:pt x="166" y="28"/>
                  </a:lnTo>
                  <a:lnTo>
                    <a:pt x="70" y="13"/>
                  </a:lnTo>
                  <a:lnTo>
                    <a:pt x="37" y="34"/>
                  </a:lnTo>
                  <a:lnTo>
                    <a:pt x="0" y="14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62" name="30566409.375607.53.56.6255">
              <a:extLst>
                <a:ext uri="{FF2B5EF4-FFF2-40B4-BE49-F238E27FC236}">
                  <a16:creationId xmlns:a16="http://schemas.microsoft.com/office/drawing/2014/main" id="{E0E6EF65-F783-424A-9482-ED8A92CE14C2}"/>
                </a:ext>
              </a:extLst>
            </p:cNvPr>
            <p:cNvSpPr>
              <a:spLocks noChangeAspect="1"/>
            </p:cNvSpPr>
            <p:nvPr/>
          </p:nvSpPr>
          <p:spPr bwMode="gray">
            <a:xfrm>
              <a:off x="9412947" y="4929791"/>
              <a:ext cx="106511" cy="55506"/>
            </a:xfrm>
            <a:custGeom>
              <a:avLst/>
              <a:gdLst/>
              <a:ahLst/>
              <a:cxnLst>
                <a:cxn ang="0">
                  <a:pos x="0" y="37"/>
                </a:cxn>
                <a:cxn ang="0">
                  <a:pos x="5" y="63"/>
                </a:cxn>
                <a:cxn ang="0">
                  <a:pos x="115" y="0"/>
                </a:cxn>
                <a:cxn ang="0">
                  <a:pos x="33" y="19"/>
                </a:cxn>
                <a:cxn ang="0">
                  <a:pos x="0" y="37"/>
                </a:cxn>
              </a:cxnLst>
              <a:rect l="0" t="0" r="r" b="b"/>
              <a:pathLst>
                <a:path w="115" h="63">
                  <a:moveTo>
                    <a:pt x="0" y="37"/>
                  </a:moveTo>
                  <a:lnTo>
                    <a:pt x="5" y="63"/>
                  </a:lnTo>
                  <a:lnTo>
                    <a:pt x="115" y="0"/>
                  </a:lnTo>
                  <a:lnTo>
                    <a:pt x="33" y="19"/>
                  </a:lnTo>
                  <a:lnTo>
                    <a:pt x="0" y="37"/>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63" name="30567389.375614.3755.6252.255">
              <a:extLst>
                <a:ext uri="{FF2B5EF4-FFF2-40B4-BE49-F238E27FC236}">
                  <a16:creationId xmlns:a16="http://schemas.microsoft.com/office/drawing/2014/main" id="{BB81D227-B766-4EEE-A221-F13653C37AE8}"/>
                </a:ext>
              </a:extLst>
            </p:cNvPr>
            <p:cNvSpPr>
              <a:spLocks noChangeAspect="1"/>
            </p:cNvSpPr>
            <p:nvPr/>
          </p:nvSpPr>
          <p:spPr bwMode="gray">
            <a:xfrm>
              <a:off x="9523262" y="4605169"/>
              <a:ext cx="34238" cy="89144"/>
            </a:xfrm>
            <a:custGeom>
              <a:avLst/>
              <a:gdLst/>
              <a:ahLst/>
              <a:cxnLst>
                <a:cxn ang="0">
                  <a:pos x="0" y="35"/>
                </a:cxn>
                <a:cxn ang="0">
                  <a:pos x="8" y="80"/>
                </a:cxn>
                <a:cxn ang="0">
                  <a:pos x="32" y="99"/>
                </a:cxn>
                <a:cxn ang="0">
                  <a:pos x="17" y="58"/>
                </a:cxn>
                <a:cxn ang="0">
                  <a:pos x="40" y="52"/>
                </a:cxn>
                <a:cxn ang="0">
                  <a:pos x="37" y="21"/>
                </a:cxn>
                <a:cxn ang="0">
                  <a:pos x="8" y="41"/>
                </a:cxn>
                <a:cxn ang="0">
                  <a:pos x="21" y="0"/>
                </a:cxn>
                <a:cxn ang="0">
                  <a:pos x="0" y="35"/>
                </a:cxn>
              </a:cxnLst>
              <a:rect l="0" t="0" r="r" b="b"/>
              <a:pathLst>
                <a:path w="40" h="99">
                  <a:moveTo>
                    <a:pt x="0" y="35"/>
                  </a:moveTo>
                  <a:lnTo>
                    <a:pt x="8" y="80"/>
                  </a:lnTo>
                  <a:lnTo>
                    <a:pt x="32" y="99"/>
                  </a:lnTo>
                  <a:lnTo>
                    <a:pt x="17" y="58"/>
                  </a:lnTo>
                  <a:lnTo>
                    <a:pt x="40" y="52"/>
                  </a:lnTo>
                  <a:lnTo>
                    <a:pt x="37" y="21"/>
                  </a:lnTo>
                  <a:lnTo>
                    <a:pt x="8" y="41"/>
                  </a:lnTo>
                  <a:lnTo>
                    <a:pt x="21" y="0"/>
                  </a:lnTo>
                  <a:lnTo>
                    <a:pt x="0" y="3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64" name="30568398.5615.3751.755.3755">
              <a:extLst>
                <a:ext uri="{FF2B5EF4-FFF2-40B4-BE49-F238E27FC236}">
                  <a16:creationId xmlns:a16="http://schemas.microsoft.com/office/drawing/2014/main" id="{A90AFD2F-86D0-47DA-A0F0-2E4ACC140BB3}"/>
                </a:ext>
              </a:extLst>
            </p:cNvPr>
            <p:cNvSpPr>
              <a:spLocks noChangeAspect="1"/>
            </p:cNvSpPr>
            <p:nvPr/>
          </p:nvSpPr>
          <p:spPr bwMode="gray">
            <a:xfrm>
              <a:off x="9538479" y="4753183"/>
              <a:ext cx="85592" cy="26912"/>
            </a:xfrm>
            <a:custGeom>
              <a:avLst/>
              <a:gdLst/>
              <a:ahLst/>
              <a:cxnLst>
                <a:cxn ang="0">
                  <a:pos x="0" y="12"/>
                </a:cxn>
                <a:cxn ang="0">
                  <a:pos x="53" y="0"/>
                </a:cxn>
                <a:cxn ang="0">
                  <a:pos x="96" y="31"/>
                </a:cxn>
                <a:cxn ang="0">
                  <a:pos x="0" y="12"/>
                </a:cxn>
              </a:cxnLst>
              <a:rect l="0" t="0" r="r" b="b"/>
              <a:pathLst>
                <a:path w="96" h="31">
                  <a:moveTo>
                    <a:pt x="0" y="12"/>
                  </a:moveTo>
                  <a:lnTo>
                    <a:pt x="53" y="0"/>
                  </a:lnTo>
                  <a:lnTo>
                    <a:pt x="96" y="31"/>
                  </a:lnTo>
                  <a:lnTo>
                    <a:pt x="0" y="12"/>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65" name="30569394.125620.87516.2519.755">
              <a:extLst>
                <a:ext uri="{FF2B5EF4-FFF2-40B4-BE49-F238E27FC236}">
                  <a16:creationId xmlns:a16="http://schemas.microsoft.com/office/drawing/2014/main" id="{B5E2B6B2-EFE5-432F-ABDD-10E35D398F0B}"/>
                </a:ext>
              </a:extLst>
            </p:cNvPr>
            <p:cNvSpPr>
              <a:spLocks noChangeAspect="1"/>
            </p:cNvSpPr>
            <p:nvPr/>
          </p:nvSpPr>
          <p:spPr bwMode="gray">
            <a:xfrm>
              <a:off x="9627872" y="4682538"/>
              <a:ext cx="315734" cy="260710"/>
            </a:xfrm>
            <a:custGeom>
              <a:avLst/>
              <a:gdLst/>
              <a:ahLst/>
              <a:cxnLst>
                <a:cxn ang="0">
                  <a:pos x="0" y="36"/>
                </a:cxn>
                <a:cxn ang="0">
                  <a:pos x="51" y="63"/>
                </a:cxn>
                <a:cxn ang="0">
                  <a:pos x="102" y="56"/>
                </a:cxn>
                <a:cxn ang="0">
                  <a:pos x="37" y="77"/>
                </a:cxn>
                <a:cxn ang="0">
                  <a:pos x="69" y="124"/>
                </a:cxn>
                <a:cxn ang="0">
                  <a:pos x="99" y="84"/>
                </a:cxn>
                <a:cxn ang="0">
                  <a:pos x="120" y="124"/>
                </a:cxn>
                <a:cxn ang="0">
                  <a:pos x="245" y="168"/>
                </a:cxn>
                <a:cxn ang="0">
                  <a:pos x="275" y="238"/>
                </a:cxn>
                <a:cxn ang="0">
                  <a:pos x="252" y="235"/>
                </a:cxn>
                <a:cxn ang="0">
                  <a:pos x="232" y="268"/>
                </a:cxn>
                <a:cxn ang="0">
                  <a:pos x="308" y="253"/>
                </a:cxn>
                <a:cxn ang="0">
                  <a:pos x="349" y="289"/>
                </a:cxn>
                <a:cxn ang="0">
                  <a:pos x="344" y="73"/>
                </a:cxn>
                <a:cxn ang="0">
                  <a:pos x="236" y="36"/>
                </a:cxn>
                <a:cxn ang="0">
                  <a:pos x="149" y="99"/>
                </a:cxn>
                <a:cxn ang="0">
                  <a:pos x="114" y="66"/>
                </a:cxn>
                <a:cxn ang="0">
                  <a:pos x="103" y="14"/>
                </a:cxn>
                <a:cxn ang="0">
                  <a:pos x="51" y="0"/>
                </a:cxn>
                <a:cxn ang="0">
                  <a:pos x="0" y="36"/>
                </a:cxn>
              </a:cxnLst>
              <a:rect l="0" t="0" r="r" b="b"/>
              <a:pathLst>
                <a:path w="349" h="289">
                  <a:moveTo>
                    <a:pt x="0" y="36"/>
                  </a:moveTo>
                  <a:lnTo>
                    <a:pt x="51" y="63"/>
                  </a:lnTo>
                  <a:lnTo>
                    <a:pt x="102" y="56"/>
                  </a:lnTo>
                  <a:lnTo>
                    <a:pt x="37" y="77"/>
                  </a:lnTo>
                  <a:lnTo>
                    <a:pt x="69" y="124"/>
                  </a:lnTo>
                  <a:lnTo>
                    <a:pt x="99" y="84"/>
                  </a:lnTo>
                  <a:lnTo>
                    <a:pt x="120" y="124"/>
                  </a:lnTo>
                  <a:lnTo>
                    <a:pt x="245" y="168"/>
                  </a:lnTo>
                  <a:lnTo>
                    <a:pt x="275" y="238"/>
                  </a:lnTo>
                  <a:lnTo>
                    <a:pt x="252" y="235"/>
                  </a:lnTo>
                  <a:lnTo>
                    <a:pt x="232" y="268"/>
                  </a:lnTo>
                  <a:lnTo>
                    <a:pt x="308" y="253"/>
                  </a:lnTo>
                  <a:lnTo>
                    <a:pt x="349" y="289"/>
                  </a:lnTo>
                  <a:lnTo>
                    <a:pt x="344" y="73"/>
                  </a:lnTo>
                  <a:lnTo>
                    <a:pt x="236" y="36"/>
                  </a:lnTo>
                  <a:lnTo>
                    <a:pt x="149" y="99"/>
                  </a:lnTo>
                  <a:lnTo>
                    <a:pt x="114" y="66"/>
                  </a:lnTo>
                  <a:lnTo>
                    <a:pt x="103" y="14"/>
                  </a:lnTo>
                  <a:lnTo>
                    <a:pt x="51" y="0"/>
                  </a:lnTo>
                  <a:lnTo>
                    <a:pt x="0" y="36"/>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66" name="30570406.75621.51.50.8755">
              <a:extLst>
                <a:ext uri="{FF2B5EF4-FFF2-40B4-BE49-F238E27FC236}">
                  <a16:creationId xmlns:a16="http://schemas.microsoft.com/office/drawing/2014/main" id="{B49F393E-9FC3-44F1-B48F-FE7C49282C97}"/>
                </a:ext>
              </a:extLst>
            </p:cNvPr>
            <p:cNvSpPr>
              <a:spLocks noChangeAspect="1"/>
            </p:cNvSpPr>
            <p:nvPr/>
          </p:nvSpPr>
          <p:spPr bwMode="gray">
            <a:xfrm>
              <a:off x="9637383" y="4887742"/>
              <a:ext cx="11411" cy="23547"/>
            </a:xfrm>
            <a:custGeom>
              <a:avLst/>
              <a:gdLst/>
              <a:ahLst/>
              <a:cxnLst>
                <a:cxn ang="0">
                  <a:pos x="0" y="25"/>
                </a:cxn>
                <a:cxn ang="0">
                  <a:pos x="10" y="0"/>
                </a:cxn>
                <a:cxn ang="0">
                  <a:pos x="16" y="14"/>
                </a:cxn>
                <a:cxn ang="0">
                  <a:pos x="0" y="25"/>
                </a:cxn>
              </a:cxnLst>
              <a:rect l="0" t="0" r="r" b="b"/>
              <a:pathLst>
                <a:path w="16" h="25">
                  <a:moveTo>
                    <a:pt x="0" y="25"/>
                  </a:moveTo>
                  <a:lnTo>
                    <a:pt x="10" y="0"/>
                  </a:lnTo>
                  <a:lnTo>
                    <a:pt x="16" y="14"/>
                  </a:lnTo>
                  <a:lnTo>
                    <a:pt x="0" y="2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67" name="30571317.62561296.6255">
              <a:extLst>
                <a:ext uri="{FF2B5EF4-FFF2-40B4-BE49-F238E27FC236}">
                  <a16:creationId xmlns:a16="http://schemas.microsoft.com/office/drawing/2014/main" id="{D0728ADB-AAD9-48DE-B986-833953AF2592}"/>
                </a:ext>
              </a:extLst>
            </p:cNvPr>
            <p:cNvSpPr>
              <a:spLocks noChangeAspect="1"/>
            </p:cNvSpPr>
            <p:nvPr/>
          </p:nvSpPr>
          <p:spPr bwMode="gray">
            <a:xfrm>
              <a:off x="9485220" y="3442910"/>
              <a:ext cx="104610" cy="146334"/>
            </a:xfrm>
            <a:custGeom>
              <a:avLst/>
              <a:gdLst/>
              <a:ahLst/>
              <a:cxnLst>
                <a:cxn ang="0">
                  <a:pos x="0" y="160"/>
                </a:cxn>
                <a:cxn ang="0">
                  <a:pos x="12" y="35"/>
                </a:cxn>
                <a:cxn ang="0">
                  <a:pos x="74" y="0"/>
                </a:cxn>
                <a:cxn ang="0">
                  <a:pos x="115" y="98"/>
                </a:cxn>
                <a:cxn ang="0">
                  <a:pos x="73" y="144"/>
                </a:cxn>
                <a:cxn ang="0">
                  <a:pos x="0" y="160"/>
                </a:cxn>
              </a:cxnLst>
              <a:rect l="0" t="0" r="r" b="b"/>
              <a:pathLst>
                <a:path w="115" h="160">
                  <a:moveTo>
                    <a:pt x="0" y="160"/>
                  </a:moveTo>
                  <a:lnTo>
                    <a:pt x="12" y="35"/>
                  </a:lnTo>
                  <a:lnTo>
                    <a:pt x="74" y="0"/>
                  </a:lnTo>
                  <a:lnTo>
                    <a:pt x="115" y="98"/>
                  </a:lnTo>
                  <a:lnTo>
                    <a:pt x="73" y="144"/>
                  </a:lnTo>
                  <a:lnTo>
                    <a:pt x="0" y="16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68" name="30572381.125563.259.3757.1255">
              <a:extLst>
                <a:ext uri="{FF2B5EF4-FFF2-40B4-BE49-F238E27FC236}">
                  <a16:creationId xmlns:a16="http://schemas.microsoft.com/office/drawing/2014/main" id="{8AF9D0CC-36FF-411F-A107-10D9033888F6}"/>
                </a:ext>
              </a:extLst>
            </p:cNvPr>
            <p:cNvSpPr>
              <a:spLocks noChangeAspect="1"/>
            </p:cNvSpPr>
            <p:nvPr/>
          </p:nvSpPr>
          <p:spPr bwMode="gray">
            <a:xfrm>
              <a:off x="8703496" y="4472291"/>
              <a:ext cx="114121" cy="151380"/>
            </a:xfrm>
            <a:custGeom>
              <a:avLst/>
              <a:gdLst/>
              <a:ahLst/>
              <a:cxnLst>
                <a:cxn ang="0">
                  <a:pos x="0" y="0"/>
                </a:cxn>
                <a:cxn ang="0">
                  <a:pos x="25" y="0"/>
                </a:cxn>
                <a:cxn ang="0">
                  <a:pos x="33" y="31"/>
                </a:cxn>
                <a:cxn ang="0">
                  <a:pos x="65" y="11"/>
                </a:cxn>
                <a:cxn ang="0">
                  <a:pos x="106" y="50"/>
                </a:cxn>
                <a:cxn ang="0">
                  <a:pos x="125" y="167"/>
                </a:cxn>
                <a:cxn ang="0">
                  <a:pos x="124" y="167"/>
                </a:cxn>
                <a:cxn ang="0">
                  <a:pos x="39" y="117"/>
                </a:cxn>
                <a:cxn ang="0">
                  <a:pos x="0" y="0"/>
                </a:cxn>
              </a:cxnLst>
              <a:rect l="0" t="0" r="r" b="b"/>
              <a:pathLst>
                <a:path w="125" h="167">
                  <a:moveTo>
                    <a:pt x="0" y="0"/>
                  </a:moveTo>
                  <a:lnTo>
                    <a:pt x="25" y="0"/>
                  </a:lnTo>
                  <a:lnTo>
                    <a:pt x="33" y="31"/>
                  </a:lnTo>
                  <a:lnTo>
                    <a:pt x="65" y="11"/>
                  </a:lnTo>
                  <a:lnTo>
                    <a:pt x="106" y="50"/>
                  </a:lnTo>
                  <a:lnTo>
                    <a:pt x="125" y="167"/>
                  </a:lnTo>
                  <a:lnTo>
                    <a:pt x="124" y="167"/>
                  </a:lnTo>
                  <a:lnTo>
                    <a:pt x="39" y="117"/>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69" name="30573380.375581.12511.375185">
              <a:extLst>
                <a:ext uri="{FF2B5EF4-FFF2-40B4-BE49-F238E27FC236}">
                  <a16:creationId xmlns:a16="http://schemas.microsoft.com/office/drawing/2014/main" id="{528D645A-560E-42F7-B506-B8D0AE4AD544}"/>
                </a:ext>
              </a:extLst>
            </p:cNvPr>
            <p:cNvSpPr>
              <a:spLocks noChangeAspect="1"/>
            </p:cNvSpPr>
            <p:nvPr/>
          </p:nvSpPr>
          <p:spPr bwMode="gray">
            <a:xfrm>
              <a:off x="8988798" y="4458835"/>
              <a:ext cx="291007" cy="185018"/>
            </a:xfrm>
            <a:custGeom>
              <a:avLst/>
              <a:gdLst/>
              <a:ahLst/>
              <a:cxnLst>
                <a:cxn ang="0">
                  <a:pos x="0" y="176"/>
                </a:cxn>
                <a:cxn ang="0">
                  <a:pos x="28" y="199"/>
                </a:cxn>
                <a:cxn ang="0">
                  <a:pos x="128" y="191"/>
                </a:cxn>
                <a:cxn ang="0">
                  <a:pos x="161" y="179"/>
                </a:cxn>
                <a:cxn ang="0">
                  <a:pos x="205" y="87"/>
                </a:cxn>
                <a:cxn ang="0">
                  <a:pos x="263" y="91"/>
                </a:cxn>
                <a:cxn ang="0">
                  <a:pos x="319" y="59"/>
                </a:cxn>
                <a:cxn ang="0">
                  <a:pos x="265" y="33"/>
                </a:cxn>
                <a:cxn ang="0">
                  <a:pos x="249" y="0"/>
                </a:cxn>
                <a:cxn ang="0">
                  <a:pos x="183" y="62"/>
                </a:cxn>
                <a:cxn ang="0">
                  <a:pos x="164" y="96"/>
                </a:cxn>
                <a:cxn ang="0">
                  <a:pos x="143" y="77"/>
                </a:cxn>
                <a:cxn ang="0">
                  <a:pos x="105" y="127"/>
                </a:cxn>
                <a:cxn ang="0">
                  <a:pos x="62" y="133"/>
                </a:cxn>
                <a:cxn ang="0">
                  <a:pos x="48" y="179"/>
                </a:cxn>
                <a:cxn ang="0">
                  <a:pos x="0" y="176"/>
                </a:cxn>
              </a:cxnLst>
              <a:rect l="0" t="0" r="r" b="b"/>
              <a:pathLst>
                <a:path w="319" h="199">
                  <a:moveTo>
                    <a:pt x="0" y="176"/>
                  </a:moveTo>
                  <a:lnTo>
                    <a:pt x="28" y="199"/>
                  </a:lnTo>
                  <a:lnTo>
                    <a:pt x="128" y="191"/>
                  </a:lnTo>
                  <a:lnTo>
                    <a:pt x="161" y="179"/>
                  </a:lnTo>
                  <a:lnTo>
                    <a:pt x="205" y="87"/>
                  </a:lnTo>
                  <a:lnTo>
                    <a:pt x="263" y="91"/>
                  </a:lnTo>
                  <a:lnTo>
                    <a:pt x="319" y="59"/>
                  </a:lnTo>
                  <a:lnTo>
                    <a:pt x="265" y="33"/>
                  </a:lnTo>
                  <a:lnTo>
                    <a:pt x="249" y="0"/>
                  </a:lnTo>
                  <a:lnTo>
                    <a:pt x="183" y="62"/>
                  </a:lnTo>
                  <a:lnTo>
                    <a:pt x="164" y="96"/>
                  </a:lnTo>
                  <a:lnTo>
                    <a:pt x="143" y="77"/>
                  </a:lnTo>
                  <a:lnTo>
                    <a:pt x="105" y="127"/>
                  </a:lnTo>
                  <a:lnTo>
                    <a:pt x="62" y="133"/>
                  </a:lnTo>
                  <a:lnTo>
                    <a:pt x="48" y="179"/>
                  </a:lnTo>
                  <a:lnTo>
                    <a:pt x="0" y="176"/>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70" name="30574320.875489.12527.2531.55">
              <a:extLst>
                <a:ext uri="{FF2B5EF4-FFF2-40B4-BE49-F238E27FC236}">
                  <a16:creationId xmlns:a16="http://schemas.microsoft.com/office/drawing/2014/main" id="{BF1202D5-603A-48CB-B882-1E48EA171097}"/>
                </a:ext>
              </a:extLst>
            </p:cNvPr>
            <p:cNvSpPr>
              <a:spLocks noChangeAspect="1"/>
            </p:cNvSpPr>
            <p:nvPr/>
          </p:nvSpPr>
          <p:spPr bwMode="gray">
            <a:xfrm>
              <a:off x="7512843" y="3496735"/>
              <a:ext cx="505933" cy="439002"/>
            </a:xfrm>
            <a:custGeom>
              <a:avLst/>
              <a:gdLst/>
              <a:ahLst/>
              <a:cxnLst>
                <a:cxn ang="0">
                  <a:pos x="0" y="267"/>
                </a:cxn>
                <a:cxn ang="0">
                  <a:pos x="52" y="284"/>
                </a:cxn>
                <a:cxn ang="0">
                  <a:pos x="175" y="267"/>
                </a:cxn>
                <a:cxn ang="0">
                  <a:pos x="198" y="218"/>
                </a:cxn>
                <a:cxn ang="0">
                  <a:pos x="281" y="190"/>
                </a:cxn>
                <a:cxn ang="0">
                  <a:pos x="289" y="149"/>
                </a:cxn>
                <a:cxn ang="0">
                  <a:pos x="316" y="138"/>
                </a:cxn>
                <a:cxn ang="0">
                  <a:pos x="304" y="116"/>
                </a:cxn>
                <a:cxn ang="0">
                  <a:pos x="334" y="114"/>
                </a:cxn>
                <a:cxn ang="0">
                  <a:pos x="356" y="72"/>
                </a:cxn>
                <a:cxn ang="0">
                  <a:pos x="347" y="31"/>
                </a:cxn>
                <a:cxn ang="0">
                  <a:pos x="458" y="0"/>
                </a:cxn>
                <a:cxn ang="0">
                  <a:pos x="560" y="62"/>
                </a:cxn>
                <a:cxn ang="0">
                  <a:pos x="532" y="88"/>
                </a:cxn>
                <a:cxn ang="0">
                  <a:pos x="436" y="88"/>
                </a:cxn>
                <a:cxn ang="0">
                  <a:pos x="437" y="143"/>
                </a:cxn>
                <a:cxn ang="0">
                  <a:pos x="481" y="178"/>
                </a:cxn>
                <a:cxn ang="0">
                  <a:pos x="455" y="196"/>
                </a:cxn>
                <a:cxn ang="0">
                  <a:pos x="462" y="226"/>
                </a:cxn>
                <a:cxn ang="0">
                  <a:pos x="363" y="337"/>
                </a:cxn>
                <a:cxn ang="0">
                  <a:pos x="319" y="335"/>
                </a:cxn>
                <a:cxn ang="0">
                  <a:pos x="289" y="362"/>
                </a:cxn>
                <a:cxn ang="0">
                  <a:pos x="341" y="464"/>
                </a:cxn>
                <a:cxn ang="0">
                  <a:pos x="265" y="464"/>
                </a:cxn>
                <a:cxn ang="0">
                  <a:pos x="238" y="486"/>
                </a:cxn>
                <a:cxn ang="0">
                  <a:pos x="182" y="425"/>
                </a:cxn>
                <a:cxn ang="0">
                  <a:pos x="26" y="436"/>
                </a:cxn>
                <a:cxn ang="0">
                  <a:pos x="79" y="366"/>
                </a:cxn>
                <a:cxn ang="0">
                  <a:pos x="0" y="267"/>
                </a:cxn>
              </a:cxnLst>
              <a:rect l="0" t="0" r="r" b="b"/>
              <a:pathLst>
                <a:path w="560" h="486">
                  <a:moveTo>
                    <a:pt x="0" y="267"/>
                  </a:moveTo>
                  <a:lnTo>
                    <a:pt x="52" y="284"/>
                  </a:lnTo>
                  <a:lnTo>
                    <a:pt x="175" y="267"/>
                  </a:lnTo>
                  <a:lnTo>
                    <a:pt x="198" y="218"/>
                  </a:lnTo>
                  <a:lnTo>
                    <a:pt x="281" y="190"/>
                  </a:lnTo>
                  <a:lnTo>
                    <a:pt x="289" y="149"/>
                  </a:lnTo>
                  <a:lnTo>
                    <a:pt x="316" y="138"/>
                  </a:lnTo>
                  <a:lnTo>
                    <a:pt x="304" y="116"/>
                  </a:lnTo>
                  <a:lnTo>
                    <a:pt x="334" y="114"/>
                  </a:lnTo>
                  <a:lnTo>
                    <a:pt x="356" y="72"/>
                  </a:lnTo>
                  <a:lnTo>
                    <a:pt x="347" y="31"/>
                  </a:lnTo>
                  <a:lnTo>
                    <a:pt x="458" y="0"/>
                  </a:lnTo>
                  <a:lnTo>
                    <a:pt x="560" y="62"/>
                  </a:lnTo>
                  <a:lnTo>
                    <a:pt x="532" y="88"/>
                  </a:lnTo>
                  <a:lnTo>
                    <a:pt x="436" y="88"/>
                  </a:lnTo>
                  <a:lnTo>
                    <a:pt x="437" y="143"/>
                  </a:lnTo>
                  <a:lnTo>
                    <a:pt x="481" y="178"/>
                  </a:lnTo>
                  <a:lnTo>
                    <a:pt x="455" y="196"/>
                  </a:lnTo>
                  <a:lnTo>
                    <a:pt x="462" y="226"/>
                  </a:lnTo>
                  <a:lnTo>
                    <a:pt x="363" y="337"/>
                  </a:lnTo>
                  <a:lnTo>
                    <a:pt x="319" y="335"/>
                  </a:lnTo>
                  <a:lnTo>
                    <a:pt x="289" y="362"/>
                  </a:lnTo>
                  <a:lnTo>
                    <a:pt x="341" y="464"/>
                  </a:lnTo>
                  <a:lnTo>
                    <a:pt x="265" y="464"/>
                  </a:lnTo>
                  <a:lnTo>
                    <a:pt x="238" y="486"/>
                  </a:lnTo>
                  <a:lnTo>
                    <a:pt x="182" y="425"/>
                  </a:lnTo>
                  <a:lnTo>
                    <a:pt x="26" y="436"/>
                  </a:lnTo>
                  <a:lnTo>
                    <a:pt x="79" y="366"/>
                  </a:lnTo>
                  <a:lnTo>
                    <a:pt x="0" y="267"/>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71" name="30575372.125595.255.3754.255">
              <a:extLst>
                <a:ext uri="{FF2B5EF4-FFF2-40B4-BE49-F238E27FC236}">
                  <a16:creationId xmlns:a16="http://schemas.microsoft.com/office/drawing/2014/main" id="{7F1E248C-F870-4A56-AA05-02DC42EAFE40}"/>
                </a:ext>
              </a:extLst>
            </p:cNvPr>
            <p:cNvSpPr>
              <a:spLocks noChangeAspect="1"/>
            </p:cNvSpPr>
            <p:nvPr/>
          </p:nvSpPr>
          <p:spPr bwMode="gray">
            <a:xfrm>
              <a:off x="9215138" y="4325957"/>
              <a:ext cx="66571" cy="85779"/>
            </a:xfrm>
            <a:custGeom>
              <a:avLst/>
              <a:gdLst/>
              <a:ahLst/>
              <a:cxnLst>
                <a:cxn ang="0">
                  <a:pos x="0" y="97"/>
                </a:cxn>
                <a:cxn ang="0">
                  <a:pos x="54" y="51"/>
                </a:cxn>
                <a:cxn ang="0">
                  <a:pos x="77" y="0"/>
                </a:cxn>
                <a:cxn ang="0">
                  <a:pos x="0" y="97"/>
                </a:cxn>
              </a:cxnLst>
              <a:rect l="0" t="0" r="r" b="b"/>
              <a:pathLst>
                <a:path w="77" h="97">
                  <a:moveTo>
                    <a:pt x="0" y="97"/>
                  </a:moveTo>
                  <a:lnTo>
                    <a:pt x="54" y="51"/>
                  </a:lnTo>
                  <a:lnTo>
                    <a:pt x="77" y="0"/>
                  </a:lnTo>
                  <a:lnTo>
                    <a:pt x="0" y="97"/>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72" name="30576358.25600.2511.57.755">
              <a:extLst>
                <a:ext uri="{FF2B5EF4-FFF2-40B4-BE49-F238E27FC236}">
                  <a16:creationId xmlns:a16="http://schemas.microsoft.com/office/drawing/2014/main" id="{660E3226-6E30-4EC6-B3AE-DAE4FF82EA84}"/>
                </a:ext>
              </a:extLst>
            </p:cNvPr>
            <p:cNvSpPr>
              <a:spLocks noChangeAspect="1"/>
            </p:cNvSpPr>
            <p:nvPr/>
          </p:nvSpPr>
          <p:spPr bwMode="gray">
            <a:xfrm>
              <a:off x="9295021" y="4100570"/>
              <a:ext cx="127436" cy="186699"/>
            </a:xfrm>
            <a:custGeom>
              <a:avLst/>
              <a:gdLst/>
              <a:ahLst/>
              <a:cxnLst>
                <a:cxn ang="0">
                  <a:pos x="0" y="79"/>
                </a:cxn>
                <a:cxn ang="0">
                  <a:pos x="26" y="0"/>
                </a:cxn>
                <a:cxn ang="0">
                  <a:pos x="74" y="2"/>
                </a:cxn>
                <a:cxn ang="0">
                  <a:pos x="87" y="55"/>
                </a:cxn>
                <a:cxn ang="0">
                  <a:pos x="49" y="110"/>
                </a:cxn>
                <a:cxn ang="0">
                  <a:pos x="58" y="141"/>
                </a:cxn>
                <a:cxn ang="0">
                  <a:pos x="130" y="161"/>
                </a:cxn>
                <a:cxn ang="0">
                  <a:pos x="136" y="203"/>
                </a:cxn>
                <a:cxn ang="0">
                  <a:pos x="92" y="161"/>
                </a:cxn>
                <a:cxn ang="0">
                  <a:pos x="92" y="181"/>
                </a:cxn>
                <a:cxn ang="0">
                  <a:pos x="26" y="161"/>
                </a:cxn>
                <a:cxn ang="0">
                  <a:pos x="0" y="79"/>
                </a:cxn>
              </a:cxnLst>
              <a:rect l="0" t="0" r="r" b="b"/>
              <a:pathLst>
                <a:path w="136" h="203">
                  <a:moveTo>
                    <a:pt x="0" y="79"/>
                  </a:moveTo>
                  <a:lnTo>
                    <a:pt x="26" y="0"/>
                  </a:lnTo>
                  <a:lnTo>
                    <a:pt x="74" y="2"/>
                  </a:lnTo>
                  <a:lnTo>
                    <a:pt x="87" y="55"/>
                  </a:lnTo>
                  <a:lnTo>
                    <a:pt x="49" y="110"/>
                  </a:lnTo>
                  <a:lnTo>
                    <a:pt x="58" y="141"/>
                  </a:lnTo>
                  <a:lnTo>
                    <a:pt x="130" y="161"/>
                  </a:lnTo>
                  <a:lnTo>
                    <a:pt x="136" y="203"/>
                  </a:lnTo>
                  <a:lnTo>
                    <a:pt x="92" y="161"/>
                  </a:lnTo>
                  <a:lnTo>
                    <a:pt x="92" y="181"/>
                  </a:lnTo>
                  <a:lnTo>
                    <a:pt x="26" y="161"/>
                  </a:lnTo>
                  <a:lnTo>
                    <a:pt x="0" y="7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73" name="305773686012.3752.1255">
              <a:extLst>
                <a:ext uri="{FF2B5EF4-FFF2-40B4-BE49-F238E27FC236}">
                  <a16:creationId xmlns:a16="http://schemas.microsoft.com/office/drawing/2014/main" id="{32578E06-2208-4035-9D53-626AB76F6EFE}"/>
                </a:ext>
              </a:extLst>
            </p:cNvPr>
            <p:cNvSpPr>
              <a:spLocks noChangeAspect="1"/>
            </p:cNvSpPr>
            <p:nvPr/>
          </p:nvSpPr>
          <p:spPr bwMode="gray">
            <a:xfrm>
              <a:off x="9308337" y="4256995"/>
              <a:ext cx="34238" cy="38688"/>
            </a:xfrm>
            <a:custGeom>
              <a:avLst/>
              <a:gdLst/>
              <a:ahLst/>
              <a:cxnLst>
                <a:cxn ang="0">
                  <a:pos x="0" y="0"/>
                </a:cxn>
                <a:cxn ang="0">
                  <a:pos x="20" y="0"/>
                </a:cxn>
                <a:cxn ang="0">
                  <a:pos x="39" y="8"/>
                </a:cxn>
                <a:cxn ang="0">
                  <a:pos x="29" y="41"/>
                </a:cxn>
                <a:cxn ang="0">
                  <a:pos x="0" y="0"/>
                </a:cxn>
              </a:cxnLst>
              <a:rect l="0" t="0" r="r" b="b"/>
              <a:pathLst>
                <a:path w="39" h="41">
                  <a:moveTo>
                    <a:pt x="0" y="0"/>
                  </a:moveTo>
                  <a:lnTo>
                    <a:pt x="20" y="0"/>
                  </a:lnTo>
                  <a:lnTo>
                    <a:pt x="39" y="8"/>
                  </a:lnTo>
                  <a:lnTo>
                    <a:pt x="29" y="41"/>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74" name="305783716042.87525">
              <a:extLst>
                <a:ext uri="{FF2B5EF4-FFF2-40B4-BE49-F238E27FC236}">
                  <a16:creationId xmlns:a16="http://schemas.microsoft.com/office/drawing/2014/main" id="{A978355C-293D-43D1-AD68-4E85BF776B11}"/>
                </a:ext>
              </a:extLst>
            </p:cNvPr>
            <p:cNvSpPr>
              <a:spLocks noChangeAspect="1"/>
            </p:cNvSpPr>
            <p:nvPr/>
          </p:nvSpPr>
          <p:spPr bwMode="gray">
            <a:xfrm>
              <a:off x="9355887" y="4307455"/>
              <a:ext cx="30433" cy="45414"/>
            </a:xfrm>
            <a:custGeom>
              <a:avLst/>
              <a:gdLst/>
              <a:ahLst/>
              <a:cxnLst>
                <a:cxn ang="0">
                  <a:pos x="0" y="0"/>
                </a:cxn>
                <a:cxn ang="0">
                  <a:pos x="3" y="52"/>
                </a:cxn>
                <a:cxn ang="0">
                  <a:pos x="36" y="30"/>
                </a:cxn>
                <a:cxn ang="0">
                  <a:pos x="0" y="0"/>
                </a:cxn>
              </a:cxnLst>
              <a:rect l="0" t="0" r="r" b="b"/>
              <a:pathLst>
                <a:path w="36" h="52">
                  <a:moveTo>
                    <a:pt x="0" y="0"/>
                  </a:moveTo>
                  <a:lnTo>
                    <a:pt x="3" y="52"/>
                  </a:lnTo>
                  <a:lnTo>
                    <a:pt x="36" y="30"/>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75" name="30579375.125604.1257.758.255">
              <a:extLst>
                <a:ext uri="{FF2B5EF4-FFF2-40B4-BE49-F238E27FC236}">
                  <a16:creationId xmlns:a16="http://schemas.microsoft.com/office/drawing/2014/main" id="{1936202E-CC10-4B92-B6C7-A4EFDB09F58C}"/>
                </a:ext>
              </a:extLst>
            </p:cNvPr>
            <p:cNvSpPr>
              <a:spLocks noChangeAspect="1"/>
            </p:cNvSpPr>
            <p:nvPr/>
          </p:nvSpPr>
          <p:spPr bwMode="gray">
            <a:xfrm>
              <a:off x="9357787" y="4373052"/>
              <a:ext cx="133142" cy="124467"/>
            </a:xfrm>
            <a:custGeom>
              <a:avLst/>
              <a:gdLst/>
              <a:ahLst/>
              <a:cxnLst>
                <a:cxn ang="0">
                  <a:pos x="0" y="95"/>
                </a:cxn>
                <a:cxn ang="0">
                  <a:pos x="31" y="45"/>
                </a:cxn>
                <a:cxn ang="0">
                  <a:pos x="68" y="54"/>
                </a:cxn>
                <a:cxn ang="0">
                  <a:pos x="121" y="0"/>
                </a:cxn>
                <a:cxn ang="0">
                  <a:pos x="145" y="32"/>
                </a:cxn>
                <a:cxn ang="0">
                  <a:pos x="141" y="114"/>
                </a:cxn>
                <a:cxn ang="0">
                  <a:pos x="129" y="80"/>
                </a:cxn>
                <a:cxn ang="0">
                  <a:pos x="115" y="139"/>
                </a:cxn>
                <a:cxn ang="0">
                  <a:pos x="78" y="123"/>
                </a:cxn>
                <a:cxn ang="0">
                  <a:pos x="56" y="62"/>
                </a:cxn>
                <a:cxn ang="0">
                  <a:pos x="0" y="95"/>
                </a:cxn>
              </a:cxnLst>
              <a:rect l="0" t="0" r="r" b="b"/>
              <a:pathLst>
                <a:path w="145" h="139">
                  <a:moveTo>
                    <a:pt x="0" y="95"/>
                  </a:moveTo>
                  <a:lnTo>
                    <a:pt x="31" y="45"/>
                  </a:lnTo>
                  <a:lnTo>
                    <a:pt x="68" y="54"/>
                  </a:lnTo>
                  <a:lnTo>
                    <a:pt x="121" y="0"/>
                  </a:lnTo>
                  <a:lnTo>
                    <a:pt x="145" y="32"/>
                  </a:lnTo>
                  <a:lnTo>
                    <a:pt x="141" y="114"/>
                  </a:lnTo>
                  <a:lnTo>
                    <a:pt x="129" y="80"/>
                  </a:lnTo>
                  <a:lnTo>
                    <a:pt x="115" y="139"/>
                  </a:lnTo>
                  <a:lnTo>
                    <a:pt x="78" y="123"/>
                  </a:lnTo>
                  <a:lnTo>
                    <a:pt x="56" y="62"/>
                  </a:lnTo>
                  <a:lnTo>
                    <a:pt x="0" y="9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76" name="30580373.125605.1253.251.8755">
              <a:extLst>
                <a:ext uri="{FF2B5EF4-FFF2-40B4-BE49-F238E27FC236}">
                  <a16:creationId xmlns:a16="http://schemas.microsoft.com/office/drawing/2014/main" id="{279B51E9-162A-4255-B79D-8BF62C931F1C}"/>
                </a:ext>
              </a:extLst>
            </p:cNvPr>
            <p:cNvSpPr>
              <a:spLocks noChangeAspect="1"/>
            </p:cNvSpPr>
            <p:nvPr/>
          </p:nvSpPr>
          <p:spPr bwMode="gray">
            <a:xfrm>
              <a:off x="9374904" y="4341094"/>
              <a:ext cx="28532" cy="53825"/>
            </a:xfrm>
            <a:custGeom>
              <a:avLst/>
              <a:gdLst/>
              <a:ahLst/>
              <a:cxnLst>
                <a:cxn ang="0">
                  <a:pos x="0" y="35"/>
                </a:cxn>
                <a:cxn ang="0">
                  <a:pos x="8" y="24"/>
                </a:cxn>
                <a:cxn ang="0">
                  <a:pos x="33" y="0"/>
                </a:cxn>
                <a:cxn ang="0">
                  <a:pos x="22" y="56"/>
                </a:cxn>
                <a:cxn ang="0">
                  <a:pos x="0" y="35"/>
                </a:cxn>
              </a:cxnLst>
              <a:rect l="0" t="0" r="r" b="b"/>
              <a:pathLst>
                <a:path w="33" h="56">
                  <a:moveTo>
                    <a:pt x="0" y="35"/>
                  </a:moveTo>
                  <a:lnTo>
                    <a:pt x="8" y="24"/>
                  </a:lnTo>
                  <a:lnTo>
                    <a:pt x="33" y="0"/>
                  </a:lnTo>
                  <a:lnTo>
                    <a:pt x="22" y="56"/>
                  </a:lnTo>
                  <a:lnTo>
                    <a:pt x="0" y="3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77" name="30581354558.2528.7514.8755">
              <a:extLst>
                <a:ext uri="{FF2B5EF4-FFF2-40B4-BE49-F238E27FC236}">
                  <a16:creationId xmlns:a16="http://schemas.microsoft.com/office/drawing/2014/main" id="{893D8FD0-EDE3-46C5-9AFC-E07D6CC9F20F}"/>
                </a:ext>
              </a:extLst>
            </p:cNvPr>
            <p:cNvSpPr>
              <a:spLocks noChangeAspect="1"/>
            </p:cNvSpPr>
            <p:nvPr/>
          </p:nvSpPr>
          <p:spPr bwMode="gray">
            <a:xfrm>
              <a:off x="8623613" y="4031608"/>
              <a:ext cx="237752" cy="465911"/>
            </a:xfrm>
            <a:custGeom>
              <a:avLst/>
              <a:gdLst/>
              <a:ahLst/>
              <a:cxnLst>
                <a:cxn ang="0">
                  <a:pos x="0" y="82"/>
                </a:cxn>
                <a:cxn ang="0">
                  <a:pos x="18" y="42"/>
                </a:cxn>
                <a:cxn ang="0">
                  <a:pos x="89" y="0"/>
                </a:cxn>
                <a:cxn ang="0">
                  <a:pos x="121" y="40"/>
                </a:cxn>
                <a:cxn ang="0">
                  <a:pos x="111" y="109"/>
                </a:cxn>
                <a:cxn ang="0">
                  <a:pos x="196" y="79"/>
                </a:cxn>
                <a:cxn ang="0">
                  <a:pos x="232" y="109"/>
                </a:cxn>
                <a:cxn ang="0">
                  <a:pos x="264" y="176"/>
                </a:cxn>
                <a:cxn ang="0">
                  <a:pos x="253" y="219"/>
                </a:cxn>
                <a:cxn ang="0">
                  <a:pos x="188" y="216"/>
                </a:cxn>
                <a:cxn ang="0">
                  <a:pos x="165" y="236"/>
                </a:cxn>
                <a:cxn ang="0">
                  <a:pos x="177" y="307"/>
                </a:cxn>
                <a:cxn ang="0">
                  <a:pos x="90" y="245"/>
                </a:cxn>
                <a:cxn ang="0">
                  <a:pos x="55" y="355"/>
                </a:cxn>
                <a:cxn ang="0">
                  <a:pos x="96" y="456"/>
                </a:cxn>
                <a:cxn ang="0">
                  <a:pos x="155" y="491"/>
                </a:cxn>
                <a:cxn ang="0">
                  <a:pos x="123" y="511"/>
                </a:cxn>
                <a:cxn ang="0">
                  <a:pos x="115" y="480"/>
                </a:cxn>
                <a:cxn ang="0">
                  <a:pos x="90" y="480"/>
                </a:cxn>
                <a:cxn ang="0">
                  <a:pos x="24" y="424"/>
                </a:cxn>
                <a:cxn ang="0">
                  <a:pos x="35" y="359"/>
                </a:cxn>
                <a:cxn ang="0">
                  <a:pos x="70" y="300"/>
                </a:cxn>
                <a:cxn ang="0">
                  <a:pos x="23" y="201"/>
                </a:cxn>
                <a:cxn ang="0">
                  <a:pos x="38" y="157"/>
                </a:cxn>
                <a:cxn ang="0">
                  <a:pos x="0" y="82"/>
                </a:cxn>
              </a:cxnLst>
              <a:rect l="0" t="0" r="r" b="b"/>
              <a:pathLst>
                <a:path w="264" h="511">
                  <a:moveTo>
                    <a:pt x="0" y="82"/>
                  </a:moveTo>
                  <a:lnTo>
                    <a:pt x="18" y="42"/>
                  </a:lnTo>
                  <a:lnTo>
                    <a:pt x="89" y="0"/>
                  </a:lnTo>
                  <a:lnTo>
                    <a:pt x="121" y="40"/>
                  </a:lnTo>
                  <a:lnTo>
                    <a:pt x="111" y="109"/>
                  </a:lnTo>
                  <a:lnTo>
                    <a:pt x="196" y="79"/>
                  </a:lnTo>
                  <a:lnTo>
                    <a:pt x="232" y="109"/>
                  </a:lnTo>
                  <a:lnTo>
                    <a:pt x="264" y="176"/>
                  </a:lnTo>
                  <a:lnTo>
                    <a:pt x="253" y="219"/>
                  </a:lnTo>
                  <a:lnTo>
                    <a:pt x="188" y="216"/>
                  </a:lnTo>
                  <a:lnTo>
                    <a:pt x="165" y="236"/>
                  </a:lnTo>
                  <a:lnTo>
                    <a:pt x="177" y="307"/>
                  </a:lnTo>
                  <a:lnTo>
                    <a:pt x="90" y="245"/>
                  </a:lnTo>
                  <a:lnTo>
                    <a:pt x="55" y="355"/>
                  </a:lnTo>
                  <a:lnTo>
                    <a:pt x="96" y="456"/>
                  </a:lnTo>
                  <a:lnTo>
                    <a:pt x="155" y="491"/>
                  </a:lnTo>
                  <a:lnTo>
                    <a:pt x="123" y="511"/>
                  </a:lnTo>
                  <a:lnTo>
                    <a:pt x="115" y="480"/>
                  </a:lnTo>
                  <a:lnTo>
                    <a:pt x="90" y="480"/>
                  </a:lnTo>
                  <a:lnTo>
                    <a:pt x="24" y="424"/>
                  </a:lnTo>
                  <a:lnTo>
                    <a:pt x="35" y="359"/>
                  </a:lnTo>
                  <a:lnTo>
                    <a:pt x="70" y="300"/>
                  </a:lnTo>
                  <a:lnTo>
                    <a:pt x="23" y="201"/>
                  </a:lnTo>
                  <a:lnTo>
                    <a:pt x="38" y="157"/>
                  </a:lnTo>
                  <a:lnTo>
                    <a:pt x="0" y="82"/>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78" name="30582349.25566.8752813.1255">
              <a:extLst>
                <a:ext uri="{FF2B5EF4-FFF2-40B4-BE49-F238E27FC236}">
                  <a16:creationId xmlns:a16="http://schemas.microsoft.com/office/drawing/2014/main" id="{BBD06A56-E744-411D-A6CE-380920A6445D}"/>
                </a:ext>
              </a:extLst>
            </p:cNvPr>
            <p:cNvSpPr>
              <a:spLocks noChangeAspect="1"/>
            </p:cNvSpPr>
            <p:nvPr/>
          </p:nvSpPr>
          <p:spPr bwMode="gray">
            <a:xfrm>
              <a:off x="8760556" y="3954236"/>
              <a:ext cx="211120" cy="454139"/>
            </a:xfrm>
            <a:custGeom>
              <a:avLst/>
              <a:gdLst/>
              <a:ahLst/>
              <a:cxnLst>
                <a:cxn ang="0">
                  <a:pos x="0" y="25"/>
                </a:cxn>
                <a:cxn ang="0">
                  <a:pos x="34" y="77"/>
                </a:cxn>
                <a:cxn ang="0">
                  <a:pos x="79" y="98"/>
                </a:cxn>
                <a:cxn ang="0">
                  <a:pos x="57" y="136"/>
                </a:cxn>
                <a:cxn ang="0">
                  <a:pos x="138" y="202"/>
                </a:cxn>
                <a:cxn ang="0">
                  <a:pos x="174" y="292"/>
                </a:cxn>
                <a:cxn ang="0">
                  <a:pos x="178" y="369"/>
                </a:cxn>
                <a:cxn ang="0">
                  <a:pos x="78" y="435"/>
                </a:cxn>
                <a:cxn ang="0">
                  <a:pos x="94" y="497"/>
                </a:cxn>
                <a:cxn ang="0">
                  <a:pos x="126" y="453"/>
                </a:cxn>
                <a:cxn ang="0">
                  <a:pos x="144" y="465"/>
                </a:cxn>
                <a:cxn ang="0">
                  <a:pos x="152" y="437"/>
                </a:cxn>
                <a:cxn ang="0">
                  <a:pos x="232" y="392"/>
                </a:cxn>
                <a:cxn ang="0">
                  <a:pos x="221" y="267"/>
                </a:cxn>
                <a:cxn ang="0">
                  <a:pos x="114" y="151"/>
                </a:cxn>
                <a:cxn ang="0">
                  <a:pos x="125" y="114"/>
                </a:cxn>
                <a:cxn ang="0">
                  <a:pos x="189" y="58"/>
                </a:cxn>
                <a:cxn ang="0">
                  <a:pos x="99" y="0"/>
                </a:cxn>
                <a:cxn ang="0">
                  <a:pos x="0" y="25"/>
                </a:cxn>
              </a:cxnLst>
              <a:rect l="0" t="0" r="r" b="b"/>
              <a:pathLst>
                <a:path w="232" h="497">
                  <a:moveTo>
                    <a:pt x="0" y="25"/>
                  </a:moveTo>
                  <a:lnTo>
                    <a:pt x="34" y="77"/>
                  </a:lnTo>
                  <a:lnTo>
                    <a:pt x="79" y="98"/>
                  </a:lnTo>
                  <a:lnTo>
                    <a:pt x="57" y="136"/>
                  </a:lnTo>
                  <a:lnTo>
                    <a:pt x="138" y="202"/>
                  </a:lnTo>
                  <a:lnTo>
                    <a:pt x="174" y="292"/>
                  </a:lnTo>
                  <a:lnTo>
                    <a:pt x="178" y="369"/>
                  </a:lnTo>
                  <a:lnTo>
                    <a:pt x="78" y="435"/>
                  </a:lnTo>
                  <a:lnTo>
                    <a:pt x="94" y="497"/>
                  </a:lnTo>
                  <a:lnTo>
                    <a:pt x="126" y="453"/>
                  </a:lnTo>
                  <a:lnTo>
                    <a:pt x="144" y="465"/>
                  </a:lnTo>
                  <a:lnTo>
                    <a:pt x="152" y="437"/>
                  </a:lnTo>
                  <a:lnTo>
                    <a:pt x="232" y="392"/>
                  </a:lnTo>
                  <a:lnTo>
                    <a:pt x="221" y="267"/>
                  </a:lnTo>
                  <a:lnTo>
                    <a:pt x="114" y="151"/>
                  </a:lnTo>
                  <a:lnTo>
                    <a:pt x="125" y="114"/>
                  </a:lnTo>
                  <a:lnTo>
                    <a:pt x="189" y="58"/>
                  </a:lnTo>
                  <a:lnTo>
                    <a:pt x="99" y="0"/>
                  </a:lnTo>
                  <a:lnTo>
                    <a:pt x="0" y="2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79" name="30583357.375456.2512.25185">
              <a:extLst>
                <a:ext uri="{FF2B5EF4-FFF2-40B4-BE49-F238E27FC236}">
                  <a16:creationId xmlns:a16="http://schemas.microsoft.com/office/drawing/2014/main" id="{F138C939-AE7E-4F85-8F73-3306836A04AB}"/>
                </a:ext>
              </a:extLst>
            </p:cNvPr>
            <p:cNvSpPr>
              <a:spLocks noChangeAspect="1"/>
            </p:cNvSpPr>
            <p:nvPr/>
          </p:nvSpPr>
          <p:spPr bwMode="gray">
            <a:xfrm>
              <a:off x="6987889" y="4088794"/>
              <a:ext cx="287202" cy="195110"/>
            </a:xfrm>
            <a:custGeom>
              <a:avLst/>
              <a:gdLst/>
              <a:ahLst/>
              <a:cxnLst>
                <a:cxn ang="0">
                  <a:pos x="0" y="216"/>
                </a:cxn>
                <a:cxn ang="0">
                  <a:pos x="85" y="168"/>
                </a:cxn>
                <a:cxn ang="0">
                  <a:pos x="70" y="145"/>
                </a:cxn>
                <a:cxn ang="0">
                  <a:pos x="95" y="117"/>
                </a:cxn>
                <a:cxn ang="0">
                  <a:pos x="180" y="24"/>
                </a:cxn>
                <a:cxn ang="0">
                  <a:pos x="287" y="0"/>
                </a:cxn>
                <a:cxn ang="0">
                  <a:pos x="322" y="84"/>
                </a:cxn>
                <a:cxn ang="0">
                  <a:pos x="294" y="117"/>
                </a:cxn>
                <a:cxn ang="0">
                  <a:pos x="172" y="175"/>
                </a:cxn>
                <a:cxn ang="0">
                  <a:pos x="0" y="216"/>
                </a:cxn>
              </a:cxnLst>
              <a:rect l="0" t="0" r="r" b="b"/>
              <a:pathLst>
                <a:path w="322" h="216">
                  <a:moveTo>
                    <a:pt x="0" y="216"/>
                  </a:moveTo>
                  <a:lnTo>
                    <a:pt x="85" y="168"/>
                  </a:lnTo>
                  <a:lnTo>
                    <a:pt x="70" y="145"/>
                  </a:lnTo>
                  <a:lnTo>
                    <a:pt x="95" y="117"/>
                  </a:lnTo>
                  <a:lnTo>
                    <a:pt x="180" y="24"/>
                  </a:lnTo>
                  <a:lnTo>
                    <a:pt x="287" y="0"/>
                  </a:lnTo>
                  <a:lnTo>
                    <a:pt x="322" y="84"/>
                  </a:lnTo>
                  <a:lnTo>
                    <a:pt x="294" y="117"/>
                  </a:lnTo>
                  <a:lnTo>
                    <a:pt x="172" y="175"/>
                  </a:lnTo>
                  <a:lnTo>
                    <a:pt x="0" y="216"/>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80" name="30584360.625454.7596.755">
              <a:extLst>
                <a:ext uri="{FF2B5EF4-FFF2-40B4-BE49-F238E27FC236}">
                  <a16:creationId xmlns:a16="http://schemas.microsoft.com/office/drawing/2014/main" id="{2B8D1B64-506B-4562-9B5D-E944657A4EF7}"/>
                </a:ext>
              </a:extLst>
            </p:cNvPr>
            <p:cNvSpPr>
              <a:spLocks noChangeAspect="1"/>
            </p:cNvSpPr>
            <p:nvPr/>
          </p:nvSpPr>
          <p:spPr bwMode="gray">
            <a:xfrm>
              <a:off x="6963162" y="4139254"/>
              <a:ext cx="106511" cy="144650"/>
            </a:xfrm>
            <a:custGeom>
              <a:avLst/>
              <a:gdLst/>
              <a:ahLst/>
              <a:cxnLst>
                <a:cxn ang="0">
                  <a:pos x="0" y="32"/>
                </a:cxn>
                <a:cxn ang="0">
                  <a:pos x="26" y="158"/>
                </a:cxn>
                <a:cxn ang="0">
                  <a:pos x="111" y="110"/>
                </a:cxn>
                <a:cxn ang="0">
                  <a:pos x="96" y="87"/>
                </a:cxn>
                <a:cxn ang="0">
                  <a:pos x="121" y="59"/>
                </a:cxn>
                <a:cxn ang="0">
                  <a:pos x="121" y="24"/>
                </a:cxn>
                <a:cxn ang="0">
                  <a:pos x="60" y="0"/>
                </a:cxn>
                <a:cxn ang="0">
                  <a:pos x="0" y="32"/>
                </a:cxn>
              </a:cxnLst>
              <a:rect l="0" t="0" r="r" b="b"/>
              <a:pathLst>
                <a:path w="121" h="158">
                  <a:moveTo>
                    <a:pt x="0" y="32"/>
                  </a:moveTo>
                  <a:lnTo>
                    <a:pt x="26" y="158"/>
                  </a:lnTo>
                  <a:lnTo>
                    <a:pt x="111" y="110"/>
                  </a:lnTo>
                  <a:lnTo>
                    <a:pt x="96" y="87"/>
                  </a:lnTo>
                  <a:lnTo>
                    <a:pt x="121" y="59"/>
                  </a:lnTo>
                  <a:lnTo>
                    <a:pt x="121" y="24"/>
                  </a:lnTo>
                  <a:lnTo>
                    <a:pt x="60" y="0"/>
                  </a:lnTo>
                  <a:lnTo>
                    <a:pt x="0" y="32"/>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81" name="30585435.5405.37524.7530.755">
              <a:extLst>
                <a:ext uri="{FF2B5EF4-FFF2-40B4-BE49-F238E27FC236}">
                  <a16:creationId xmlns:a16="http://schemas.microsoft.com/office/drawing/2014/main" id="{8B089E34-A4EA-43A9-9C1D-C69D1E07BFA8}"/>
                </a:ext>
              </a:extLst>
            </p:cNvPr>
            <p:cNvSpPr>
              <a:spLocks noChangeAspect="1"/>
            </p:cNvSpPr>
            <p:nvPr/>
          </p:nvSpPr>
          <p:spPr bwMode="gray">
            <a:xfrm>
              <a:off x="6171928" y="5351972"/>
              <a:ext cx="492621" cy="400314"/>
            </a:xfrm>
            <a:custGeom>
              <a:avLst/>
              <a:gdLst/>
              <a:ahLst/>
              <a:cxnLst>
                <a:cxn ang="0">
                  <a:pos x="0" y="231"/>
                </a:cxn>
                <a:cxn ang="0">
                  <a:pos x="19" y="216"/>
                </a:cxn>
                <a:cxn ang="0">
                  <a:pos x="43" y="245"/>
                </a:cxn>
                <a:cxn ang="0">
                  <a:pos x="85" y="245"/>
                </a:cxn>
                <a:cxn ang="0">
                  <a:pos x="114" y="224"/>
                </a:cxn>
                <a:cxn ang="0">
                  <a:pos x="114" y="88"/>
                </a:cxn>
                <a:cxn ang="0">
                  <a:pos x="143" y="123"/>
                </a:cxn>
                <a:cxn ang="0">
                  <a:pos x="142" y="160"/>
                </a:cxn>
                <a:cxn ang="0">
                  <a:pos x="188" y="158"/>
                </a:cxn>
                <a:cxn ang="0">
                  <a:pos x="228" y="117"/>
                </a:cxn>
                <a:cxn ang="0">
                  <a:pos x="301" y="117"/>
                </a:cxn>
                <a:cxn ang="0">
                  <a:pos x="427" y="0"/>
                </a:cxn>
                <a:cxn ang="0">
                  <a:pos x="503" y="17"/>
                </a:cxn>
                <a:cxn ang="0">
                  <a:pos x="515" y="125"/>
                </a:cxn>
                <a:cxn ang="0">
                  <a:pos x="480" y="156"/>
                </a:cxn>
                <a:cxn ang="0">
                  <a:pos x="502" y="179"/>
                </a:cxn>
                <a:cxn ang="0">
                  <a:pos x="519" y="160"/>
                </a:cxn>
                <a:cxn ang="0">
                  <a:pos x="546" y="160"/>
                </a:cxn>
                <a:cxn ang="0">
                  <a:pos x="532" y="224"/>
                </a:cxn>
                <a:cxn ang="0">
                  <a:pos x="452" y="323"/>
                </a:cxn>
                <a:cxn ang="0">
                  <a:pos x="353" y="409"/>
                </a:cxn>
                <a:cxn ang="0">
                  <a:pos x="279" y="438"/>
                </a:cxn>
                <a:cxn ang="0">
                  <a:pos x="65" y="439"/>
                </a:cxn>
                <a:cxn ang="0">
                  <a:pos x="47" y="390"/>
                </a:cxn>
                <a:cxn ang="0">
                  <a:pos x="55" y="351"/>
                </a:cxn>
                <a:cxn ang="0">
                  <a:pos x="0" y="231"/>
                </a:cxn>
              </a:cxnLst>
              <a:rect l="0" t="0" r="r" b="b"/>
              <a:pathLst>
                <a:path w="546" h="439">
                  <a:moveTo>
                    <a:pt x="0" y="231"/>
                  </a:moveTo>
                  <a:lnTo>
                    <a:pt x="19" y="216"/>
                  </a:lnTo>
                  <a:lnTo>
                    <a:pt x="43" y="245"/>
                  </a:lnTo>
                  <a:lnTo>
                    <a:pt x="85" y="245"/>
                  </a:lnTo>
                  <a:lnTo>
                    <a:pt x="114" y="224"/>
                  </a:lnTo>
                  <a:lnTo>
                    <a:pt x="114" y="88"/>
                  </a:lnTo>
                  <a:lnTo>
                    <a:pt x="143" y="123"/>
                  </a:lnTo>
                  <a:lnTo>
                    <a:pt x="142" y="160"/>
                  </a:lnTo>
                  <a:lnTo>
                    <a:pt x="188" y="158"/>
                  </a:lnTo>
                  <a:lnTo>
                    <a:pt x="228" y="117"/>
                  </a:lnTo>
                  <a:lnTo>
                    <a:pt x="301" y="117"/>
                  </a:lnTo>
                  <a:lnTo>
                    <a:pt x="427" y="0"/>
                  </a:lnTo>
                  <a:lnTo>
                    <a:pt x="503" y="17"/>
                  </a:lnTo>
                  <a:lnTo>
                    <a:pt x="515" y="125"/>
                  </a:lnTo>
                  <a:lnTo>
                    <a:pt x="480" y="156"/>
                  </a:lnTo>
                  <a:lnTo>
                    <a:pt x="502" y="179"/>
                  </a:lnTo>
                  <a:lnTo>
                    <a:pt x="519" y="160"/>
                  </a:lnTo>
                  <a:lnTo>
                    <a:pt x="546" y="160"/>
                  </a:lnTo>
                  <a:lnTo>
                    <a:pt x="532" y="224"/>
                  </a:lnTo>
                  <a:lnTo>
                    <a:pt x="452" y="323"/>
                  </a:lnTo>
                  <a:lnTo>
                    <a:pt x="353" y="409"/>
                  </a:lnTo>
                  <a:lnTo>
                    <a:pt x="279" y="438"/>
                  </a:lnTo>
                  <a:lnTo>
                    <a:pt x="65" y="439"/>
                  </a:lnTo>
                  <a:lnTo>
                    <a:pt x="47" y="390"/>
                  </a:lnTo>
                  <a:lnTo>
                    <a:pt x="55" y="351"/>
                  </a:lnTo>
                  <a:lnTo>
                    <a:pt x="0" y="231"/>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82" name="30586404.125396.12523.37523.8755">
              <a:extLst>
                <a:ext uri="{FF2B5EF4-FFF2-40B4-BE49-F238E27FC236}">
                  <a16:creationId xmlns:a16="http://schemas.microsoft.com/office/drawing/2014/main" id="{72AB9604-1F5A-4992-BFFE-C1E8CEFA81D6}"/>
                </a:ext>
              </a:extLst>
            </p:cNvPr>
            <p:cNvSpPr>
              <a:spLocks noChangeAspect="1"/>
            </p:cNvSpPr>
            <p:nvPr/>
          </p:nvSpPr>
          <p:spPr bwMode="gray">
            <a:xfrm>
              <a:off x="6021669" y="4842328"/>
              <a:ext cx="384206" cy="381812"/>
            </a:xfrm>
            <a:custGeom>
              <a:avLst/>
              <a:gdLst/>
              <a:ahLst/>
              <a:cxnLst>
                <a:cxn ang="0">
                  <a:pos x="0" y="388"/>
                </a:cxn>
                <a:cxn ang="0">
                  <a:pos x="55" y="374"/>
                </a:cxn>
                <a:cxn ang="0">
                  <a:pos x="328" y="414"/>
                </a:cxn>
                <a:cxn ang="0">
                  <a:pos x="389" y="396"/>
                </a:cxn>
                <a:cxn ang="0">
                  <a:pos x="348" y="364"/>
                </a:cxn>
                <a:cxn ang="0">
                  <a:pos x="348" y="239"/>
                </a:cxn>
                <a:cxn ang="0">
                  <a:pos x="422" y="239"/>
                </a:cxn>
                <a:cxn ang="0">
                  <a:pos x="417" y="170"/>
                </a:cxn>
                <a:cxn ang="0">
                  <a:pos x="348" y="177"/>
                </a:cxn>
                <a:cxn ang="0">
                  <a:pos x="341" y="58"/>
                </a:cxn>
                <a:cxn ang="0">
                  <a:pos x="310" y="36"/>
                </a:cxn>
                <a:cxn ang="0">
                  <a:pos x="267" y="38"/>
                </a:cxn>
                <a:cxn ang="0">
                  <a:pos x="256" y="73"/>
                </a:cxn>
                <a:cxn ang="0">
                  <a:pos x="209" y="77"/>
                </a:cxn>
                <a:cxn ang="0">
                  <a:pos x="154" y="0"/>
                </a:cxn>
                <a:cxn ang="0">
                  <a:pos x="27" y="16"/>
                </a:cxn>
                <a:cxn ang="0">
                  <a:pos x="73" y="173"/>
                </a:cxn>
                <a:cxn ang="0">
                  <a:pos x="0" y="388"/>
                </a:cxn>
              </a:cxnLst>
              <a:rect l="0" t="0" r="r" b="b"/>
              <a:pathLst>
                <a:path w="422" h="414">
                  <a:moveTo>
                    <a:pt x="0" y="388"/>
                  </a:moveTo>
                  <a:lnTo>
                    <a:pt x="55" y="374"/>
                  </a:lnTo>
                  <a:lnTo>
                    <a:pt x="328" y="414"/>
                  </a:lnTo>
                  <a:lnTo>
                    <a:pt x="389" y="396"/>
                  </a:lnTo>
                  <a:lnTo>
                    <a:pt x="348" y="364"/>
                  </a:lnTo>
                  <a:lnTo>
                    <a:pt x="348" y="239"/>
                  </a:lnTo>
                  <a:lnTo>
                    <a:pt x="422" y="239"/>
                  </a:lnTo>
                  <a:lnTo>
                    <a:pt x="417" y="170"/>
                  </a:lnTo>
                  <a:lnTo>
                    <a:pt x="348" y="177"/>
                  </a:lnTo>
                  <a:lnTo>
                    <a:pt x="341" y="58"/>
                  </a:lnTo>
                  <a:lnTo>
                    <a:pt x="310" y="36"/>
                  </a:lnTo>
                  <a:lnTo>
                    <a:pt x="267" y="38"/>
                  </a:lnTo>
                  <a:lnTo>
                    <a:pt x="256" y="73"/>
                  </a:lnTo>
                  <a:lnTo>
                    <a:pt x="209" y="77"/>
                  </a:lnTo>
                  <a:lnTo>
                    <a:pt x="154" y="0"/>
                  </a:lnTo>
                  <a:lnTo>
                    <a:pt x="27" y="16"/>
                  </a:lnTo>
                  <a:lnTo>
                    <a:pt x="73" y="173"/>
                  </a:lnTo>
                  <a:lnTo>
                    <a:pt x="0" y="388"/>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83" name="30587402.25396.8751.8751.8755">
              <a:extLst>
                <a:ext uri="{FF2B5EF4-FFF2-40B4-BE49-F238E27FC236}">
                  <a16:creationId xmlns:a16="http://schemas.microsoft.com/office/drawing/2014/main" id="{D58FFC33-57A4-4A26-9939-F1AC595E778D}"/>
                </a:ext>
              </a:extLst>
            </p:cNvPr>
            <p:cNvSpPr>
              <a:spLocks noChangeAspect="1"/>
            </p:cNvSpPr>
            <p:nvPr/>
          </p:nvSpPr>
          <p:spPr bwMode="gray">
            <a:xfrm>
              <a:off x="6034981" y="4813735"/>
              <a:ext cx="32333" cy="28593"/>
            </a:xfrm>
            <a:custGeom>
              <a:avLst/>
              <a:gdLst/>
              <a:ahLst/>
              <a:cxnLst>
                <a:cxn ang="0">
                  <a:pos x="0" y="11"/>
                </a:cxn>
                <a:cxn ang="0">
                  <a:pos x="12" y="36"/>
                </a:cxn>
                <a:cxn ang="0">
                  <a:pos x="34" y="0"/>
                </a:cxn>
                <a:cxn ang="0">
                  <a:pos x="0" y="11"/>
                </a:cxn>
              </a:cxnLst>
              <a:rect l="0" t="0" r="r" b="b"/>
              <a:pathLst>
                <a:path w="34" h="36">
                  <a:moveTo>
                    <a:pt x="0" y="11"/>
                  </a:moveTo>
                  <a:lnTo>
                    <a:pt x="12" y="36"/>
                  </a:lnTo>
                  <a:lnTo>
                    <a:pt x="34" y="0"/>
                  </a:lnTo>
                  <a:lnTo>
                    <a:pt x="0" y="11"/>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84" name="30588427411.87517.37517.6255">
              <a:extLst>
                <a:ext uri="{FF2B5EF4-FFF2-40B4-BE49-F238E27FC236}">
                  <a16:creationId xmlns:a16="http://schemas.microsoft.com/office/drawing/2014/main" id="{2F9F2E66-4C70-4096-824E-A641A06ACB1B}"/>
                </a:ext>
              </a:extLst>
            </p:cNvPr>
            <p:cNvSpPr>
              <a:spLocks noChangeAspect="1"/>
            </p:cNvSpPr>
            <p:nvPr/>
          </p:nvSpPr>
          <p:spPr bwMode="gray">
            <a:xfrm>
              <a:off x="6276538" y="5214049"/>
              <a:ext cx="281497" cy="279212"/>
            </a:xfrm>
            <a:custGeom>
              <a:avLst/>
              <a:gdLst/>
              <a:ahLst/>
              <a:cxnLst>
                <a:cxn ang="0">
                  <a:pos x="0" y="238"/>
                </a:cxn>
                <a:cxn ang="0">
                  <a:pos x="0" y="145"/>
                </a:cxn>
                <a:cxn ang="0">
                  <a:pos x="34" y="143"/>
                </a:cxn>
                <a:cxn ang="0">
                  <a:pos x="34" y="24"/>
                </a:cxn>
                <a:cxn ang="0">
                  <a:pos x="99" y="10"/>
                </a:cxn>
                <a:cxn ang="0">
                  <a:pos x="120" y="31"/>
                </a:cxn>
                <a:cxn ang="0">
                  <a:pos x="175" y="0"/>
                </a:cxn>
                <a:cxn ang="0">
                  <a:pos x="268" y="128"/>
                </a:cxn>
                <a:cxn ang="0">
                  <a:pos x="313" y="150"/>
                </a:cxn>
                <a:cxn ang="0">
                  <a:pos x="187" y="267"/>
                </a:cxn>
                <a:cxn ang="0">
                  <a:pos x="114" y="267"/>
                </a:cxn>
                <a:cxn ang="0">
                  <a:pos x="74" y="308"/>
                </a:cxn>
                <a:cxn ang="0">
                  <a:pos x="28" y="310"/>
                </a:cxn>
                <a:cxn ang="0">
                  <a:pos x="29" y="273"/>
                </a:cxn>
                <a:cxn ang="0">
                  <a:pos x="0" y="238"/>
                </a:cxn>
              </a:cxnLst>
              <a:rect l="0" t="0" r="r" b="b"/>
              <a:pathLst>
                <a:path w="313" h="310">
                  <a:moveTo>
                    <a:pt x="0" y="238"/>
                  </a:moveTo>
                  <a:lnTo>
                    <a:pt x="0" y="145"/>
                  </a:lnTo>
                  <a:lnTo>
                    <a:pt x="34" y="143"/>
                  </a:lnTo>
                  <a:lnTo>
                    <a:pt x="34" y="24"/>
                  </a:lnTo>
                  <a:lnTo>
                    <a:pt x="99" y="10"/>
                  </a:lnTo>
                  <a:lnTo>
                    <a:pt x="120" y="31"/>
                  </a:lnTo>
                  <a:lnTo>
                    <a:pt x="175" y="0"/>
                  </a:lnTo>
                  <a:lnTo>
                    <a:pt x="268" y="128"/>
                  </a:lnTo>
                  <a:lnTo>
                    <a:pt x="313" y="150"/>
                  </a:lnTo>
                  <a:lnTo>
                    <a:pt x="187" y="267"/>
                  </a:lnTo>
                  <a:lnTo>
                    <a:pt x="114" y="267"/>
                  </a:lnTo>
                  <a:lnTo>
                    <a:pt x="74" y="308"/>
                  </a:lnTo>
                  <a:lnTo>
                    <a:pt x="28" y="310"/>
                  </a:lnTo>
                  <a:lnTo>
                    <a:pt x="29" y="273"/>
                  </a:lnTo>
                  <a:lnTo>
                    <a:pt x="0" y="238"/>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85" name="30589397.75429.1253.6253.255">
              <a:extLst>
                <a:ext uri="{FF2B5EF4-FFF2-40B4-BE49-F238E27FC236}">
                  <a16:creationId xmlns:a16="http://schemas.microsoft.com/office/drawing/2014/main" id="{277195D6-83AA-4B64-AF13-3644D5C9D713}"/>
                </a:ext>
              </a:extLst>
            </p:cNvPr>
            <p:cNvSpPr>
              <a:spLocks noChangeAspect="1"/>
            </p:cNvSpPr>
            <p:nvPr/>
          </p:nvSpPr>
          <p:spPr bwMode="gray">
            <a:xfrm>
              <a:off x="6550428" y="4739727"/>
              <a:ext cx="55156" cy="58870"/>
            </a:xfrm>
            <a:custGeom>
              <a:avLst/>
              <a:gdLst/>
              <a:ahLst/>
              <a:cxnLst>
                <a:cxn ang="0">
                  <a:pos x="0" y="9"/>
                </a:cxn>
                <a:cxn ang="0">
                  <a:pos x="7" y="34"/>
                </a:cxn>
                <a:cxn ang="0">
                  <a:pos x="20" y="66"/>
                </a:cxn>
                <a:cxn ang="0">
                  <a:pos x="58" y="27"/>
                </a:cxn>
                <a:cxn ang="0">
                  <a:pos x="55" y="0"/>
                </a:cxn>
                <a:cxn ang="0">
                  <a:pos x="0" y="9"/>
                </a:cxn>
              </a:cxnLst>
              <a:rect l="0" t="0" r="r" b="b"/>
              <a:pathLst>
                <a:path w="58" h="66">
                  <a:moveTo>
                    <a:pt x="0" y="9"/>
                  </a:moveTo>
                  <a:lnTo>
                    <a:pt x="7" y="34"/>
                  </a:lnTo>
                  <a:lnTo>
                    <a:pt x="20" y="66"/>
                  </a:lnTo>
                  <a:lnTo>
                    <a:pt x="58" y="27"/>
                  </a:lnTo>
                  <a:lnTo>
                    <a:pt x="55" y="0"/>
                  </a:lnTo>
                  <a:lnTo>
                    <a:pt x="0" y="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86" name="30590369.375390.2521.12514.3755">
              <a:extLst>
                <a:ext uri="{FF2B5EF4-FFF2-40B4-BE49-F238E27FC236}">
                  <a16:creationId xmlns:a16="http://schemas.microsoft.com/office/drawing/2014/main" id="{E5D76915-7B3D-4FF5-AE8E-A11E90DADD43}"/>
                </a:ext>
              </a:extLst>
            </p:cNvPr>
            <p:cNvSpPr>
              <a:spLocks noChangeAspect="1"/>
            </p:cNvSpPr>
            <p:nvPr/>
          </p:nvSpPr>
          <p:spPr bwMode="gray">
            <a:xfrm>
              <a:off x="5930371" y="4280543"/>
              <a:ext cx="228241" cy="343128"/>
            </a:xfrm>
            <a:custGeom>
              <a:avLst/>
              <a:gdLst/>
              <a:ahLst/>
              <a:cxnLst>
                <a:cxn ang="0">
                  <a:pos x="0" y="267"/>
                </a:cxn>
                <a:cxn ang="0">
                  <a:pos x="35" y="196"/>
                </a:cxn>
                <a:cxn ang="0">
                  <a:pos x="99" y="206"/>
                </a:cxn>
                <a:cxn ang="0">
                  <a:pos x="167" y="60"/>
                </a:cxn>
                <a:cxn ang="0">
                  <a:pos x="202" y="34"/>
                </a:cxn>
                <a:cxn ang="0">
                  <a:pos x="188" y="5"/>
                </a:cxn>
                <a:cxn ang="0">
                  <a:pos x="204" y="0"/>
                </a:cxn>
                <a:cxn ang="0">
                  <a:pos x="229" y="90"/>
                </a:cxn>
                <a:cxn ang="0">
                  <a:pos x="188" y="107"/>
                </a:cxn>
                <a:cxn ang="0">
                  <a:pos x="235" y="179"/>
                </a:cxn>
                <a:cxn ang="0">
                  <a:pos x="204" y="264"/>
                </a:cxn>
                <a:cxn ang="0">
                  <a:pos x="257" y="328"/>
                </a:cxn>
                <a:cxn ang="0">
                  <a:pos x="251" y="374"/>
                </a:cxn>
                <a:cxn ang="0">
                  <a:pos x="163" y="353"/>
                </a:cxn>
                <a:cxn ang="0">
                  <a:pos x="96" y="352"/>
                </a:cxn>
                <a:cxn ang="0">
                  <a:pos x="41" y="353"/>
                </a:cxn>
                <a:cxn ang="0">
                  <a:pos x="39" y="291"/>
                </a:cxn>
                <a:cxn ang="0">
                  <a:pos x="0" y="267"/>
                </a:cxn>
              </a:cxnLst>
              <a:rect l="0" t="0" r="r" b="b"/>
              <a:pathLst>
                <a:path w="257" h="374">
                  <a:moveTo>
                    <a:pt x="0" y="267"/>
                  </a:moveTo>
                  <a:lnTo>
                    <a:pt x="35" y="196"/>
                  </a:lnTo>
                  <a:lnTo>
                    <a:pt x="99" y="206"/>
                  </a:lnTo>
                  <a:lnTo>
                    <a:pt x="167" y="60"/>
                  </a:lnTo>
                  <a:lnTo>
                    <a:pt x="202" y="34"/>
                  </a:lnTo>
                  <a:lnTo>
                    <a:pt x="188" y="5"/>
                  </a:lnTo>
                  <a:lnTo>
                    <a:pt x="204" y="0"/>
                  </a:lnTo>
                  <a:lnTo>
                    <a:pt x="229" y="90"/>
                  </a:lnTo>
                  <a:lnTo>
                    <a:pt x="188" y="107"/>
                  </a:lnTo>
                  <a:lnTo>
                    <a:pt x="235" y="179"/>
                  </a:lnTo>
                  <a:lnTo>
                    <a:pt x="204" y="264"/>
                  </a:lnTo>
                  <a:lnTo>
                    <a:pt x="257" y="328"/>
                  </a:lnTo>
                  <a:lnTo>
                    <a:pt x="251" y="374"/>
                  </a:lnTo>
                  <a:lnTo>
                    <a:pt x="163" y="353"/>
                  </a:lnTo>
                  <a:lnTo>
                    <a:pt x="96" y="352"/>
                  </a:lnTo>
                  <a:lnTo>
                    <a:pt x="41" y="353"/>
                  </a:lnTo>
                  <a:lnTo>
                    <a:pt x="39" y="291"/>
                  </a:lnTo>
                  <a:lnTo>
                    <a:pt x="0" y="267"/>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87" name="30591372.75401.7515.2524.55">
              <a:extLst>
                <a:ext uri="{FF2B5EF4-FFF2-40B4-BE49-F238E27FC236}">
                  <a16:creationId xmlns:a16="http://schemas.microsoft.com/office/drawing/2014/main" id="{C5FBA4D9-A73E-43DA-AB15-CD3333FD6412}"/>
                </a:ext>
              </a:extLst>
            </p:cNvPr>
            <p:cNvSpPr>
              <a:spLocks noChangeAspect="1"/>
            </p:cNvSpPr>
            <p:nvPr/>
          </p:nvSpPr>
          <p:spPr bwMode="gray">
            <a:xfrm>
              <a:off x="6114867" y="4334367"/>
              <a:ext cx="391812" cy="247254"/>
            </a:xfrm>
            <a:custGeom>
              <a:avLst/>
              <a:gdLst/>
              <a:ahLst/>
              <a:cxnLst>
                <a:cxn ang="0">
                  <a:pos x="0" y="205"/>
                </a:cxn>
                <a:cxn ang="0">
                  <a:pos x="31" y="120"/>
                </a:cxn>
                <a:cxn ang="0">
                  <a:pos x="139" y="98"/>
                </a:cxn>
                <a:cxn ang="0">
                  <a:pos x="150" y="70"/>
                </a:cxn>
                <a:cxn ang="0">
                  <a:pos x="200" y="60"/>
                </a:cxn>
                <a:cxn ang="0">
                  <a:pos x="274" y="0"/>
                </a:cxn>
                <a:cxn ang="0">
                  <a:pos x="299" y="71"/>
                </a:cxn>
                <a:cxn ang="0">
                  <a:pos x="355" y="98"/>
                </a:cxn>
                <a:cxn ang="0">
                  <a:pos x="436" y="195"/>
                </a:cxn>
                <a:cxn ang="0">
                  <a:pos x="234" y="223"/>
                </a:cxn>
                <a:cxn ang="0">
                  <a:pos x="168" y="195"/>
                </a:cxn>
                <a:cxn ang="0">
                  <a:pos x="139" y="243"/>
                </a:cxn>
                <a:cxn ang="0">
                  <a:pos x="81" y="243"/>
                </a:cxn>
                <a:cxn ang="0">
                  <a:pos x="53" y="269"/>
                </a:cxn>
                <a:cxn ang="0">
                  <a:pos x="0" y="205"/>
                </a:cxn>
              </a:cxnLst>
              <a:rect l="0" t="0" r="r" b="b"/>
              <a:pathLst>
                <a:path w="436" h="269">
                  <a:moveTo>
                    <a:pt x="0" y="205"/>
                  </a:moveTo>
                  <a:lnTo>
                    <a:pt x="31" y="120"/>
                  </a:lnTo>
                  <a:lnTo>
                    <a:pt x="139" y="98"/>
                  </a:lnTo>
                  <a:lnTo>
                    <a:pt x="150" y="70"/>
                  </a:lnTo>
                  <a:lnTo>
                    <a:pt x="200" y="60"/>
                  </a:lnTo>
                  <a:lnTo>
                    <a:pt x="274" y="0"/>
                  </a:lnTo>
                  <a:lnTo>
                    <a:pt x="299" y="71"/>
                  </a:lnTo>
                  <a:lnTo>
                    <a:pt x="355" y="98"/>
                  </a:lnTo>
                  <a:lnTo>
                    <a:pt x="436" y="195"/>
                  </a:lnTo>
                  <a:lnTo>
                    <a:pt x="234" y="223"/>
                  </a:lnTo>
                  <a:lnTo>
                    <a:pt x="168" y="195"/>
                  </a:lnTo>
                  <a:lnTo>
                    <a:pt x="139" y="243"/>
                  </a:lnTo>
                  <a:lnTo>
                    <a:pt x="81" y="243"/>
                  </a:lnTo>
                  <a:lnTo>
                    <a:pt x="53" y="269"/>
                  </a:lnTo>
                  <a:lnTo>
                    <a:pt x="0" y="20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88" name="30592348.75399.530.7520.255">
              <a:extLst>
                <a:ext uri="{FF2B5EF4-FFF2-40B4-BE49-F238E27FC236}">
                  <a16:creationId xmlns:a16="http://schemas.microsoft.com/office/drawing/2014/main" id="{B3AF02FE-E131-415D-BE55-E3FD129BAB48}"/>
                </a:ext>
              </a:extLst>
            </p:cNvPr>
            <p:cNvSpPr>
              <a:spLocks noChangeAspect="1"/>
            </p:cNvSpPr>
            <p:nvPr/>
          </p:nvSpPr>
          <p:spPr bwMode="gray">
            <a:xfrm>
              <a:off x="6076825" y="3947509"/>
              <a:ext cx="325245" cy="497869"/>
            </a:xfrm>
            <a:custGeom>
              <a:avLst/>
              <a:gdLst/>
              <a:ahLst/>
              <a:cxnLst>
                <a:cxn ang="0">
                  <a:pos x="0" y="313"/>
                </a:cxn>
                <a:cxn ang="0">
                  <a:pos x="52" y="340"/>
                </a:cxn>
                <a:cxn ang="0">
                  <a:pos x="38" y="368"/>
                </a:cxn>
                <a:cxn ang="0">
                  <a:pos x="63" y="458"/>
                </a:cxn>
                <a:cxn ang="0">
                  <a:pos x="22" y="475"/>
                </a:cxn>
                <a:cxn ang="0">
                  <a:pos x="69" y="547"/>
                </a:cxn>
                <a:cxn ang="0">
                  <a:pos x="177" y="525"/>
                </a:cxn>
                <a:cxn ang="0">
                  <a:pos x="188" y="497"/>
                </a:cxn>
                <a:cxn ang="0">
                  <a:pos x="238" y="487"/>
                </a:cxn>
                <a:cxn ang="0">
                  <a:pos x="312" y="427"/>
                </a:cxn>
                <a:cxn ang="0">
                  <a:pos x="286" y="361"/>
                </a:cxn>
                <a:cxn ang="0">
                  <a:pos x="321" y="271"/>
                </a:cxn>
                <a:cxn ang="0">
                  <a:pos x="356" y="265"/>
                </a:cxn>
                <a:cxn ang="0">
                  <a:pos x="357" y="138"/>
                </a:cxn>
                <a:cxn ang="0">
                  <a:pos x="89" y="0"/>
                </a:cxn>
                <a:cxn ang="0">
                  <a:pos x="55" y="14"/>
                </a:cxn>
                <a:cxn ang="0">
                  <a:pos x="55" y="68"/>
                </a:cxn>
                <a:cxn ang="0">
                  <a:pos x="89" y="105"/>
                </a:cxn>
                <a:cxn ang="0">
                  <a:pos x="69" y="225"/>
                </a:cxn>
                <a:cxn ang="0">
                  <a:pos x="0" y="313"/>
                </a:cxn>
              </a:cxnLst>
              <a:rect l="0" t="0" r="r" b="b"/>
              <a:pathLst>
                <a:path w="357" h="547">
                  <a:moveTo>
                    <a:pt x="0" y="313"/>
                  </a:moveTo>
                  <a:lnTo>
                    <a:pt x="52" y="340"/>
                  </a:lnTo>
                  <a:lnTo>
                    <a:pt x="38" y="368"/>
                  </a:lnTo>
                  <a:lnTo>
                    <a:pt x="63" y="458"/>
                  </a:lnTo>
                  <a:lnTo>
                    <a:pt x="22" y="475"/>
                  </a:lnTo>
                  <a:lnTo>
                    <a:pt x="69" y="547"/>
                  </a:lnTo>
                  <a:lnTo>
                    <a:pt x="177" y="525"/>
                  </a:lnTo>
                  <a:lnTo>
                    <a:pt x="188" y="497"/>
                  </a:lnTo>
                  <a:lnTo>
                    <a:pt x="238" y="487"/>
                  </a:lnTo>
                  <a:lnTo>
                    <a:pt x="312" y="427"/>
                  </a:lnTo>
                  <a:lnTo>
                    <a:pt x="286" y="361"/>
                  </a:lnTo>
                  <a:lnTo>
                    <a:pt x="321" y="271"/>
                  </a:lnTo>
                  <a:lnTo>
                    <a:pt x="356" y="265"/>
                  </a:lnTo>
                  <a:lnTo>
                    <a:pt x="357" y="138"/>
                  </a:lnTo>
                  <a:lnTo>
                    <a:pt x="89" y="0"/>
                  </a:lnTo>
                  <a:lnTo>
                    <a:pt x="55" y="14"/>
                  </a:lnTo>
                  <a:lnTo>
                    <a:pt x="55" y="68"/>
                  </a:lnTo>
                  <a:lnTo>
                    <a:pt x="89" y="105"/>
                  </a:lnTo>
                  <a:lnTo>
                    <a:pt x="69" y="225"/>
                  </a:lnTo>
                  <a:lnTo>
                    <a:pt x="0" y="313"/>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89" name="30593386.5395.37516.2514.255">
              <a:extLst>
                <a:ext uri="{FF2B5EF4-FFF2-40B4-BE49-F238E27FC236}">
                  <a16:creationId xmlns:a16="http://schemas.microsoft.com/office/drawing/2014/main" id="{CBD0A7B8-D209-4409-B8FF-9DA3A4F06006}"/>
                </a:ext>
              </a:extLst>
            </p:cNvPr>
            <p:cNvSpPr>
              <a:spLocks noChangeAspect="1"/>
            </p:cNvSpPr>
            <p:nvPr/>
          </p:nvSpPr>
          <p:spPr bwMode="gray">
            <a:xfrm>
              <a:off x="6012158" y="4558070"/>
              <a:ext cx="228241" cy="264071"/>
            </a:xfrm>
            <a:custGeom>
              <a:avLst/>
              <a:gdLst/>
              <a:ahLst/>
              <a:cxnLst>
                <a:cxn ang="0">
                  <a:pos x="0" y="253"/>
                </a:cxn>
                <a:cxn ang="0">
                  <a:pos x="26" y="289"/>
                </a:cxn>
                <a:cxn ang="0">
                  <a:pos x="60" y="278"/>
                </a:cxn>
                <a:cxn ang="0">
                  <a:pos x="111" y="281"/>
                </a:cxn>
                <a:cxn ang="0">
                  <a:pos x="158" y="251"/>
                </a:cxn>
                <a:cxn ang="0">
                  <a:pos x="170" y="193"/>
                </a:cxn>
                <a:cxn ang="0">
                  <a:pos x="220" y="145"/>
                </a:cxn>
                <a:cxn ang="0">
                  <a:pos x="251" y="0"/>
                </a:cxn>
                <a:cxn ang="0">
                  <a:pos x="193" y="0"/>
                </a:cxn>
                <a:cxn ang="0">
                  <a:pos x="165" y="26"/>
                </a:cxn>
                <a:cxn ang="0">
                  <a:pos x="159" y="72"/>
                </a:cxn>
                <a:cxn ang="0">
                  <a:pos x="71" y="51"/>
                </a:cxn>
                <a:cxn ang="0">
                  <a:pos x="68" y="81"/>
                </a:cxn>
                <a:cxn ang="0">
                  <a:pos x="104" y="84"/>
                </a:cxn>
                <a:cxn ang="0">
                  <a:pos x="93" y="198"/>
                </a:cxn>
                <a:cxn ang="0">
                  <a:pos x="49" y="185"/>
                </a:cxn>
                <a:cxn ang="0">
                  <a:pos x="0" y="253"/>
                </a:cxn>
              </a:cxnLst>
              <a:rect l="0" t="0" r="r" b="b"/>
              <a:pathLst>
                <a:path w="251" h="289">
                  <a:moveTo>
                    <a:pt x="0" y="253"/>
                  </a:moveTo>
                  <a:lnTo>
                    <a:pt x="26" y="289"/>
                  </a:lnTo>
                  <a:lnTo>
                    <a:pt x="60" y="278"/>
                  </a:lnTo>
                  <a:lnTo>
                    <a:pt x="111" y="281"/>
                  </a:lnTo>
                  <a:lnTo>
                    <a:pt x="158" y="251"/>
                  </a:lnTo>
                  <a:lnTo>
                    <a:pt x="170" y="193"/>
                  </a:lnTo>
                  <a:lnTo>
                    <a:pt x="220" y="145"/>
                  </a:lnTo>
                  <a:lnTo>
                    <a:pt x="251" y="0"/>
                  </a:lnTo>
                  <a:lnTo>
                    <a:pt x="193" y="0"/>
                  </a:lnTo>
                  <a:lnTo>
                    <a:pt x="165" y="26"/>
                  </a:lnTo>
                  <a:lnTo>
                    <a:pt x="159" y="72"/>
                  </a:lnTo>
                  <a:lnTo>
                    <a:pt x="71" y="51"/>
                  </a:lnTo>
                  <a:lnTo>
                    <a:pt x="68" y="81"/>
                  </a:lnTo>
                  <a:lnTo>
                    <a:pt x="104" y="84"/>
                  </a:lnTo>
                  <a:lnTo>
                    <a:pt x="93" y="198"/>
                  </a:lnTo>
                  <a:lnTo>
                    <a:pt x="49" y="185"/>
                  </a:lnTo>
                  <a:lnTo>
                    <a:pt x="0" y="253"/>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90" name="30594383.875397.534.37535.755">
              <a:extLst>
                <a:ext uri="{FF2B5EF4-FFF2-40B4-BE49-F238E27FC236}">
                  <a16:creationId xmlns:a16="http://schemas.microsoft.com/office/drawing/2014/main" id="{98E05950-7AF3-4C6A-9364-4D82313D2FEA}"/>
                </a:ext>
              </a:extLst>
            </p:cNvPr>
            <p:cNvSpPr>
              <a:spLocks noChangeAspect="1"/>
            </p:cNvSpPr>
            <p:nvPr/>
          </p:nvSpPr>
          <p:spPr bwMode="gray">
            <a:xfrm>
              <a:off x="6044491" y="4516021"/>
              <a:ext cx="572504" cy="555059"/>
            </a:xfrm>
            <a:custGeom>
              <a:avLst/>
              <a:gdLst/>
              <a:ahLst/>
              <a:cxnLst>
                <a:cxn ang="0">
                  <a:pos x="0" y="362"/>
                </a:cxn>
                <a:cxn ang="0">
                  <a:pos x="2" y="378"/>
                </a:cxn>
                <a:cxn ang="0">
                  <a:pos x="129" y="362"/>
                </a:cxn>
                <a:cxn ang="0">
                  <a:pos x="184" y="439"/>
                </a:cxn>
                <a:cxn ang="0">
                  <a:pos x="231" y="435"/>
                </a:cxn>
                <a:cxn ang="0">
                  <a:pos x="242" y="400"/>
                </a:cxn>
                <a:cxn ang="0">
                  <a:pos x="285" y="398"/>
                </a:cxn>
                <a:cxn ang="0">
                  <a:pos x="316" y="420"/>
                </a:cxn>
                <a:cxn ang="0">
                  <a:pos x="323" y="539"/>
                </a:cxn>
                <a:cxn ang="0">
                  <a:pos x="392" y="532"/>
                </a:cxn>
                <a:cxn ang="0">
                  <a:pos x="583" y="611"/>
                </a:cxn>
                <a:cxn ang="0">
                  <a:pos x="581" y="575"/>
                </a:cxn>
                <a:cxn ang="0">
                  <a:pos x="544" y="559"/>
                </a:cxn>
                <a:cxn ang="0">
                  <a:pos x="551" y="472"/>
                </a:cxn>
                <a:cxn ang="0">
                  <a:pos x="612" y="442"/>
                </a:cxn>
                <a:cxn ang="0">
                  <a:pos x="573" y="383"/>
                </a:cxn>
                <a:cxn ang="0">
                  <a:pos x="568" y="282"/>
                </a:cxn>
                <a:cxn ang="0">
                  <a:pos x="561" y="257"/>
                </a:cxn>
                <a:cxn ang="0">
                  <a:pos x="583" y="213"/>
                </a:cxn>
                <a:cxn ang="0">
                  <a:pos x="612" y="129"/>
                </a:cxn>
                <a:cxn ang="0">
                  <a:pos x="634" y="98"/>
                </a:cxn>
                <a:cxn ang="0">
                  <a:pos x="621" y="50"/>
                </a:cxn>
                <a:cxn ang="0">
                  <a:pos x="510" y="0"/>
                </a:cxn>
                <a:cxn ang="0">
                  <a:pos x="308" y="28"/>
                </a:cxn>
                <a:cxn ang="0">
                  <a:pos x="242" y="0"/>
                </a:cxn>
                <a:cxn ang="0">
                  <a:pos x="213" y="48"/>
                </a:cxn>
                <a:cxn ang="0">
                  <a:pos x="182" y="193"/>
                </a:cxn>
                <a:cxn ang="0">
                  <a:pos x="132" y="241"/>
                </a:cxn>
                <a:cxn ang="0">
                  <a:pos x="120" y="299"/>
                </a:cxn>
                <a:cxn ang="0">
                  <a:pos x="73" y="329"/>
                </a:cxn>
                <a:cxn ang="0">
                  <a:pos x="22" y="326"/>
                </a:cxn>
                <a:cxn ang="0">
                  <a:pos x="0" y="362"/>
                </a:cxn>
              </a:cxnLst>
              <a:rect l="0" t="0" r="r" b="b"/>
              <a:pathLst>
                <a:path w="634" h="611">
                  <a:moveTo>
                    <a:pt x="0" y="362"/>
                  </a:moveTo>
                  <a:lnTo>
                    <a:pt x="2" y="378"/>
                  </a:lnTo>
                  <a:lnTo>
                    <a:pt x="129" y="362"/>
                  </a:lnTo>
                  <a:lnTo>
                    <a:pt x="184" y="439"/>
                  </a:lnTo>
                  <a:lnTo>
                    <a:pt x="231" y="435"/>
                  </a:lnTo>
                  <a:lnTo>
                    <a:pt x="242" y="400"/>
                  </a:lnTo>
                  <a:lnTo>
                    <a:pt x="285" y="398"/>
                  </a:lnTo>
                  <a:lnTo>
                    <a:pt x="316" y="420"/>
                  </a:lnTo>
                  <a:lnTo>
                    <a:pt x="323" y="539"/>
                  </a:lnTo>
                  <a:lnTo>
                    <a:pt x="392" y="532"/>
                  </a:lnTo>
                  <a:lnTo>
                    <a:pt x="583" y="611"/>
                  </a:lnTo>
                  <a:lnTo>
                    <a:pt x="581" y="575"/>
                  </a:lnTo>
                  <a:lnTo>
                    <a:pt x="544" y="559"/>
                  </a:lnTo>
                  <a:lnTo>
                    <a:pt x="551" y="472"/>
                  </a:lnTo>
                  <a:lnTo>
                    <a:pt x="612" y="442"/>
                  </a:lnTo>
                  <a:lnTo>
                    <a:pt x="573" y="383"/>
                  </a:lnTo>
                  <a:lnTo>
                    <a:pt x="568" y="282"/>
                  </a:lnTo>
                  <a:lnTo>
                    <a:pt x="561" y="257"/>
                  </a:lnTo>
                  <a:lnTo>
                    <a:pt x="583" y="213"/>
                  </a:lnTo>
                  <a:lnTo>
                    <a:pt x="612" y="129"/>
                  </a:lnTo>
                  <a:lnTo>
                    <a:pt x="634" y="98"/>
                  </a:lnTo>
                  <a:lnTo>
                    <a:pt x="621" y="50"/>
                  </a:lnTo>
                  <a:lnTo>
                    <a:pt x="510" y="0"/>
                  </a:lnTo>
                  <a:lnTo>
                    <a:pt x="308" y="28"/>
                  </a:lnTo>
                  <a:lnTo>
                    <a:pt x="242" y="0"/>
                  </a:lnTo>
                  <a:lnTo>
                    <a:pt x="213" y="48"/>
                  </a:lnTo>
                  <a:lnTo>
                    <a:pt x="182" y="193"/>
                  </a:lnTo>
                  <a:lnTo>
                    <a:pt x="132" y="241"/>
                  </a:lnTo>
                  <a:lnTo>
                    <a:pt x="120" y="299"/>
                  </a:lnTo>
                  <a:lnTo>
                    <a:pt x="73" y="329"/>
                  </a:lnTo>
                  <a:lnTo>
                    <a:pt x="22" y="326"/>
                  </a:lnTo>
                  <a:lnTo>
                    <a:pt x="0" y="362"/>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91" name="30595323.75435.3752.3754.3755">
              <a:extLst>
                <a:ext uri="{FF2B5EF4-FFF2-40B4-BE49-F238E27FC236}">
                  <a16:creationId xmlns:a16="http://schemas.microsoft.com/office/drawing/2014/main" id="{8BACAE5B-3DA6-40AE-B8C2-BA8C37156795}"/>
                </a:ext>
              </a:extLst>
            </p:cNvPr>
            <p:cNvSpPr>
              <a:spLocks noChangeAspect="1"/>
            </p:cNvSpPr>
            <p:nvPr/>
          </p:nvSpPr>
          <p:spPr bwMode="gray">
            <a:xfrm>
              <a:off x="6653133" y="3540465"/>
              <a:ext cx="68472" cy="38688"/>
            </a:xfrm>
            <a:custGeom>
              <a:avLst/>
              <a:gdLst/>
              <a:ahLst/>
              <a:cxnLst>
                <a:cxn ang="0">
                  <a:pos x="0" y="22"/>
                </a:cxn>
                <a:cxn ang="0">
                  <a:pos x="28" y="41"/>
                </a:cxn>
                <a:cxn ang="0">
                  <a:pos x="79" y="0"/>
                </a:cxn>
                <a:cxn ang="0">
                  <a:pos x="0" y="22"/>
                </a:cxn>
              </a:cxnLst>
              <a:rect l="0" t="0" r="r" b="b"/>
              <a:pathLst>
                <a:path w="79" h="41">
                  <a:moveTo>
                    <a:pt x="0" y="22"/>
                  </a:moveTo>
                  <a:lnTo>
                    <a:pt x="28" y="41"/>
                  </a:lnTo>
                  <a:lnTo>
                    <a:pt x="79" y="0"/>
                  </a:lnTo>
                  <a:lnTo>
                    <a:pt x="0" y="22"/>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92" name="30596370376.12511.62555">
              <a:extLst>
                <a:ext uri="{FF2B5EF4-FFF2-40B4-BE49-F238E27FC236}">
                  <a16:creationId xmlns:a16="http://schemas.microsoft.com/office/drawing/2014/main" id="{1C9095FE-2FD9-43EB-8AD9-0F5FCE023AD3}"/>
                </a:ext>
              </a:extLst>
            </p:cNvPr>
            <p:cNvSpPr>
              <a:spLocks noChangeAspect="1"/>
            </p:cNvSpPr>
            <p:nvPr/>
          </p:nvSpPr>
          <p:spPr bwMode="gray">
            <a:xfrm>
              <a:off x="5702129" y="4290634"/>
              <a:ext cx="79883" cy="190064"/>
            </a:xfrm>
            <a:custGeom>
              <a:avLst/>
              <a:gdLst/>
              <a:ahLst/>
              <a:cxnLst>
                <a:cxn ang="0">
                  <a:pos x="0" y="49"/>
                </a:cxn>
                <a:cxn ang="0">
                  <a:pos x="36" y="205"/>
                </a:cxn>
                <a:cxn ang="0">
                  <a:pos x="65" y="203"/>
                </a:cxn>
                <a:cxn ang="0">
                  <a:pos x="91" y="23"/>
                </a:cxn>
                <a:cxn ang="0">
                  <a:pos x="65" y="0"/>
                </a:cxn>
                <a:cxn ang="0">
                  <a:pos x="49" y="15"/>
                </a:cxn>
                <a:cxn ang="0">
                  <a:pos x="0" y="49"/>
                </a:cxn>
              </a:cxnLst>
              <a:rect l="0" t="0" r="r" b="b"/>
              <a:pathLst>
                <a:path w="91" h="205">
                  <a:moveTo>
                    <a:pt x="0" y="49"/>
                  </a:moveTo>
                  <a:lnTo>
                    <a:pt x="36" y="205"/>
                  </a:lnTo>
                  <a:lnTo>
                    <a:pt x="65" y="203"/>
                  </a:lnTo>
                  <a:lnTo>
                    <a:pt x="91" y="23"/>
                  </a:lnTo>
                  <a:lnTo>
                    <a:pt x="65" y="0"/>
                  </a:lnTo>
                  <a:lnTo>
                    <a:pt x="49" y="15"/>
                  </a:lnTo>
                  <a:lnTo>
                    <a:pt x="0" y="4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93" name="30597389.25392.252.3753.3755">
              <a:extLst>
                <a:ext uri="{FF2B5EF4-FFF2-40B4-BE49-F238E27FC236}">
                  <a16:creationId xmlns:a16="http://schemas.microsoft.com/office/drawing/2014/main" id="{4DE45227-75C6-4004-8EF5-D66037AF80DC}"/>
                </a:ext>
              </a:extLst>
            </p:cNvPr>
            <p:cNvSpPr>
              <a:spLocks noChangeAspect="1"/>
            </p:cNvSpPr>
            <p:nvPr/>
          </p:nvSpPr>
          <p:spPr bwMode="gray">
            <a:xfrm>
              <a:off x="5962704" y="4601804"/>
              <a:ext cx="53255" cy="38684"/>
            </a:xfrm>
            <a:custGeom>
              <a:avLst/>
              <a:gdLst/>
              <a:ahLst/>
              <a:cxnLst>
                <a:cxn ang="0">
                  <a:pos x="0" y="41"/>
                </a:cxn>
                <a:cxn ang="0">
                  <a:pos x="6" y="1"/>
                </a:cxn>
                <a:cxn ang="0">
                  <a:pos x="61" y="0"/>
                </a:cxn>
                <a:cxn ang="0">
                  <a:pos x="61" y="36"/>
                </a:cxn>
                <a:cxn ang="0">
                  <a:pos x="0" y="41"/>
                </a:cxn>
              </a:cxnLst>
              <a:rect l="0" t="0" r="r" b="b"/>
              <a:pathLst>
                <a:path w="61" h="41">
                  <a:moveTo>
                    <a:pt x="0" y="41"/>
                  </a:moveTo>
                  <a:lnTo>
                    <a:pt x="6" y="1"/>
                  </a:lnTo>
                  <a:lnTo>
                    <a:pt x="61" y="0"/>
                  </a:lnTo>
                  <a:lnTo>
                    <a:pt x="61" y="36"/>
                  </a:lnTo>
                  <a:lnTo>
                    <a:pt x="0" y="41"/>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94" name="30598359.25436.527.62528.3755">
              <a:extLst>
                <a:ext uri="{FF2B5EF4-FFF2-40B4-BE49-F238E27FC236}">
                  <a16:creationId xmlns:a16="http://schemas.microsoft.com/office/drawing/2014/main" id="{72216757-6CB3-4E9A-B20D-E43BF1A66621}"/>
                </a:ext>
              </a:extLst>
            </p:cNvPr>
            <p:cNvSpPr>
              <a:spLocks noChangeAspect="1"/>
            </p:cNvSpPr>
            <p:nvPr/>
          </p:nvSpPr>
          <p:spPr bwMode="gray">
            <a:xfrm>
              <a:off x="6672155" y="4117391"/>
              <a:ext cx="454578" cy="445729"/>
            </a:xfrm>
            <a:custGeom>
              <a:avLst/>
              <a:gdLst/>
              <a:ahLst/>
              <a:cxnLst>
                <a:cxn ang="0">
                  <a:pos x="0" y="342"/>
                </a:cxn>
                <a:cxn ang="0">
                  <a:pos x="39" y="316"/>
                </a:cxn>
                <a:cxn ang="0">
                  <a:pos x="43" y="255"/>
                </a:cxn>
                <a:cxn ang="0">
                  <a:pos x="109" y="174"/>
                </a:cxn>
                <a:cxn ang="0">
                  <a:pos x="135" y="31"/>
                </a:cxn>
                <a:cxn ang="0">
                  <a:pos x="186" y="0"/>
                </a:cxn>
                <a:cxn ang="0">
                  <a:pos x="224" y="97"/>
                </a:cxn>
                <a:cxn ang="0">
                  <a:pos x="335" y="181"/>
                </a:cxn>
                <a:cxn ang="0">
                  <a:pos x="296" y="231"/>
                </a:cxn>
                <a:cxn ang="0">
                  <a:pos x="331" y="243"/>
                </a:cxn>
                <a:cxn ang="0">
                  <a:pos x="372" y="303"/>
                </a:cxn>
                <a:cxn ang="0">
                  <a:pos x="504" y="337"/>
                </a:cxn>
                <a:cxn ang="0">
                  <a:pos x="403" y="437"/>
                </a:cxn>
                <a:cxn ang="0">
                  <a:pos x="298" y="474"/>
                </a:cxn>
                <a:cxn ang="0">
                  <a:pos x="202" y="489"/>
                </a:cxn>
                <a:cxn ang="0">
                  <a:pos x="96" y="452"/>
                </a:cxn>
                <a:cxn ang="0">
                  <a:pos x="59" y="382"/>
                </a:cxn>
                <a:cxn ang="0">
                  <a:pos x="0" y="342"/>
                </a:cxn>
              </a:cxnLst>
              <a:rect l="0" t="0" r="r" b="b"/>
              <a:pathLst>
                <a:path w="504" h="489">
                  <a:moveTo>
                    <a:pt x="0" y="342"/>
                  </a:moveTo>
                  <a:lnTo>
                    <a:pt x="39" y="316"/>
                  </a:lnTo>
                  <a:lnTo>
                    <a:pt x="43" y="255"/>
                  </a:lnTo>
                  <a:lnTo>
                    <a:pt x="109" y="174"/>
                  </a:lnTo>
                  <a:lnTo>
                    <a:pt x="135" y="31"/>
                  </a:lnTo>
                  <a:lnTo>
                    <a:pt x="186" y="0"/>
                  </a:lnTo>
                  <a:lnTo>
                    <a:pt x="224" y="97"/>
                  </a:lnTo>
                  <a:lnTo>
                    <a:pt x="335" y="181"/>
                  </a:lnTo>
                  <a:lnTo>
                    <a:pt x="296" y="231"/>
                  </a:lnTo>
                  <a:lnTo>
                    <a:pt x="331" y="243"/>
                  </a:lnTo>
                  <a:lnTo>
                    <a:pt x="372" y="303"/>
                  </a:lnTo>
                  <a:lnTo>
                    <a:pt x="504" y="337"/>
                  </a:lnTo>
                  <a:lnTo>
                    <a:pt x="403" y="437"/>
                  </a:lnTo>
                  <a:lnTo>
                    <a:pt x="298" y="474"/>
                  </a:lnTo>
                  <a:lnTo>
                    <a:pt x="202" y="489"/>
                  </a:lnTo>
                  <a:lnTo>
                    <a:pt x="96" y="452"/>
                  </a:lnTo>
                  <a:lnTo>
                    <a:pt x="59" y="382"/>
                  </a:lnTo>
                  <a:lnTo>
                    <a:pt x="0" y="342"/>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95" name="30599369.5453.1253.535">
              <a:extLst>
                <a:ext uri="{FF2B5EF4-FFF2-40B4-BE49-F238E27FC236}">
                  <a16:creationId xmlns:a16="http://schemas.microsoft.com/office/drawing/2014/main" id="{E01A9155-E97E-461E-99C6-371339374BD7}"/>
                </a:ext>
              </a:extLst>
            </p:cNvPr>
            <p:cNvSpPr>
              <a:spLocks noChangeAspect="1"/>
            </p:cNvSpPr>
            <p:nvPr/>
          </p:nvSpPr>
          <p:spPr bwMode="gray">
            <a:xfrm>
              <a:off x="6936534" y="4283907"/>
              <a:ext cx="47550" cy="57186"/>
            </a:xfrm>
            <a:custGeom>
              <a:avLst/>
              <a:gdLst/>
              <a:ahLst/>
              <a:cxnLst>
                <a:cxn ang="0">
                  <a:pos x="0" y="50"/>
                </a:cxn>
                <a:cxn ang="0">
                  <a:pos x="35" y="62"/>
                </a:cxn>
                <a:cxn ang="0">
                  <a:pos x="50" y="43"/>
                </a:cxn>
                <a:cxn ang="0">
                  <a:pos x="24" y="39"/>
                </a:cxn>
                <a:cxn ang="0">
                  <a:pos x="52" y="23"/>
                </a:cxn>
                <a:cxn ang="0">
                  <a:pos x="39" y="0"/>
                </a:cxn>
                <a:cxn ang="0">
                  <a:pos x="0" y="50"/>
                </a:cxn>
              </a:cxnLst>
              <a:rect l="0" t="0" r="r" b="b"/>
              <a:pathLst>
                <a:path w="52" h="62">
                  <a:moveTo>
                    <a:pt x="0" y="50"/>
                  </a:moveTo>
                  <a:lnTo>
                    <a:pt x="35" y="62"/>
                  </a:lnTo>
                  <a:lnTo>
                    <a:pt x="50" y="43"/>
                  </a:lnTo>
                  <a:lnTo>
                    <a:pt x="24" y="39"/>
                  </a:lnTo>
                  <a:lnTo>
                    <a:pt x="52" y="23"/>
                  </a:lnTo>
                  <a:lnTo>
                    <a:pt x="39" y="0"/>
                  </a:lnTo>
                  <a:lnTo>
                    <a:pt x="0" y="5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96" name="30600389.25390.7511.510.55">
              <a:extLst>
                <a:ext uri="{FF2B5EF4-FFF2-40B4-BE49-F238E27FC236}">
                  <a16:creationId xmlns:a16="http://schemas.microsoft.com/office/drawing/2014/main" id="{D3C4717C-0A5E-4234-939D-3F5ED9824E74}"/>
                </a:ext>
              </a:extLst>
            </p:cNvPr>
            <p:cNvSpPr>
              <a:spLocks noChangeAspect="1"/>
            </p:cNvSpPr>
            <p:nvPr/>
          </p:nvSpPr>
          <p:spPr bwMode="gray">
            <a:xfrm>
              <a:off x="5937981" y="4601804"/>
              <a:ext cx="167376" cy="188383"/>
            </a:xfrm>
            <a:custGeom>
              <a:avLst/>
              <a:gdLst/>
              <a:ahLst/>
              <a:cxnLst>
                <a:cxn ang="0">
                  <a:pos x="0" y="96"/>
                </a:cxn>
                <a:cxn ang="0">
                  <a:pos x="20" y="64"/>
                </a:cxn>
                <a:cxn ang="0">
                  <a:pos x="34" y="67"/>
                </a:cxn>
                <a:cxn ang="0">
                  <a:pos x="24" y="41"/>
                </a:cxn>
                <a:cxn ang="0">
                  <a:pos x="85" y="36"/>
                </a:cxn>
                <a:cxn ang="0">
                  <a:pos x="85" y="0"/>
                </a:cxn>
                <a:cxn ang="0">
                  <a:pos x="152" y="1"/>
                </a:cxn>
                <a:cxn ang="0">
                  <a:pos x="149" y="31"/>
                </a:cxn>
                <a:cxn ang="0">
                  <a:pos x="185" y="34"/>
                </a:cxn>
                <a:cxn ang="0">
                  <a:pos x="174" y="148"/>
                </a:cxn>
                <a:cxn ang="0">
                  <a:pos x="130" y="135"/>
                </a:cxn>
                <a:cxn ang="0">
                  <a:pos x="81" y="203"/>
                </a:cxn>
                <a:cxn ang="0">
                  <a:pos x="0" y="96"/>
                </a:cxn>
              </a:cxnLst>
              <a:rect l="0" t="0" r="r" b="b"/>
              <a:pathLst>
                <a:path w="185" h="203">
                  <a:moveTo>
                    <a:pt x="0" y="96"/>
                  </a:moveTo>
                  <a:lnTo>
                    <a:pt x="20" y="64"/>
                  </a:lnTo>
                  <a:lnTo>
                    <a:pt x="34" y="67"/>
                  </a:lnTo>
                  <a:lnTo>
                    <a:pt x="24" y="41"/>
                  </a:lnTo>
                  <a:lnTo>
                    <a:pt x="85" y="36"/>
                  </a:lnTo>
                  <a:lnTo>
                    <a:pt x="85" y="0"/>
                  </a:lnTo>
                  <a:lnTo>
                    <a:pt x="152" y="1"/>
                  </a:lnTo>
                  <a:lnTo>
                    <a:pt x="149" y="31"/>
                  </a:lnTo>
                  <a:lnTo>
                    <a:pt x="185" y="34"/>
                  </a:lnTo>
                  <a:lnTo>
                    <a:pt x="174" y="148"/>
                  </a:lnTo>
                  <a:lnTo>
                    <a:pt x="130" y="135"/>
                  </a:lnTo>
                  <a:lnTo>
                    <a:pt x="81" y="203"/>
                  </a:lnTo>
                  <a:lnTo>
                    <a:pt x="0" y="96"/>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97" name="30601367.625342.8751.1255.6255">
              <a:extLst>
                <a:ext uri="{FF2B5EF4-FFF2-40B4-BE49-F238E27FC236}">
                  <a16:creationId xmlns:a16="http://schemas.microsoft.com/office/drawing/2014/main" id="{6F2AAD14-4CE5-453F-8A19-2BB4780B79C0}"/>
                </a:ext>
              </a:extLst>
            </p:cNvPr>
            <p:cNvSpPr>
              <a:spLocks noChangeAspect="1"/>
            </p:cNvSpPr>
            <p:nvPr/>
          </p:nvSpPr>
          <p:spPr bwMode="gray">
            <a:xfrm>
              <a:off x="5171470" y="4251949"/>
              <a:ext cx="87493" cy="16821"/>
            </a:xfrm>
            <a:custGeom>
              <a:avLst/>
              <a:gdLst/>
              <a:ahLst/>
              <a:cxnLst>
                <a:cxn ang="0">
                  <a:pos x="0" y="20"/>
                </a:cxn>
                <a:cxn ang="0">
                  <a:pos x="4" y="0"/>
                </a:cxn>
                <a:cxn ang="0">
                  <a:pos x="99" y="7"/>
                </a:cxn>
                <a:cxn ang="0">
                  <a:pos x="0" y="20"/>
                </a:cxn>
              </a:cxnLst>
              <a:rect l="0" t="0" r="r" b="b"/>
              <a:pathLst>
                <a:path w="99" h="20">
                  <a:moveTo>
                    <a:pt x="0" y="20"/>
                  </a:moveTo>
                  <a:lnTo>
                    <a:pt x="4" y="0"/>
                  </a:lnTo>
                  <a:lnTo>
                    <a:pt x="99" y="7"/>
                  </a:lnTo>
                  <a:lnTo>
                    <a:pt x="0" y="2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98" name="30602372.25368.62512.2585">
              <a:extLst>
                <a:ext uri="{FF2B5EF4-FFF2-40B4-BE49-F238E27FC236}">
                  <a16:creationId xmlns:a16="http://schemas.microsoft.com/office/drawing/2014/main" id="{0D0C8957-4E58-4AEA-AE64-095894119D11}"/>
                </a:ext>
              </a:extLst>
            </p:cNvPr>
            <p:cNvSpPr>
              <a:spLocks noChangeAspect="1"/>
            </p:cNvSpPr>
            <p:nvPr/>
          </p:nvSpPr>
          <p:spPr bwMode="gray">
            <a:xfrm>
              <a:off x="5582303" y="4329322"/>
              <a:ext cx="129337" cy="195110"/>
            </a:xfrm>
            <a:custGeom>
              <a:avLst/>
              <a:gdLst/>
              <a:ahLst/>
              <a:cxnLst>
                <a:cxn ang="0">
                  <a:pos x="0" y="204"/>
                </a:cxn>
                <a:cxn ang="0">
                  <a:pos x="13" y="55"/>
                </a:cxn>
                <a:cxn ang="0">
                  <a:pos x="6" y="8"/>
                </a:cxn>
                <a:cxn ang="0">
                  <a:pos x="96" y="0"/>
                </a:cxn>
                <a:cxn ang="0">
                  <a:pos x="142" y="171"/>
                </a:cxn>
                <a:cxn ang="0">
                  <a:pos x="37" y="216"/>
                </a:cxn>
                <a:cxn ang="0">
                  <a:pos x="0" y="204"/>
                </a:cxn>
              </a:cxnLst>
              <a:rect l="0" t="0" r="r" b="b"/>
              <a:pathLst>
                <a:path w="142" h="216">
                  <a:moveTo>
                    <a:pt x="0" y="204"/>
                  </a:moveTo>
                  <a:lnTo>
                    <a:pt x="13" y="55"/>
                  </a:lnTo>
                  <a:lnTo>
                    <a:pt x="6" y="8"/>
                  </a:lnTo>
                  <a:lnTo>
                    <a:pt x="96" y="0"/>
                  </a:lnTo>
                  <a:lnTo>
                    <a:pt x="142" y="171"/>
                  </a:lnTo>
                  <a:lnTo>
                    <a:pt x="37" y="216"/>
                  </a:lnTo>
                  <a:lnTo>
                    <a:pt x="0" y="20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199" name="30603369.5346.1251013.8755">
              <a:extLst>
                <a:ext uri="{FF2B5EF4-FFF2-40B4-BE49-F238E27FC236}">
                  <a16:creationId xmlns:a16="http://schemas.microsoft.com/office/drawing/2014/main" id="{2E74C4BB-5058-4C6F-99D0-7286DEE3AD04}"/>
                </a:ext>
              </a:extLst>
            </p:cNvPr>
            <p:cNvSpPr>
              <a:spLocks noChangeAspect="1"/>
            </p:cNvSpPr>
            <p:nvPr/>
          </p:nvSpPr>
          <p:spPr bwMode="gray">
            <a:xfrm>
              <a:off x="5220924" y="4283907"/>
              <a:ext cx="222536" cy="161471"/>
            </a:xfrm>
            <a:custGeom>
              <a:avLst/>
              <a:gdLst/>
              <a:ahLst/>
              <a:cxnLst>
                <a:cxn ang="0">
                  <a:pos x="0" y="59"/>
                </a:cxn>
                <a:cxn ang="0">
                  <a:pos x="41" y="33"/>
                </a:cxn>
                <a:cxn ang="0">
                  <a:pos x="43" y="0"/>
                </a:cxn>
                <a:cxn ang="0">
                  <a:pos x="122" y="7"/>
                </a:cxn>
                <a:cxn ang="0">
                  <a:pos x="144" y="23"/>
                </a:cxn>
                <a:cxn ang="0">
                  <a:pos x="201" y="4"/>
                </a:cxn>
                <a:cxn ang="0">
                  <a:pos x="235" y="84"/>
                </a:cxn>
                <a:cxn ang="0">
                  <a:pos x="245" y="144"/>
                </a:cxn>
                <a:cxn ang="0">
                  <a:pos x="224" y="140"/>
                </a:cxn>
                <a:cxn ang="0">
                  <a:pos x="219" y="173"/>
                </a:cxn>
                <a:cxn ang="0">
                  <a:pos x="183" y="179"/>
                </a:cxn>
                <a:cxn ang="0">
                  <a:pos x="181" y="144"/>
                </a:cxn>
                <a:cxn ang="0">
                  <a:pos x="161" y="143"/>
                </a:cxn>
                <a:cxn ang="0">
                  <a:pos x="128" y="92"/>
                </a:cxn>
                <a:cxn ang="0">
                  <a:pos x="58" y="121"/>
                </a:cxn>
                <a:cxn ang="0">
                  <a:pos x="0" y="59"/>
                </a:cxn>
              </a:cxnLst>
              <a:rect l="0" t="0" r="r" b="b"/>
              <a:pathLst>
                <a:path w="245" h="179">
                  <a:moveTo>
                    <a:pt x="0" y="59"/>
                  </a:moveTo>
                  <a:lnTo>
                    <a:pt x="41" y="33"/>
                  </a:lnTo>
                  <a:lnTo>
                    <a:pt x="43" y="0"/>
                  </a:lnTo>
                  <a:lnTo>
                    <a:pt x="122" y="7"/>
                  </a:lnTo>
                  <a:lnTo>
                    <a:pt x="144" y="23"/>
                  </a:lnTo>
                  <a:lnTo>
                    <a:pt x="201" y="4"/>
                  </a:lnTo>
                  <a:lnTo>
                    <a:pt x="235" y="84"/>
                  </a:lnTo>
                  <a:lnTo>
                    <a:pt x="245" y="144"/>
                  </a:lnTo>
                  <a:lnTo>
                    <a:pt x="224" y="140"/>
                  </a:lnTo>
                  <a:lnTo>
                    <a:pt x="219" y="173"/>
                  </a:lnTo>
                  <a:lnTo>
                    <a:pt x="183" y="179"/>
                  </a:lnTo>
                  <a:lnTo>
                    <a:pt x="181" y="144"/>
                  </a:lnTo>
                  <a:lnTo>
                    <a:pt x="161" y="143"/>
                  </a:lnTo>
                  <a:lnTo>
                    <a:pt x="128" y="92"/>
                  </a:lnTo>
                  <a:lnTo>
                    <a:pt x="58" y="121"/>
                  </a:lnTo>
                  <a:lnTo>
                    <a:pt x="0" y="5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00" name="30604337.25458.750.8753.3755">
              <a:extLst>
                <a:ext uri="{FF2B5EF4-FFF2-40B4-BE49-F238E27FC236}">
                  <a16:creationId xmlns:a16="http://schemas.microsoft.com/office/drawing/2014/main" id="{7D09298F-2857-40C1-82D1-144A385FBD95}"/>
                </a:ext>
              </a:extLst>
            </p:cNvPr>
            <p:cNvSpPr>
              <a:spLocks noChangeAspect="1"/>
            </p:cNvSpPr>
            <p:nvPr/>
          </p:nvSpPr>
          <p:spPr bwMode="gray">
            <a:xfrm>
              <a:off x="7029733" y="3760807"/>
              <a:ext cx="53255" cy="15137"/>
            </a:xfrm>
            <a:custGeom>
              <a:avLst/>
              <a:gdLst/>
              <a:ahLst/>
              <a:cxnLst>
                <a:cxn ang="0">
                  <a:pos x="0" y="0"/>
                </a:cxn>
                <a:cxn ang="0">
                  <a:pos x="32" y="17"/>
                </a:cxn>
                <a:cxn ang="0">
                  <a:pos x="61" y="5"/>
                </a:cxn>
                <a:cxn ang="0">
                  <a:pos x="0" y="0"/>
                </a:cxn>
              </a:cxnLst>
              <a:rect l="0" t="0" r="r" b="b"/>
              <a:pathLst>
                <a:path w="61" h="17">
                  <a:moveTo>
                    <a:pt x="0" y="0"/>
                  </a:moveTo>
                  <a:lnTo>
                    <a:pt x="32" y="17"/>
                  </a:lnTo>
                  <a:lnTo>
                    <a:pt x="61" y="5"/>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01" name="30605329438.37582.8755">
              <a:extLst>
                <a:ext uri="{FF2B5EF4-FFF2-40B4-BE49-F238E27FC236}">
                  <a16:creationId xmlns:a16="http://schemas.microsoft.com/office/drawing/2014/main" id="{72CFB262-D440-429D-8521-F8EB4F323BE8}"/>
                </a:ext>
              </a:extLst>
            </p:cNvPr>
            <p:cNvSpPr>
              <a:spLocks noChangeAspect="1"/>
            </p:cNvSpPr>
            <p:nvPr/>
          </p:nvSpPr>
          <p:spPr bwMode="gray">
            <a:xfrm>
              <a:off x="6700683" y="3627929"/>
              <a:ext cx="45649" cy="129513"/>
            </a:xfrm>
            <a:custGeom>
              <a:avLst/>
              <a:gdLst/>
              <a:ahLst/>
              <a:cxnLst>
                <a:cxn ang="0">
                  <a:pos x="0" y="70"/>
                </a:cxn>
                <a:cxn ang="0">
                  <a:pos x="28" y="141"/>
                </a:cxn>
                <a:cxn ang="0">
                  <a:pos x="32" y="139"/>
                </a:cxn>
                <a:cxn ang="0">
                  <a:pos x="47" y="63"/>
                </a:cxn>
                <a:cxn ang="0">
                  <a:pos x="27" y="68"/>
                </a:cxn>
                <a:cxn ang="0">
                  <a:pos x="32" y="35"/>
                </a:cxn>
                <a:cxn ang="0">
                  <a:pos x="49" y="19"/>
                </a:cxn>
                <a:cxn ang="0">
                  <a:pos x="53" y="0"/>
                </a:cxn>
                <a:cxn ang="0">
                  <a:pos x="35" y="2"/>
                </a:cxn>
                <a:cxn ang="0">
                  <a:pos x="0" y="70"/>
                </a:cxn>
              </a:cxnLst>
              <a:rect l="0" t="0" r="r" b="b"/>
              <a:pathLst>
                <a:path w="53" h="141">
                  <a:moveTo>
                    <a:pt x="0" y="70"/>
                  </a:moveTo>
                  <a:lnTo>
                    <a:pt x="28" y="141"/>
                  </a:lnTo>
                  <a:lnTo>
                    <a:pt x="32" y="139"/>
                  </a:lnTo>
                  <a:lnTo>
                    <a:pt x="47" y="63"/>
                  </a:lnTo>
                  <a:lnTo>
                    <a:pt x="27" y="68"/>
                  </a:lnTo>
                  <a:lnTo>
                    <a:pt x="32" y="35"/>
                  </a:lnTo>
                  <a:lnTo>
                    <a:pt x="49" y="19"/>
                  </a:lnTo>
                  <a:lnTo>
                    <a:pt x="53" y="0"/>
                  </a:lnTo>
                  <a:lnTo>
                    <a:pt x="35" y="2"/>
                  </a:lnTo>
                  <a:lnTo>
                    <a:pt x="0" y="7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02" name="30606373.25358.2511.87511.1255">
              <a:extLst>
                <a:ext uri="{FF2B5EF4-FFF2-40B4-BE49-F238E27FC236}">
                  <a16:creationId xmlns:a16="http://schemas.microsoft.com/office/drawing/2014/main" id="{DB565F00-7876-44DB-95E6-A3306AE4A2AD}"/>
                </a:ext>
              </a:extLst>
            </p:cNvPr>
            <p:cNvSpPr>
              <a:spLocks noChangeAspect="1"/>
            </p:cNvSpPr>
            <p:nvPr/>
          </p:nvSpPr>
          <p:spPr bwMode="gray">
            <a:xfrm>
              <a:off x="5414927" y="4344459"/>
              <a:ext cx="180692" cy="191748"/>
            </a:xfrm>
            <a:custGeom>
              <a:avLst/>
              <a:gdLst/>
              <a:ahLst/>
              <a:cxnLst>
                <a:cxn ang="0">
                  <a:pos x="0" y="139"/>
                </a:cxn>
                <a:cxn ang="0">
                  <a:pos x="3" y="107"/>
                </a:cxn>
                <a:cxn ang="0">
                  <a:pos x="8" y="74"/>
                </a:cxn>
                <a:cxn ang="0">
                  <a:pos x="29" y="78"/>
                </a:cxn>
                <a:cxn ang="0">
                  <a:pos x="19" y="18"/>
                </a:cxn>
                <a:cxn ang="0">
                  <a:pos x="77" y="0"/>
                </a:cxn>
                <a:cxn ang="0">
                  <a:pos x="111" y="12"/>
                </a:cxn>
                <a:cxn ang="0">
                  <a:pos x="129" y="33"/>
                </a:cxn>
                <a:cxn ang="0">
                  <a:pos x="196" y="40"/>
                </a:cxn>
                <a:cxn ang="0">
                  <a:pos x="183" y="189"/>
                </a:cxn>
                <a:cxn ang="0">
                  <a:pos x="31" y="211"/>
                </a:cxn>
                <a:cxn ang="0">
                  <a:pos x="36" y="162"/>
                </a:cxn>
                <a:cxn ang="0">
                  <a:pos x="0" y="139"/>
                </a:cxn>
              </a:cxnLst>
              <a:rect l="0" t="0" r="r" b="b"/>
              <a:pathLst>
                <a:path w="196" h="211">
                  <a:moveTo>
                    <a:pt x="0" y="139"/>
                  </a:moveTo>
                  <a:lnTo>
                    <a:pt x="3" y="107"/>
                  </a:lnTo>
                  <a:lnTo>
                    <a:pt x="8" y="74"/>
                  </a:lnTo>
                  <a:lnTo>
                    <a:pt x="29" y="78"/>
                  </a:lnTo>
                  <a:lnTo>
                    <a:pt x="19" y="18"/>
                  </a:lnTo>
                  <a:lnTo>
                    <a:pt x="77" y="0"/>
                  </a:lnTo>
                  <a:lnTo>
                    <a:pt x="111" y="12"/>
                  </a:lnTo>
                  <a:lnTo>
                    <a:pt x="129" y="33"/>
                  </a:lnTo>
                  <a:lnTo>
                    <a:pt x="196" y="40"/>
                  </a:lnTo>
                  <a:lnTo>
                    <a:pt x="183" y="189"/>
                  </a:lnTo>
                  <a:lnTo>
                    <a:pt x="31" y="211"/>
                  </a:lnTo>
                  <a:lnTo>
                    <a:pt x="36" y="162"/>
                  </a:lnTo>
                  <a:lnTo>
                    <a:pt x="0" y="13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03" name="30607328.75439.8758.758.255">
              <a:extLst>
                <a:ext uri="{FF2B5EF4-FFF2-40B4-BE49-F238E27FC236}">
                  <a16:creationId xmlns:a16="http://schemas.microsoft.com/office/drawing/2014/main" id="{B82A58F7-1887-4EE4-8899-69A807E4240E}"/>
                </a:ext>
              </a:extLst>
            </p:cNvPr>
            <p:cNvSpPr>
              <a:spLocks noChangeAspect="1"/>
            </p:cNvSpPr>
            <p:nvPr/>
          </p:nvSpPr>
          <p:spPr bwMode="gray">
            <a:xfrm>
              <a:off x="6725410" y="3624564"/>
              <a:ext cx="133142" cy="139604"/>
            </a:xfrm>
            <a:custGeom>
              <a:avLst/>
              <a:gdLst/>
              <a:ahLst/>
              <a:cxnLst>
                <a:cxn ang="0">
                  <a:pos x="0" y="74"/>
                </a:cxn>
                <a:cxn ang="0">
                  <a:pos x="5" y="41"/>
                </a:cxn>
                <a:cxn ang="0">
                  <a:pos x="22" y="25"/>
                </a:cxn>
                <a:cxn ang="0">
                  <a:pos x="57" y="39"/>
                </a:cxn>
                <a:cxn ang="0">
                  <a:pos x="129" y="0"/>
                </a:cxn>
                <a:cxn ang="0">
                  <a:pos x="145" y="43"/>
                </a:cxn>
                <a:cxn ang="0">
                  <a:pos x="70" y="68"/>
                </a:cxn>
                <a:cxn ang="0">
                  <a:pos x="107" y="102"/>
                </a:cxn>
                <a:cxn ang="0">
                  <a:pos x="87" y="124"/>
                </a:cxn>
                <a:cxn ang="0">
                  <a:pos x="42" y="156"/>
                </a:cxn>
                <a:cxn ang="0">
                  <a:pos x="5" y="145"/>
                </a:cxn>
                <a:cxn ang="0">
                  <a:pos x="20" y="69"/>
                </a:cxn>
                <a:cxn ang="0">
                  <a:pos x="0" y="74"/>
                </a:cxn>
              </a:cxnLst>
              <a:rect l="0" t="0" r="r" b="b"/>
              <a:pathLst>
                <a:path w="145" h="156">
                  <a:moveTo>
                    <a:pt x="0" y="74"/>
                  </a:moveTo>
                  <a:lnTo>
                    <a:pt x="5" y="41"/>
                  </a:lnTo>
                  <a:lnTo>
                    <a:pt x="22" y="25"/>
                  </a:lnTo>
                  <a:lnTo>
                    <a:pt x="57" y="39"/>
                  </a:lnTo>
                  <a:lnTo>
                    <a:pt x="129" y="0"/>
                  </a:lnTo>
                  <a:lnTo>
                    <a:pt x="145" y="43"/>
                  </a:lnTo>
                  <a:lnTo>
                    <a:pt x="70" y="68"/>
                  </a:lnTo>
                  <a:lnTo>
                    <a:pt x="107" y="102"/>
                  </a:lnTo>
                  <a:lnTo>
                    <a:pt x="87" y="124"/>
                  </a:lnTo>
                  <a:lnTo>
                    <a:pt x="42" y="156"/>
                  </a:lnTo>
                  <a:lnTo>
                    <a:pt x="5" y="145"/>
                  </a:lnTo>
                  <a:lnTo>
                    <a:pt x="20" y="69"/>
                  </a:lnTo>
                  <a:lnTo>
                    <a:pt x="0" y="7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04" name="30608384.875438.37517.2514.8755">
              <a:extLst>
                <a:ext uri="{FF2B5EF4-FFF2-40B4-BE49-F238E27FC236}">
                  <a16:creationId xmlns:a16="http://schemas.microsoft.com/office/drawing/2014/main" id="{87FB613F-43B7-4C87-85DA-0735ED04C659}"/>
                </a:ext>
              </a:extLst>
            </p:cNvPr>
            <p:cNvSpPr>
              <a:spLocks noChangeAspect="1"/>
            </p:cNvSpPr>
            <p:nvPr/>
          </p:nvSpPr>
          <p:spPr bwMode="gray">
            <a:xfrm>
              <a:off x="6700683" y="4531161"/>
              <a:ext cx="239653" cy="279212"/>
            </a:xfrm>
            <a:custGeom>
              <a:avLst/>
              <a:gdLst/>
              <a:ahLst/>
              <a:cxnLst>
                <a:cxn ang="0">
                  <a:pos x="0" y="19"/>
                </a:cxn>
                <a:cxn ang="0">
                  <a:pos x="36" y="84"/>
                </a:cxn>
                <a:cxn ang="0">
                  <a:pos x="0" y="144"/>
                </a:cxn>
                <a:cxn ang="0">
                  <a:pos x="28" y="161"/>
                </a:cxn>
                <a:cxn ang="0">
                  <a:pos x="9" y="183"/>
                </a:cxn>
                <a:cxn ang="0">
                  <a:pos x="180" y="307"/>
                </a:cxn>
                <a:cxn ang="0">
                  <a:pos x="253" y="208"/>
                </a:cxn>
                <a:cxn ang="0">
                  <a:pos x="237" y="180"/>
                </a:cxn>
                <a:cxn ang="0">
                  <a:pos x="237" y="58"/>
                </a:cxn>
                <a:cxn ang="0">
                  <a:pos x="264" y="22"/>
                </a:cxn>
                <a:cxn ang="0">
                  <a:pos x="168" y="37"/>
                </a:cxn>
                <a:cxn ang="0">
                  <a:pos x="62" y="0"/>
                </a:cxn>
                <a:cxn ang="0">
                  <a:pos x="0" y="19"/>
                </a:cxn>
              </a:cxnLst>
              <a:rect l="0" t="0" r="r" b="b"/>
              <a:pathLst>
                <a:path w="264" h="307">
                  <a:moveTo>
                    <a:pt x="0" y="19"/>
                  </a:moveTo>
                  <a:lnTo>
                    <a:pt x="36" y="84"/>
                  </a:lnTo>
                  <a:lnTo>
                    <a:pt x="0" y="144"/>
                  </a:lnTo>
                  <a:lnTo>
                    <a:pt x="28" y="161"/>
                  </a:lnTo>
                  <a:lnTo>
                    <a:pt x="9" y="183"/>
                  </a:lnTo>
                  <a:lnTo>
                    <a:pt x="180" y="307"/>
                  </a:lnTo>
                  <a:lnTo>
                    <a:pt x="253" y="208"/>
                  </a:lnTo>
                  <a:lnTo>
                    <a:pt x="237" y="180"/>
                  </a:lnTo>
                  <a:lnTo>
                    <a:pt x="237" y="58"/>
                  </a:lnTo>
                  <a:lnTo>
                    <a:pt x="264" y="22"/>
                  </a:lnTo>
                  <a:lnTo>
                    <a:pt x="168" y="37"/>
                  </a:lnTo>
                  <a:lnTo>
                    <a:pt x="62" y="0"/>
                  </a:lnTo>
                  <a:lnTo>
                    <a:pt x="0" y="1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05" name="30609335.625462.12533.3755">
              <a:extLst>
                <a:ext uri="{FF2B5EF4-FFF2-40B4-BE49-F238E27FC236}">
                  <a16:creationId xmlns:a16="http://schemas.microsoft.com/office/drawing/2014/main" id="{1B26D5AF-BEC7-406E-8435-7363BAEBB0BF}"/>
                </a:ext>
              </a:extLst>
            </p:cNvPr>
            <p:cNvSpPr>
              <a:spLocks noChangeAspect="1"/>
            </p:cNvSpPr>
            <p:nvPr/>
          </p:nvSpPr>
          <p:spPr bwMode="gray">
            <a:xfrm>
              <a:off x="7082988" y="3733894"/>
              <a:ext cx="53255" cy="48776"/>
            </a:xfrm>
            <a:custGeom>
              <a:avLst/>
              <a:gdLst/>
              <a:ahLst/>
              <a:cxnLst>
                <a:cxn ang="0">
                  <a:pos x="0" y="32"/>
                </a:cxn>
                <a:cxn ang="0">
                  <a:pos x="49" y="0"/>
                </a:cxn>
                <a:cxn ang="0">
                  <a:pos x="60" y="51"/>
                </a:cxn>
                <a:cxn ang="0">
                  <a:pos x="0" y="32"/>
                </a:cxn>
              </a:cxnLst>
              <a:rect l="0" t="0" r="r" b="b"/>
              <a:pathLst>
                <a:path w="60" h="51">
                  <a:moveTo>
                    <a:pt x="0" y="32"/>
                  </a:moveTo>
                  <a:lnTo>
                    <a:pt x="49" y="0"/>
                  </a:lnTo>
                  <a:lnTo>
                    <a:pt x="60" y="51"/>
                  </a:lnTo>
                  <a:lnTo>
                    <a:pt x="0" y="32"/>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06" name="30610325.875440.253.37535">
              <a:extLst>
                <a:ext uri="{FF2B5EF4-FFF2-40B4-BE49-F238E27FC236}">
                  <a16:creationId xmlns:a16="http://schemas.microsoft.com/office/drawing/2014/main" id="{E65D8BEF-8D36-4284-8034-C6AA2D18EE86}"/>
                </a:ext>
              </a:extLst>
            </p:cNvPr>
            <p:cNvSpPr>
              <a:spLocks noChangeAspect="1"/>
            </p:cNvSpPr>
            <p:nvPr/>
          </p:nvSpPr>
          <p:spPr bwMode="gray">
            <a:xfrm>
              <a:off x="6731116" y="3577469"/>
              <a:ext cx="47550" cy="52141"/>
            </a:xfrm>
            <a:custGeom>
              <a:avLst/>
              <a:gdLst/>
              <a:ahLst/>
              <a:cxnLst>
                <a:cxn ang="0">
                  <a:pos x="0" y="59"/>
                </a:cxn>
                <a:cxn ang="0">
                  <a:pos x="18" y="57"/>
                </a:cxn>
                <a:cxn ang="0">
                  <a:pos x="52" y="18"/>
                </a:cxn>
                <a:cxn ang="0">
                  <a:pos x="33" y="0"/>
                </a:cxn>
                <a:cxn ang="0">
                  <a:pos x="0" y="59"/>
                </a:cxn>
              </a:cxnLst>
              <a:rect l="0" t="0" r="r" b="b"/>
              <a:pathLst>
                <a:path w="52" h="59">
                  <a:moveTo>
                    <a:pt x="0" y="59"/>
                  </a:moveTo>
                  <a:lnTo>
                    <a:pt x="18" y="57"/>
                  </a:lnTo>
                  <a:lnTo>
                    <a:pt x="52" y="18"/>
                  </a:lnTo>
                  <a:lnTo>
                    <a:pt x="33" y="0"/>
                  </a:lnTo>
                  <a:lnTo>
                    <a:pt x="0" y="5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07" name="30611377.625352.8757.57.3755">
              <a:extLst>
                <a:ext uri="{FF2B5EF4-FFF2-40B4-BE49-F238E27FC236}">
                  <a16:creationId xmlns:a16="http://schemas.microsoft.com/office/drawing/2014/main" id="{D249BFA3-31D4-46D2-BA7A-F49506F2EDA6}"/>
                </a:ext>
              </a:extLst>
            </p:cNvPr>
            <p:cNvSpPr>
              <a:spLocks noChangeAspect="1"/>
            </p:cNvSpPr>
            <p:nvPr/>
          </p:nvSpPr>
          <p:spPr bwMode="gray">
            <a:xfrm>
              <a:off x="5329339" y="4415101"/>
              <a:ext cx="119826" cy="121102"/>
            </a:xfrm>
            <a:custGeom>
              <a:avLst/>
              <a:gdLst/>
              <a:ahLst/>
              <a:cxnLst>
                <a:cxn ang="0">
                  <a:pos x="0" y="50"/>
                </a:cxn>
                <a:cxn ang="0">
                  <a:pos x="41" y="0"/>
                </a:cxn>
                <a:cxn ang="0">
                  <a:pos x="61" y="1"/>
                </a:cxn>
                <a:cxn ang="0">
                  <a:pos x="63" y="36"/>
                </a:cxn>
                <a:cxn ang="0">
                  <a:pos x="99" y="30"/>
                </a:cxn>
                <a:cxn ang="0">
                  <a:pos x="96" y="62"/>
                </a:cxn>
                <a:cxn ang="0">
                  <a:pos x="132" y="85"/>
                </a:cxn>
                <a:cxn ang="0">
                  <a:pos x="127" y="134"/>
                </a:cxn>
                <a:cxn ang="0">
                  <a:pos x="0" y="50"/>
                </a:cxn>
              </a:cxnLst>
              <a:rect l="0" t="0" r="r" b="b"/>
              <a:pathLst>
                <a:path w="132" h="134">
                  <a:moveTo>
                    <a:pt x="0" y="50"/>
                  </a:moveTo>
                  <a:lnTo>
                    <a:pt x="41" y="0"/>
                  </a:lnTo>
                  <a:lnTo>
                    <a:pt x="61" y="1"/>
                  </a:lnTo>
                  <a:lnTo>
                    <a:pt x="63" y="36"/>
                  </a:lnTo>
                  <a:lnTo>
                    <a:pt x="99" y="30"/>
                  </a:lnTo>
                  <a:lnTo>
                    <a:pt x="96" y="62"/>
                  </a:lnTo>
                  <a:lnTo>
                    <a:pt x="132" y="85"/>
                  </a:lnTo>
                  <a:lnTo>
                    <a:pt x="127" y="134"/>
                  </a:lnTo>
                  <a:lnTo>
                    <a:pt x="0" y="5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08" name="30612329.2539227.12529.55">
              <a:extLst>
                <a:ext uri="{FF2B5EF4-FFF2-40B4-BE49-F238E27FC236}">
                  <a16:creationId xmlns:a16="http://schemas.microsoft.com/office/drawing/2014/main" id="{1BBA01C4-266A-4954-BC12-E8E4DC3FC952}"/>
                </a:ext>
              </a:extLst>
            </p:cNvPr>
            <p:cNvSpPr>
              <a:spLocks noChangeAspect="1"/>
            </p:cNvSpPr>
            <p:nvPr/>
          </p:nvSpPr>
          <p:spPr bwMode="gray">
            <a:xfrm>
              <a:off x="5955098" y="3629613"/>
              <a:ext cx="475500" cy="440683"/>
            </a:xfrm>
            <a:custGeom>
              <a:avLst/>
              <a:gdLst/>
              <a:ahLst/>
              <a:cxnLst>
                <a:cxn ang="0">
                  <a:pos x="0" y="254"/>
                </a:cxn>
                <a:cxn ang="0">
                  <a:pos x="2" y="105"/>
                </a:cxn>
                <a:cxn ang="0">
                  <a:pos x="68" y="0"/>
                </a:cxn>
                <a:cxn ang="0">
                  <a:pos x="191" y="31"/>
                </a:cxn>
                <a:cxn ang="0">
                  <a:pos x="215" y="66"/>
                </a:cxn>
                <a:cxn ang="0">
                  <a:pos x="316" y="105"/>
                </a:cxn>
                <a:cxn ang="0">
                  <a:pos x="349" y="91"/>
                </a:cxn>
                <a:cxn ang="0">
                  <a:pos x="352" y="39"/>
                </a:cxn>
                <a:cxn ang="0">
                  <a:pos x="385" y="14"/>
                </a:cxn>
                <a:cxn ang="0">
                  <a:pos x="522" y="55"/>
                </a:cxn>
                <a:cxn ang="0">
                  <a:pos x="507" y="113"/>
                </a:cxn>
                <a:cxn ang="0">
                  <a:pos x="522" y="398"/>
                </a:cxn>
                <a:cxn ang="0">
                  <a:pos x="522" y="465"/>
                </a:cxn>
                <a:cxn ang="0">
                  <a:pos x="492" y="467"/>
                </a:cxn>
                <a:cxn ang="0">
                  <a:pos x="492" y="486"/>
                </a:cxn>
                <a:cxn ang="0">
                  <a:pos x="224" y="348"/>
                </a:cxn>
                <a:cxn ang="0">
                  <a:pos x="190" y="362"/>
                </a:cxn>
                <a:cxn ang="0">
                  <a:pos x="79" y="346"/>
                </a:cxn>
                <a:cxn ang="0">
                  <a:pos x="0" y="254"/>
                </a:cxn>
              </a:cxnLst>
              <a:rect l="0" t="0" r="r" b="b"/>
              <a:pathLst>
                <a:path w="522" h="486">
                  <a:moveTo>
                    <a:pt x="0" y="254"/>
                  </a:moveTo>
                  <a:lnTo>
                    <a:pt x="2" y="105"/>
                  </a:lnTo>
                  <a:lnTo>
                    <a:pt x="68" y="0"/>
                  </a:lnTo>
                  <a:lnTo>
                    <a:pt x="191" y="31"/>
                  </a:lnTo>
                  <a:lnTo>
                    <a:pt x="215" y="66"/>
                  </a:lnTo>
                  <a:lnTo>
                    <a:pt x="316" y="105"/>
                  </a:lnTo>
                  <a:lnTo>
                    <a:pt x="349" y="91"/>
                  </a:lnTo>
                  <a:lnTo>
                    <a:pt x="352" y="39"/>
                  </a:lnTo>
                  <a:lnTo>
                    <a:pt x="385" y="14"/>
                  </a:lnTo>
                  <a:lnTo>
                    <a:pt x="522" y="55"/>
                  </a:lnTo>
                  <a:lnTo>
                    <a:pt x="507" y="113"/>
                  </a:lnTo>
                  <a:lnTo>
                    <a:pt x="522" y="398"/>
                  </a:lnTo>
                  <a:lnTo>
                    <a:pt x="522" y="465"/>
                  </a:lnTo>
                  <a:lnTo>
                    <a:pt x="492" y="467"/>
                  </a:lnTo>
                  <a:lnTo>
                    <a:pt x="492" y="486"/>
                  </a:lnTo>
                  <a:lnTo>
                    <a:pt x="224" y="348"/>
                  </a:lnTo>
                  <a:lnTo>
                    <a:pt x="190" y="362"/>
                  </a:lnTo>
                  <a:lnTo>
                    <a:pt x="79" y="346"/>
                  </a:lnTo>
                  <a:lnTo>
                    <a:pt x="0" y="25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09" name="30613416.25455.526.12513.3755">
              <a:extLst>
                <a:ext uri="{FF2B5EF4-FFF2-40B4-BE49-F238E27FC236}">
                  <a16:creationId xmlns:a16="http://schemas.microsoft.com/office/drawing/2014/main" id="{8163B1AD-E11A-401C-9A95-A7E5AFBF81D8}"/>
                </a:ext>
              </a:extLst>
            </p:cNvPr>
            <p:cNvSpPr>
              <a:spLocks noChangeAspect="1"/>
            </p:cNvSpPr>
            <p:nvPr/>
          </p:nvSpPr>
          <p:spPr bwMode="gray">
            <a:xfrm>
              <a:off x="6974573" y="5039122"/>
              <a:ext cx="214926" cy="425542"/>
            </a:xfrm>
            <a:custGeom>
              <a:avLst/>
              <a:gdLst/>
              <a:ahLst/>
              <a:cxnLst>
                <a:cxn ang="0">
                  <a:pos x="0" y="332"/>
                </a:cxn>
                <a:cxn ang="0">
                  <a:pos x="21" y="427"/>
                </a:cxn>
                <a:cxn ang="0">
                  <a:pos x="65" y="464"/>
                </a:cxn>
                <a:cxn ang="0">
                  <a:pos x="138" y="427"/>
                </a:cxn>
                <a:cxn ang="0">
                  <a:pos x="220" y="107"/>
                </a:cxn>
                <a:cxn ang="0">
                  <a:pos x="235" y="120"/>
                </a:cxn>
                <a:cxn ang="0">
                  <a:pos x="199" y="0"/>
                </a:cxn>
                <a:cxn ang="0">
                  <a:pos x="157" y="50"/>
                </a:cxn>
                <a:cxn ang="0">
                  <a:pos x="158" y="85"/>
                </a:cxn>
                <a:cxn ang="0">
                  <a:pos x="106" y="123"/>
                </a:cxn>
                <a:cxn ang="0">
                  <a:pos x="41" y="139"/>
                </a:cxn>
                <a:cxn ang="0">
                  <a:pos x="23" y="180"/>
                </a:cxn>
                <a:cxn ang="0">
                  <a:pos x="41" y="261"/>
                </a:cxn>
                <a:cxn ang="0">
                  <a:pos x="0" y="332"/>
                </a:cxn>
              </a:cxnLst>
              <a:rect l="0" t="0" r="r" b="b"/>
              <a:pathLst>
                <a:path w="235" h="464">
                  <a:moveTo>
                    <a:pt x="0" y="332"/>
                  </a:moveTo>
                  <a:lnTo>
                    <a:pt x="21" y="427"/>
                  </a:lnTo>
                  <a:lnTo>
                    <a:pt x="65" y="464"/>
                  </a:lnTo>
                  <a:lnTo>
                    <a:pt x="138" y="427"/>
                  </a:lnTo>
                  <a:lnTo>
                    <a:pt x="220" y="107"/>
                  </a:lnTo>
                  <a:lnTo>
                    <a:pt x="235" y="120"/>
                  </a:lnTo>
                  <a:lnTo>
                    <a:pt x="199" y="0"/>
                  </a:lnTo>
                  <a:lnTo>
                    <a:pt x="157" y="50"/>
                  </a:lnTo>
                  <a:lnTo>
                    <a:pt x="158" y="85"/>
                  </a:lnTo>
                  <a:lnTo>
                    <a:pt x="106" y="123"/>
                  </a:lnTo>
                  <a:lnTo>
                    <a:pt x="41" y="139"/>
                  </a:lnTo>
                  <a:lnTo>
                    <a:pt x="23" y="180"/>
                  </a:lnTo>
                  <a:lnTo>
                    <a:pt x="41" y="261"/>
                  </a:lnTo>
                  <a:lnTo>
                    <a:pt x="0" y="332"/>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10" name="30614411436.12514.7565">
              <a:extLst>
                <a:ext uri="{FF2B5EF4-FFF2-40B4-BE49-F238E27FC236}">
                  <a16:creationId xmlns:a16="http://schemas.microsoft.com/office/drawing/2014/main" id="{75AFF221-E514-4A56-B1A1-1342BAE0C5C0}"/>
                </a:ext>
              </a:extLst>
            </p:cNvPr>
            <p:cNvSpPr>
              <a:spLocks noChangeAspect="1"/>
            </p:cNvSpPr>
            <p:nvPr/>
          </p:nvSpPr>
          <p:spPr bwMode="gray">
            <a:xfrm>
              <a:off x="6664545" y="4956704"/>
              <a:ext cx="95099" cy="237163"/>
            </a:xfrm>
            <a:custGeom>
              <a:avLst/>
              <a:gdLst/>
              <a:ahLst/>
              <a:cxnLst>
                <a:cxn ang="0">
                  <a:pos x="0" y="142"/>
                </a:cxn>
                <a:cxn ang="0">
                  <a:pos x="14" y="158"/>
                </a:cxn>
                <a:cxn ang="0">
                  <a:pos x="57" y="172"/>
                </a:cxn>
                <a:cxn ang="0">
                  <a:pos x="51" y="221"/>
                </a:cxn>
                <a:cxn ang="0">
                  <a:pos x="87" y="261"/>
                </a:cxn>
                <a:cxn ang="0">
                  <a:pos x="107" y="187"/>
                </a:cxn>
                <a:cxn ang="0">
                  <a:pos x="73" y="138"/>
                </a:cxn>
                <a:cxn ang="0">
                  <a:pos x="84" y="165"/>
                </a:cxn>
                <a:cxn ang="0">
                  <a:pos x="63" y="164"/>
                </a:cxn>
                <a:cxn ang="0">
                  <a:pos x="41" y="96"/>
                </a:cxn>
                <a:cxn ang="0">
                  <a:pos x="40" y="7"/>
                </a:cxn>
                <a:cxn ang="0">
                  <a:pos x="7" y="0"/>
                </a:cxn>
                <a:cxn ang="0">
                  <a:pos x="33" y="43"/>
                </a:cxn>
                <a:cxn ang="0">
                  <a:pos x="0" y="142"/>
                </a:cxn>
              </a:cxnLst>
              <a:rect l="0" t="0" r="r" b="b"/>
              <a:pathLst>
                <a:path w="107" h="261">
                  <a:moveTo>
                    <a:pt x="0" y="142"/>
                  </a:moveTo>
                  <a:lnTo>
                    <a:pt x="14" y="158"/>
                  </a:lnTo>
                  <a:lnTo>
                    <a:pt x="57" y="172"/>
                  </a:lnTo>
                  <a:lnTo>
                    <a:pt x="51" y="221"/>
                  </a:lnTo>
                  <a:lnTo>
                    <a:pt x="87" y="261"/>
                  </a:lnTo>
                  <a:lnTo>
                    <a:pt x="107" y="187"/>
                  </a:lnTo>
                  <a:lnTo>
                    <a:pt x="73" y="138"/>
                  </a:lnTo>
                  <a:lnTo>
                    <a:pt x="84" y="165"/>
                  </a:lnTo>
                  <a:lnTo>
                    <a:pt x="63" y="164"/>
                  </a:lnTo>
                  <a:lnTo>
                    <a:pt x="41" y="96"/>
                  </a:lnTo>
                  <a:lnTo>
                    <a:pt x="40" y="7"/>
                  </a:lnTo>
                  <a:lnTo>
                    <a:pt x="7" y="0"/>
                  </a:lnTo>
                  <a:lnTo>
                    <a:pt x="33" y="43"/>
                  </a:lnTo>
                  <a:lnTo>
                    <a:pt x="0" y="142"/>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11" name="30615345.625351.62528.62530.55">
              <a:extLst>
                <a:ext uri="{FF2B5EF4-FFF2-40B4-BE49-F238E27FC236}">
                  <a16:creationId xmlns:a16="http://schemas.microsoft.com/office/drawing/2014/main" id="{F29F965E-4AD9-400A-826B-AD911C94E497}"/>
                </a:ext>
              </a:extLst>
            </p:cNvPr>
            <p:cNvSpPr>
              <a:spLocks noChangeAspect="1"/>
            </p:cNvSpPr>
            <p:nvPr/>
          </p:nvSpPr>
          <p:spPr bwMode="gray">
            <a:xfrm>
              <a:off x="5310317" y="3897049"/>
              <a:ext cx="486915" cy="460865"/>
            </a:xfrm>
            <a:custGeom>
              <a:avLst/>
              <a:gdLst/>
              <a:ahLst/>
              <a:cxnLst>
                <a:cxn ang="0">
                  <a:pos x="0" y="351"/>
                </a:cxn>
                <a:cxn ang="0">
                  <a:pos x="23" y="315"/>
                </a:cxn>
                <a:cxn ang="0">
                  <a:pos x="49" y="338"/>
                </a:cxn>
                <a:cxn ang="0">
                  <a:pos x="218" y="327"/>
                </a:cxn>
                <a:cxn ang="0">
                  <a:pos x="182" y="0"/>
                </a:cxn>
                <a:cxn ang="0">
                  <a:pos x="241" y="0"/>
                </a:cxn>
                <a:cxn ang="0">
                  <a:pos x="509" y="177"/>
                </a:cxn>
                <a:cxn ang="0">
                  <a:pos x="512" y="207"/>
                </a:cxn>
                <a:cxn ang="0">
                  <a:pos x="538" y="203"/>
                </a:cxn>
                <a:cxn ang="0">
                  <a:pos x="540" y="308"/>
                </a:cxn>
                <a:cxn ang="0">
                  <a:pos x="518" y="330"/>
                </a:cxn>
                <a:cxn ang="0">
                  <a:pos x="409" y="344"/>
                </a:cxn>
                <a:cxn ang="0">
                  <a:pos x="272" y="404"/>
                </a:cxn>
                <a:cxn ang="0">
                  <a:pos x="229" y="500"/>
                </a:cxn>
                <a:cxn ang="0">
                  <a:pos x="195" y="488"/>
                </a:cxn>
                <a:cxn ang="0">
                  <a:pos x="137" y="506"/>
                </a:cxn>
                <a:cxn ang="0">
                  <a:pos x="103" y="426"/>
                </a:cxn>
                <a:cxn ang="0">
                  <a:pos x="46" y="445"/>
                </a:cxn>
                <a:cxn ang="0">
                  <a:pos x="24" y="429"/>
                </a:cxn>
                <a:cxn ang="0">
                  <a:pos x="0" y="351"/>
                </a:cxn>
              </a:cxnLst>
              <a:rect l="0" t="0" r="r" b="b"/>
              <a:pathLst>
                <a:path w="540" h="506">
                  <a:moveTo>
                    <a:pt x="0" y="351"/>
                  </a:moveTo>
                  <a:lnTo>
                    <a:pt x="23" y="315"/>
                  </a:lnTo>
                  <a:lnTo>
                    <a:pt x="49" y="338"/>
                  </a:lnTo>
                  <a:lnTo>
                    <a:pt x="218" y="327"/>
                  </a:lnTo>
                  <a:lnTo>
                    <a:pt x="182" y="0"/>
                  </a:lnTo>
                  <a:lnTo>
                    <a:pt x="241" y="0"/>
                  </a:lnTo>
                  <a:lnTo>
                    <a:pt x="509" y="177"/>
                  </a:lnTo>
                  <a:lnTo>
                    <a:pt x="512" y="207"/>
                  </a:lnTo>
                  <a:lnTo>
                    <a:pt x="538" y="203"/>
                  </a:lnTo>
                  <a:lnTo>
                    <a:pt x="540" y="308"/>
                  </a:lnTo>
                  <a:lnTo>
                    <a:pt x="518" y="330"/>
                  </a:lnTo>
                  <a:lnTo>
                    <a:pt x="409" y="344"/>
                  </a:lnTo>
                  <a:lnTo>
                    <a:pt x="272" y="404"/>
                  </a:lnTo>
                  <a:lnTo>
                    <a:pt x="229" y="500"/>
                  </a:lnTo>
                  <a:lnTo>
                    <a:pt x="195" y="488"/>
                  </a:lnTo>
                  <a:lnTo>
                    <a:pt x="137" y="506"/>
                  </a:lnTo>
                  <a:lnTo>
                    <a:pt x="103" y="426"/>
                  </a:lnTo>
                  <a:lnTo>
                    <a:pt x="46" y="445"/>
                  </a:lnTo>
                  <a:lnTo>
                    <a:pt x="24" y="429"/>
                  </a:lnTo>
                  <a:lnTo>
                    <a:pt x="0" y="351"/>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12" name="30616341.125342.524.2522.755">
              <a:extLst>
                <a:ext uri="{FF2B5EF4-FFF2-40B4-BE49-F238E27FC236}">
                  <a16:creationId xmlns:a16="http://schemas.microsoft.com/office/drawing/2014/main" id="{D448AB38-FE0B-4829-B9AB-A8940316FCAE}"/>
                </a:ext>
              </a:extLst>
            </p:cNvPr>
            <p:cNvSpPr>
              <a:spLocks noChangeAspect="1"/>
            </p:cNvSpPr>
            <p:nvPr/>
          </p:nvSpPr>
          <p:spPr bwMode="gray">
            <a:xfrm>
              <a:off x="5163863" y="3823042"/>
              <a:ext cx="365184" cy="393588"/>
            </a:xfrm>
            <a:custGeom>
              <a:avLst/>
              <a:gdLst/>
              <a:ahLst/>
              <a:cxnLst>
                <a:cxn ang="0">
                  <a:pos x="0" y="217"/>
                </a:cxn>
                <a:cxn ang="0">
                  <a:pos x="25" y="242"/>
                </a:cxn>
                <a:cxn ang="0">
                  <a:pos x="31" y="306"/>
                </a:cxn>
                <a:cxn ang="0">
                  <a:pos x="11" y="388"/>
                </a:cxn>
                <a:cxn ang="0">
                  <a:pos x="87" y="370"/>
                </a:cxn>
                <a:cxn ang="0">
                  <a:pos x="163" y="432"/>
                </a:cxn>
                <a:cxn ang="0">
                  <a:pos x="186" y="396"/>
                </a:cxn>
                <a:cxn ang="0">
                  <a:pos x="212" y="419"/>
                </a:cxn>
                <a:cxn ang="0">
                  <a:pos x="381" y="408"/>
                </a:cxn>
                <a:cxn ang="0">
                  <a:pos x="345" y="81"/>
                </a:cxn>
                <a:cxn ang="0">
                  <a:pos x="404" y="81"/>
                </a:cxn>
                <a:cxn ang="0">
                  <a:pos x="281" y="0"/>
                </a:cxn>
                <a:cxn ang="0">
                  <a:pos x="278" y="44"/>
                </a:cxn>
                <a:cxn ang="0">
                  <a:pos x="171" y="41"/>
                </a:cxn>
                <a:cxn ang="0">
                  <a:pos x="169" y="132"/>
                </a:cxn>
                <a:cxn ang="0">
                  <a:pos x="131" y="148"/>
                </a:cxn>
                <a:cxn ang="0">
                  <a:pos x="134" y="203"/>
                </a:cxn>
                <a:cxn ang="0">
                  <a:pos x="0" y="217"/>
                </a:cxn>
              </a:cxnLst>
              <a:rect l="0" t="0" r="r" b="b"/>
              <a:pathLst>
                <a:path w="404" h="432">
                  <a:moveTo>
                    <a:pt x="0" y="217"/>
                  </a:moveTo>
                  <a:lnTo>
                    <a:pt x="25" y="242"/>
                  </a:lnTo>
                  <a:lnTo>
                    <a:pt x="31" y="306"/>
                  </a:lnTo>
                  <a:lnTo>
                    <a:pt x="11" y="388"/>
                  </a:lnTo>
                  <a:lnTo>
                    <a:pt x="87" y="370"/>
                  </a:lnTo>
                  <a:lnTo>
                    <a:pt x="163" y="432"/>
                  </a:lnTo>
                  <a:lnTo>
                    <a:pt x="186" y="396"/>
                  </a:lnTo>
                  <a:lnTo>
                    <a:pt x="212" y="419"/>
                  </a:lnTo>
                  <a:lnTo>
                    <a:pt x="381" y="408"/>
                  </a:lnTo>
                  <a:lnTo>
                    <a:pt x="345" y="81"/>
                  </a:lnTo>
                  <a:lnTo>
                    <a:pt x="404" y="81"/>
                  </a:lnTo>
                  <a:lnTo>
                    <a:pt x="281" y="0"/>
                  </a:lnTo>
                  <a:lnTo>
                    <a:pt x="278" y="44"/>
                  </a:lnTo>
                  <a:lnTo>
                    <a:pt x="171" y="41"/>
                  </a:lnTo>
                  <a:lnTo>
                    <a:pt x="169" y="132"/>
                  </a:lnTo>
                  <a:lnTo>
                    <a:pt x="131" y="148"/>
                  </a:lnTo>
                  <a:lnTo>
                    <a:pt x="134" y="203"/>
                  </a:lnTo>
                  <a:lnTo>
                    <a:pt x="0" y="217"/>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13" name="30617323.75349.87516.7522.1255">
              <a:extLst>
                <a:ext uri="{FF2B5EF4-FFF2-40B4-BE49-F238E27FC236}">
                  <a16:creationId xmlns:a16="http://schemas.microsoft.com/office/drawing/2014/main" id="{9ECE1CA9-D374-41E0-8163-2A59DE05C36C}"/>
                </a:ext>
              </a:extLst>
            </p:cNvPr>
            <p:cNvSpPr>
              <a:spLocks noChangeAspect="1"/>
            </p:cNvSpPr>
            <p:nvPr/>
          </p:nvSpPr>
          <p:spPr bwMode="gray">
            <a:xfrm>
              <a:off x="5281789" y="3540465"/>
              <a:ext cx="353773" cy="274166"/>
            </a:xfrm>
            <a:custGeom>
              <a:avLst/>
              <a:gdLst/>
              <a:ahLst/>
              <a:cxnLst>
                <a:cxn ang="0">
                  <a:pos x="0" y="291"/>
                </a:cxn>
                <a:cxn ang="0">
                  <a:pos x="97" y="235"/>
                </a:cxn>
                <a:cxn ang="0">
                  <a:pos x="131" y="118"/>
                </a:cxn>
                <a:cxn ang="0">
                  <a:pos x="213" y="59"/>
                </a:cxn>
                <a:cxn ang="0">
                  <a:pos x="241" y="0"/>
                </a:cxn>
                <a:cxn ang="0">
                  <a:pos x="360" y="19"/>
                </a:cxn>
                <a:cxn ang="0">
                  <a:pos x="392" y="129"/>
                </a:cxn>
                <a:cxn ang="0">
                  <a:pos x="338" y="132"/>
                </a:cxn>
                <a:cxn ang="0">
                  <a:pos x="310" y="144"/>
                </a:cxn>
                <a:cxn ang="0">
                  <a:pos x="315" y="173"/>
                </a:cxn>
                <a:cxn ang="0">
                  <a:pos x="164" y="239"/>
                </a:cxn>
                <a:cxn ang="0">
                  <a:pos x="146" y="295"/>
                </a:cxn>
                <a:cxn ang="0">
                  <a:pos x="0" y="291"/>
                </a:cxn>
              </a:cxnLst>
              <a:rect l="0" t="0" r="r" b="b"/>
              <a:pathLst>
                <a:path w="392" h="295">
                  <a:moveTo>
                    <a:pt x="0" y="291"/>
                  </a:moveTo>
                  <a:lnTo>
                    <a:pt x="97" y="235"/>
                  </a:lnTo>
                  <a:lnTo>
                    <a:pt x="131" y="118"/>
                  </a:lnTo>
                  <a:lnTo>
                    <a:pt x="213" y="59"/>
                  </a:lnTo>
                  <a:lnTo>
                    <a:pt x="241" y="0"/>
                  </a:lnTo>
                  <a:lnTo>
                    <a:pt x="360" y="19"/>
                  </a:lnTo>
                  <a:lnTo>
                    <a:pt x="392" y="129"/>
                  </a:lnTo>
                  <a:lnTo>
                    <a:pt x="338" y="132"/>
                  </a:lnTo>
                  <a:lnTo>
                    <a:pt x="310" y="144"/>
                  </a:lnTo>
                  <a:lnTo>
                    <a:pt x="315" y="173"/>
                  </a:lnTo>
                  <a:lnTo>
                    <a:pt x="164" y="239"/>
                  </a:lnTo>
                  <a:lnTo>
                    <a:pt x="146" y="295"/>
                  </a:lnTo>
                  <a:lnTo>
                    <a:pt x="0" y="291"/>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14" name="30618413430.87531.37519.755">
              <a:extLst>
                <a:ext uri="{FF2B5EF4-FFF2-40B4-BE49-F238E27FC236}">
                  <a16:creationId xmlns:a16="http://schemas.microsoft.com/office/drawing/2014/main" id="{348ED919-2843-447D-A1C7-F10125FFA9C2}"/>
                </a:ext>
              </a:extLst>
            </p:cNvPr>
            <p:cNvSpPr>
              <a:spLocks noChangeAspect="1"/>
            </p:cNvSpPr>
            <p:nvPr/>
          </p:nvSpPr>
          <p:spPr bwMode="gray">
            <a:xfrm>
              <a:off x="6578956" y="4988662"/>
              <a:ext cx="317635" cy="504599"/>
            </a:xfrm>
            <a:custGeom>
              <a:avLst/>
              <a:gdLst/>
              <a:ahLst/>
              <a:cxnLst>
                <a:cxn ang="0">
                  <a:pos x="0" y="155"/>
                </a:cxn>
                <a:cxn ang="0">
                  <a:pos x="9" y="173"/>
                </a:cxn>
                <a:cxn ang="0">
                  <a:pos x="92" y="199"/>
                </a:cxn>
                <a:cxn ang="0">
                  <a:pos x="100" y="234"/>
                </a:cxn>
                <a:cxn ang="0">
                  <a:pos x="96" y="322"/>
                </a:cxn>
                <a:cxn ang="0">
                  <a:pos x="52" y="414"/>
                </a:cxn>
                <a:cxn ang="0">
                  <a:pos x="64" y="522"/>
                </a:cxn>
                <a:cxn ang="0">
                  <a:pos x="68" y="557"/>
                </a:cxn>
                <a:cxn ang="0">
                  <a:pos x="95" y="557"/>
                </a:cxn>
                <a:cxn ang="0">
                  <a:pos x="95" y="520"/>
                </a:cxn>
                <a:cxn ang="0">
                  <a:pos x="181" y="470"/>
                </a:cxn>
                <a:cxn ang="0">
                  <a:pos x="156" y="322"/>
                </a:cxn>
                <a:cxn ang="0">
                  <a:pos x="349" y="172"/>
                </a:cxn>
                <a:cxn ang="0">
                  <a:pos x="352" y="0"/>
                </a:cxn>
                <a:cxn ang="0">
                  <a:pos x="302" y="30"/>
                </a:cxn>
                <a:cxn ang="0">
                  <a:pos x="169" y="38"/>
                </a:cxn>
                <a:cxn ang="0">
                  <a:pos x="166" y="102"/>
                </a:cxn>
                <a:cxn ang="0">
                  <a:pos x="200" y="151"/>
                </a:cxn>
                <a:cxn ang="0">
                  <a:pos x="180" y="225"/>
                </a:cxn>
                <a:cxn ang="0">
                  <a:pos x="144" y="185"/>
                </a:cxn>
                <a:cxn ang="0">
                  <a:pos x="150" y="136"/>
                </a:cxn>
                <a:cxn ang="0">
                  <a:pos x="107" y="122"/>
                </a:cxn>
                <a:cxn ang="0">
                  <a:pos x="0" y="155"/>
                </a:cxn>
              </a:cxnLst>
              <a:rect l="0" t="0" r="r" b="b"/>
              <a:pathLst>
                <a:path w="352" h="557">
                  <a:moveTo>
                    <a:pt x="0" y="155"/>
                  </a:moveTo>
                  <a:lnTo>
                    <a:pt x="9" y="173"/>
                  </a:lnTo>
                  <a:lnTo>
                    <a:pt x="92" y="199"/>
                  </a:lnTo>
                  <a:lnTo>
                    <a:pt x="100" y="234"/>
                  </a:lnTo>
                  <a:lnTo>
                    <a:pt x="96" y="322"/>
                  </a:lnTo>
                  <a:lnTo>
                    <a:pt x="52" y="414"/>
                  </a:lnTo>
                  <a:lnTo>
                    <a:pt x="64" y="522"/>
                  </a:lnTo>
                  <a:lnTo>
                    <a:pt x="68" y="557"/>
                  </a:lnTo>
                  <a:lnTo>
                    <a:pt x="95" y="557"/>
                  </a:lnTo>
                  <a:lnTo>
                    <a:pt x="95" y="520"/>
                  </a:lnTo>
                  <a:lnTo>
                    <a:pt x="181" y="470"/>
                  </a:lnTo>
                  <a:lnTo>
                    <a:pt x="156" y="322"/>
                  </a:lnTo>
                  <a:lnTo>
                    <a:pt x="349" y="172"/>
                  </a:lnTo>
                  <a:lnTo>
                    <a:pt x="352" y="0"/>
                  </a:lnTo>
                  <a:lnTo>
                    <a:pt x="302" y="30"/>
                  </a:lnTo>
                  <a:lnTo>
                    <a:pt x="169" y="38"/>
                  </a:lnTo>
                  <a:lnTo>
                    <a:pt x="166" y="102"/>
                  </a:lnTo>
                  <a:lnTo>
                    <a:pt x="200" y="151"/>
                  </a:lnTo>
                  <a:lnTo>
                    <a:pt x="180" y="225"/>
                  </a:lnTo>
                  <a:lnTo>
                    <a:pt x="144" y="185"/>
                  </a:lnTo>
                  <a:lnTo>
                    <a:pt x="150" y="136"/>
                  </a:lnTo>
                  <a:lnTo>
                    <a:pt x="107" y="122"/>
                  </a:lnTo>
                  <a:lnTo>
                    <a:pt x="0" y="15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15" name="30619348.5374.7522.87529.8755">
              <a:extLst>
                <a:ext uri="{FF2B5EF4-FFF2-40B4-BE49-F238E27FC236}">
                  <a16:creationId xmlns:a16="http://schemas.microsoft.com/office/drawing/2014/main" id="{A4D2749A-FCA4-414B-8B83-71D1E033479E}"/>
                </a:ext>
              </a:extLst>
            </p:cNvPr>
            <p:cNvSpPr>
              <a:spLocks noChangeAspect="1"/>
            </p:cNvSpPr>
            <p:nvPr/>
          </p:nvSpPr>
          <p:spPr bwMode="gray">
            <a:xfrm>
              <a:off x="5681207" y="3942464"/>
              <a:ext cx="477405" cy="371721"/>
            </a:xfrm>
            <a:custGeom>
              <a:avLst/>
              <a:gdLst/>
              <a:ahLst/>
              <a:cxnLst>
                <a:cxn ang="0">
                  <a:pos x="0" y="293"/>
                </a:cxn>
                <a:cxn ang="0">
                  <a:pos x="7" y="326"/>
                </a:cxn>
                <a:cxn ang="0">
                  <a:pos x="72" y="396"/>
                </a:cxn>
                <a:cxn ang="0">
                  <a:pos x="88" y="381"/>
                </a:cxn>
                <a:cxn ang="0">
                  <a:pos x="114" y="404"/>
                </a:cxn>
                <a:cxn ang="0">
                  <a:pos x="154" y="334"/>
                </a:cxn>
                <a:cxn ang="0">
                  <a:pos x="305" y="370"/>
                </a:cxn>
                <a:cxn ang="0">
                  <a:pos x="436" y="333"/>
                </a:cxn>
                <a:cxn ang="0">
                  <a:pos x="440" y="315"/>
                </a:cxn>
                <a:cxn ang="0">
                  <a:pos x="509" y="227"/>
                </a:cxn>
                <a:cxn ang="0">
                  <a:pos x="529" y="107"/>
                </a:cxn>
                <a:cxn ang="0">
                  <a:pos x="495" y="70"/>
                </a:cxn>
                <a:cxn ang="0">
                  <a:pos x="495" y="16"/>
                </a:cxn>
                <a:cxn ang="0">
                  <a:pos x="384" y="0"/>
                </a:cxn>
                <a:cxn ang="0">
                  <a:pos x="182" y="139"/>
                </a:cxn>
                <a:cxn ang="0">
                  <a:pos x="129" y="152"/>
                </a:cxn>
                <a:cxn ang="0">
                  <a:pos x="131" y="257"/>
                </a:cxn>
                <a:cxn ang="0">
                  <a:pos x="109" y="279"/>
                </a:cxn>
                <a:cxn ang="0">
                  <a:pos x="0" y="293"/>
                </a:cxn>
              </a:cxnLst>
              <a:rect l="0" t="0" r="r" b="b"/>
              <a:pathLst>
                <a:path w="529" h="404">
                  <a:moveTo>
                    <a:pt x="0" y="293"/>
                  </a:moveTo>
                  <a:lnTo>
                    <a:pt x="7" y="326"/>
                  </a:lnTo>
                  <a:lnTo>
                    <a:pt x="72" y="396"/>
                  </a:lnTo>
                  <a:lnTo>
                    <a:pt x="88" y="381"/>
                  </a:lnTo>
                  <a:lnTo>
                    <a:pt x="114" y="404"/>
                  </a:lnTo>
                  <a:lnTo>
                    <a:pt x="154" y="334"/>
                  </a:lnTo>
                  <a:lnTo>
                    <a:pt x="305" y="370"/>
                  </a:lnTo>
                  <a:lnTo>
                    <a:pt x="436" y="333"/>
                  </a:lnTo>
                  <a:lnTo>
                    <a:pt x="440" y="315"/>
                  </a:lnTo>
                  <a:lnTo>
                    <a:pt x="509" y="227"/>
                  </a:lnTo>
                  <a:lnTo>
                    <a:pt x="529" y="107"/>
                  </a:lnTo>
                  <a:lnTo>
                    <a:pt x="495" y="70"/>
                  </a:lnTo>
                  <a:lnTo>
                    <a:pt x="495" y="16"/>
                  </a:lnTo>
                  <a:lnTo>
                    <a:pt x="384" y="0"/>
                  </a:lnTo>
                  <a:lnTo>
                    <a:pt x="182" y="139"/>
                  </a:lnTo>
                  <a:lnTo>
                    <a:pt x="129" y="152"/>
                  </a:lnTo>
                  <a:lnTo>
                    <a:pt x="131" y="257"/>
                  </a:lnTo>
                  <a:lnTo>
                    <a:pt x="109" y="279"/>
                  </a:lnTo>
                  <a:lnTo>
                    <a:pt x="0" y="293"/>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16" name="30620367.375379.7518.12521.8755">
              <a:extLst>
                <a:ext uri="{FF2B5EF4-FFF2-40B4-BE49-F238E27FC236}">
                  <a16:creationId xmlns:a16="http://schemas.microsoft.com/office/drawing/2014/main" id="{C58BA8CB-B24E-490B-82AA-B968AAA07188}"/>
                </a:ext>
              </a:extLst>
            </p:cNvPr>
            <p:cNvSpPr>
              <a:spLocks noChangeAspect="1"/>
            </p:cNvSpPr>
            <p:nvPr/>
          </p:nvSpPr>
          <p:spPr bwMode="gray">
            <a:xfrm>
              <a:off x="5759190" y="4248584"/>
              <a:ext cx="351869" cy="294349"/>
            </a:xfrm>
            <a:custGeom>
              <a:avLst/>
              <a:gdLst/>
              <a:ahLst/>
              <a:cxnLst>
                <a:cxn ang="0">
                  <a:pos x="0" y="251"/>
                </a:cxn>
                <a:cxn ang="0">
                  <a:pos x="26" y="71"/>
                </a:cxn>
                <a:cxn ang="0">
                  <a:pos x="66" y="1"/>
                </a:cxn>
                <a:cxn ang="0">
                  <a:pos x="217" y="37"/>
                </a:cxn>
                <a:cxn ang="0">
                  <a:pos x="348" y="0"/>
                </a:cxn>
                <a:cxn ang="0">
                  <a:pos x="374" y="42"/>
                </a:cxn>
                <a:cxn ang="0">
                  <a:pos x="388" y="71"/>
                </a:cxn>
                <a:cxn ang="0">
                  <a:pos x="353" y="97"/>
                </a:cxn>
                <a:cxn ang="0">
                  <a:pos x="285" y="243"/>
                </a:cxn>
                <a:cxn ang="0">
                  <a:pos x="221" y="233"/>
                </a:cxn>
                <a:cxn ang="0">
                  <a:pos x="186" y="304"/>
                </a:cxn>
                <a:cxn ang="0">
                  <a:pos x="111" y="323"/>
                </a:cxn>
                <a:cxn ang="0">
                  <a:pos x="66" y="260"/>
                </a:cxn>
                <a:cxn ang="0">
                  <a:pos x="0" y="251"/>
                </a:cxn>
              </a:cxnLst>
              <a:rect l="0" t="0" r="r" b="b"/>
              <a:pathLst>
                <a:path w="388" h="323">
                  <a:moveTo>
                    <a:pt x="0" y="251"/>
                  </a:moveTo>
                  <a:lnTo>
                    <a:pt x="26" y="71"/>
                  </a:lnTo>
                  <a:lnTo>
                    <a:pt x="66" y="1"/>
                  </a:lnTo>
                  <a:lnTo>
                    <a:pt x="217" y="37"/>
                  </a:lnTo>
                  <a:lnTo>
                    <a:pt x="348" y="0"/>
                  </a:lnTo>
                  <a:lnTo>
                    <a:pt x="374" y="42"/>
                  </a:lnTo>
                  <a:lnTo>
                    <a:pt x="388" y="71"/>
                  </a:lnTo>
                  <a:lnTo>
                    <a:pt x="353" y="97"/>
                  </a:lnTo>
                  <a:lnTo>
                    <a:pt x="285" y="243"/>
                  </a:lnTo>
                  <a:lnTo>
                    <a:pt x="221" y="233"/>
                  </a:lnTo>
                  <a:lnTo>
                    <a:pt x="186" y="304"/>
                  </a:lnTo>
                  <a:lnTo>
                    <a:pt x="111" y="323"/>
                  </a:lnTo>
                  <a:lnTo>
                    <a:pt x="66" y="260"/>
                  </a:lnTo>
                  <a:lnTo>
                    <a:pt x="0" y="251"/>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17" name="30621369.5342.8753.3755.6255">
              <a:extLst>
                <a:ext uri="{FF2B5EF4-FFF2-40B4-BE49-F238E27FC236}">
                  <a16:creationId xmlns:a16="http://schemas.microsoft.com/office/drawing/2014/main" id="{96FC336F-618A-4842-965D-20C10171F39B}"/>
                </a:ext>
              </a:extLst>
            </p:cNvPr>
            <p:cNvSpPr>
              <a:spLocks noChangeAspect="1"/>
            </p:cNvSpPr>
            <p:nvPr/>
          </p:nvSpPr>
          <p:spPr bwMode="gray">
            <a:xfrm>
              <a:off x="5171470" y="4283907"/>
              <a:ext cx="87493" cy="53825"/>
            </a:xfrm>
            <a:custGeom>
              <a:avLst/>
              <a:gdLst/>
              <a:ahLst/>
              <a:cxnLst>
                <a:cxn ang="0">
                  <a:pos x="0" y="7"/>
                </a:cxn>
                <a:cxn ang="0">
                  <a:pos x="29" y="33"/>
                </a:cxn>
                <a:cxn ang="0">
                  <a:pos x="62" y="25"/>
                </a:cxn>
                <a:cxn ang="0">
                  <a:pos x="43" y="33"/>
                </a:cxn>
                <a:cxn ang="0">
                  <a:pos x="58" y="59"/>
                </a:cxn>
                <a:cxn ang="0">
                  <a:pos x="99" y="33"/>
                </a:cxn>
                <a:cxn ang="0">
                  <a:pos x="101" y="0"/>
                </a:cxn>
                <a:cxn ang="0">
                  <a:pos x="0" y="7"/>
                </a:cxn>
              </a:cxnLst>
              <a:rect l="0" t="0" r="r" b="b"/>
              <a:pathLst>
                <a:path w="101" h="59">
                  <a:moveTo>
                    <a:pt x="0" y="7"/>
                  </a:moveTo>
                  <a:lnTo>
                    <a:pt x="29" y="33"/>
                  </a:lnTo>
                  <a:lnTo>
                    <a:pt x="62" y="25"/>
                  </a:lnTo>
                  <a:lnTo>
                    <a:pt x="43" y="33"/>
                  </a:lnTo>
                  <a:lnTo>
                    <a:pt x="58" y="59"/>
                  </a:lnTo>
                  <a:lnTo>
                    <a:pt x="99" y="33"/>
                  </a:lnTo>
                  <a:lnTo>
                    <a:pt x="101" y="0"/>
                  </a:lnTo>
                  <a:lnTo>
                    <a:pt x="0" y="7"/>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18" name="30622343.5470.125315">
              <a:extLst>
                <a:ext uri="{FF2B5EF4-FFF2-40B4-BE49-F238E27FC236}">
                  <a16:creationId xmlns:a16="http://schemas.microsoft.com/office/drawing/2014/main" id="{A24CAFBB-9E10-4FEB-99ED-9F9624B91C29}"/>
                </a:ext>
              </a:extLst>
            </p:cNvPr>
            <p:cNvSpPr>
              <a:spLocks noChangeAspect="1"/>
            </p:cNvSpPr>
            <p:nvPr/>
          </p:nvSpPr>
          <p:spPr bwMode="gray">
            <a:xfrm>
              <a:off x="7208520" y="3861726"/>
              <a:ext cx="17117" cy="48776"/>
            </a:xfrm>
            <a:custGeom>
              <a:avLst/>
              <a:gdLst/>
              <a:ahLst/>
              <a:cxnLst>
                <a:cxn ang="0">
                  <a:pos x="0" y="45"/>
                </a:cxn>
                <a:cxn ang="0">
                  <a:pos x="10" y="55"/>
                </a:cxn>
                <a:cxn ang="0">
                  <a:pos x="19" y="52"/>
                </a:cxn>
                <a:cxn ang="0">
                  <a:pos x="11" y="0"/>
                </a:cxn>
                <a:cxn ang="0">
                  <a:pos x="0" y="45"/>
                </a:cxn>
              </a:cxnLst>
              <a:rect l="0" t="0" r="r" b="b"/>
              <a:pathLst>
                <a:path w="19" h="55">
                  <a:moveTo>
                    <a:pt x="0" y="45"/>
                  </a:moveTo>
                  <a:lnTo>
                    <a:pt x="10" y="55"/>
                  </a:lnTo>
                  <a:lnTo>
                    <a:pt x="19" y="52"/>
                  </a:lnTo>
                  <a:lnTo>
                    <a:pt x="11" y="0"/>
                  </a:lnTo>
                  <a:lnTo>
                    <a:pt x="0" y="4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19" name="30623395.25429.12533.1255">
              <a:extLst>
                <a:ext uri="{FF2B5EF4-FFF2-40B4-BE49-F238E27FC236}">
                  <a16:creationId xmlns:a16="http://schemas.microsoft.com/office/drawing/2014/main" id="{630D4D86-06F0-4069-95E6-D27EC9E929D0}"/>
                </a:ext>
              </a:extLst>
            </p:cNvPr>
            <p:cNvSpPr>
              <a:spLocks noChangeAspect="1"/>
            </p:cNvSpPr>
            <p:nvPr/>
          </p:nvSpPr>
          <p:spPr bwMode="gray">
            <a:xfrm>
              <a:off x="6550428" y="4701039"/>
              <a:ext cx="51355" cy="47095"/>
            </a:xfrm>
            <a:custGeom>
              <a:avLst/>
              <a:gdLst/>
              <a:ahLst/>
              <a:cxnLst>
                <a:cxn ang="0">
                  <a:pos x="0" y="53"/>
                </a:cxn>
                <a:cxn ang="0">
                  <a:pos x="22" y="9"/>
                </a:cxn>
                <a:cxn ang="0">
                  <a:pos x="48" y="0"/>
                </a:cxn>
                <a:cxn ang="0">
                  <a:pos x="55" y="44"/>
                </a:cxn>
                <a:cxn ang="0">
                  <a:pos x="0" y="53"/>
                </a:cxn>
              </a:cxnLst>
              <a:rect l="0" t="0" r="r" b="b"/>
              <a:pathLst>
                <a:path w="55" h="53">
                  <a:moveTo>
                    <a:pt x="0" y="53"/>
                  </a:moveTo>
                  <a:lnTo>
                    <a:pt x="22" y="9"/>
                  </a:lnTo>
                  <a:lnTo>
                    <a:pt x="48" y="0"/>
                  </a:lnTo>
                  <a:lnTo>
                    <a:pt x="55" y="44"/>
                  </a:lnTo>
                  <a:lnTo>
                    <a:pt x="0" y="53"/>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20" name="30624361.875341.5811.6255">
              <a:extLst>
                <a:ext uri="{FF2B5EF4-FFF2-40B4-BE49-F238E27FC236}">
                  <a16:creationId xmlns:a16="http://schemas.microsoft.com/office/drawing/2014/main" id="{1BE487D1-A554-42DA-8417-5DF822F0B459}"/>
                </a:ext>
              </a:extLst>
            </p:cNvPr>
            <p:cNvSpPr>
              <a:spLocks noChangeAspect="1"/>
            </p:cNvSpPr>
            <p:nvPr/>
          </p:nvSpPr>
          <p:spPr bwMode="gray">
            <a:xfrm>
              <a:off x="5148647" y="4159440"/>
              <a:ext cx="186397" cy="131197"/>
            </a:xfrm>
            <a:custGeom>
              <a:avLst/>
              <a:gdLst/>
              <a:ahLst/>
              <a:cxnLst>
                <a:cxn ang="0">
                  <a:pos x="0" y="62"/>
                </a:cxn>
                <a:cxn ang="0">
                  <a:pos x="30" y="101"/>
                </a:cxn>
                <a:cxn ang="0">
                  <a:pos x="125" y="108"/>
                </a:cxn>
                <a:cxn ang="0">
                  <a:pos x="26" y="121"/>
                </a:cxn>
                <a:cxn ang="0">
                  <a:pos x="26" y="140"/>
                </a:cxn>
                <a:cxn ang="0">
                  <a:pos x="127" y="133"/>
                </a:cxn>
                <a:cxn ang="0">
                  <a:pos x="206" y="140"/>
                </a:cxn>
                <a:cxn ang="0">
                  <a:pos x="182" y="62"/>
                </a:cxn>
                <a:cxn ang="0">
                  <a:pos x="106" y="0"/>
                </a:cxn>
                <a:cxn ang="0">
                  <a:pos x="30" y="18"/>
                </a:cxn>
                <a:cxn ang="0">
                  <a:pos x="0" y="62"/>
                </a:cxn>
              </a:cxnLst>
              <a:rect l="0" t="0" r="r" b="b"/>
              <a:pathLst>
                <a:path w="206" h="140">
                  <a:moveTo>
                    <a:pt x="0" y="62"/>
                  </a:moveTo>
                  <a:lnTo>
                    <a:pt x="30" y="101"/>
                  </a:lnTo>
                  <a:lnTo>
                    <a:pt x="125" y="108"/>
                  </a:lnTo>
                  <a:lnTo>
                    <a:pt x="26" y="121"/>
                  </a:lnTo>
                  <a:lnTo>
                    <a:pt x="26" y="140"/>
                  </a:lnTo>
                  <a:lnTo>
                    <a:pt x="127" y="133"/>
                  </a:lnTo>
                  <a:lnTo>
                    <a:pt x="206" y="140"/>
                  </a:lnTo>
                  <a:lnTo>
                    <a:pt x="182" y="62"/>
                  </a:lnTo>
                  <a:lnTo>
                    <a:pt x="106" y="0"/>
                  </a:lnTo>
                  <a:lnTo>
                    <a:pt x="30" y="18"/>
                  </a:lnTo>
                  <a:lnTo>
                    <a:pt x="0" y="62"/>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21" name="30625374.625349.3755.755.8755">
              <a:extLst>
                <a:ext uri="{FF2B5EF4-FFF2-40B4-BE49-F238E27FC236}">
                  <a16:creationId xmlns:a16="http://schemas.microsoft.com/office/drawing/2014/main" id="{20646310-826C-4D47-863A-4E7D7410B4E9}"/>
                </a:ext>
              </a:extLst>
            </p:cNvPr>
            <p:cNvSpPr>
              <a:spLocks noChangeAspect="1"/>
            </p:cNvSpPr>
            <p:nvPr/>
          </p:nvSpPr>
          <p:spPr bwMode="gray">
            <a:xfrm>
              <a:off x="5276083" y="4364641"/>
              <a:ext cx="91298" cy="94190"/>
            </a:xfrm>
            <a:custGeom>
              <a:avLst/>
              <a:gdLst/>
              <a:ahLst/>
              <a:cxnLst>
                <a:cxn ang="0">
                  <a:pos x="0" y="29"/>
                </a:cxn>
                <a:cxn ang="0">
                  <a:pos x="11" y="69"/>
                </a:cxn>
                <a:cxn ang="0">
                  <a:pos x="62" y="101"/>
                </a:cxn>
                <a:cxn ang="0">
                  <a:pos x="103" y="51"/>
                </a:cxn>
                <a:cxn ang="0">
                  <a:pos x="70" y="0"/>
                </a:cxn>
                <a:cxn ang="0">
                  <a:pos x="0" y="29"/>
                </a:cxn>
              </a:cxnLst>
              <a:rect l="0" t="0" r="r" b="b"/>
              <a:pathLst>
                <a:path w="103" h="101">
                  <a:moveTo>
                    <a:pt x="0" y="29"/>
                  </a:moveTo>
                  <a:lnTo>
                    <a:pt x="11" y="69"/>
                  </a:lnTo>
                  <a:lnTo>
                    <a:pt x="62" y="101"/>
                  </a:lnTo>
                  <a:lnTo>
                    <a:pt x="103" y="51"/>
                  </a:lnTo>
                  <a:lnTo>
                    <a:pt x="70" y="0"/>
                  </a:lnTo>
                  <a:lnTo>
                    <a:pt x="0" y="2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22" name="30626371451.7525.519.255">
              <a:extLst>
                <a:ext uri="{FF2B5EF4-FFF2-40B4-BE49-F238E27FC236}">
                  <a16:creationId xmlns:a16="http://schemas.microsoft.com/office/drawing/2014/main" id="{36C02A75-09D3-4D3F-A484-2B5F492E2081}"/>
                </a:ext>
              </a:extLst>
            </p:cNvPr>
            <p:cNvSpPr>
              <a:spLocks noChangeAspect="1"/>
            </p:cNvSpPr>
            <p:nvPr/>
          </p:nvSpPr>
          <p:spPr bwMode="gray">
            <a:xfrm>
              <a:off x="6915612" y="4307455"/>
              <a:ext cx="310025" cy="413770"/>
            </a:xfrm>
            <a:custGeom>
              <a:avLst/>
              <a:gdLst/>
              <a:ahLst/>
              <a:cxnLst>
                <a:cxn ang="0">
                  <a:pos x="0" y="425"/>
                </a:cxn>
                <a:cxn ang="0">
                  <a:pos x="0" y="303"/>
                </a:cxn>
                <a:cxn ang="0">
                  <a:pos x="27" y="267"/>
                </a:cxn>
                <a:cxn ang="0">
                  <a:pos x="132" y="230"/>
                </a:cxn>
                <a:cxn ang="0">
                  <a:pos x="233" y="130"/>
                </a:cxn>
                <a:cxn ang="0">
                  <a:pos x="101" y="96"/>
                </a:cxn>
                <a:cxn ang="0">
                  <a:pos x="60" y="36"/>
                </a:cxn>
                <a:cxn ang="0">
                  <a:pos x="75" y="17"/>
                </a:cxn>
                <a:cxn ang="0">
                  <a:pos x="128" y="52"/>
                </a:cxn>
                <a:cxn ang="0">
                  <a:pos x="325" y="0"/>
                </a:cxn>
                <a:cxn ang="0">
                  <a:pos x="341" y="52"/>
                </a:cxn>
                <a:cxn ang="0">
                  <a:pos x="221" y="264"/>
                </a:cxn>
                <a:cxn ang="0">
                  <a:pos x="16" y="453"/>
                </a:cxn>
                <a:cxn ang="0">
                  <a:pos x="0" y="425"/>
                </a:cxn>
              </a:cxnLst>
              <a:rect l="0" t="0" r="r" b="b"/>
              <a:pathLst>
                <a:path w="341" h="453">
                  <a:moveTo>
                    <a:pt x="0" y="425"/>
                  </a:moveTo>
                  <a:lnTo>
                    <a:pt x="0" y="303"/>
                  </a:lnTo>
                  <a:lnTo>
                    <a:pt x="27" y="267"/>
                  </a:lnTo>
                  <a:lnTo>
                    <a:pt x="132" y="230"/>
                  </a:lnTo>
                  <a:lnTo>
                    <a:pt x="233" y="130"/>
                  </a:lnTo>
                  <a:lnTo>
                    <a:pt x="101" y="96"/>
                  </a:lnTo>
                  <a:lnTo>
                    <a:pt x="60" y="36"/>
                  </a:lnTo>
                  <a:lnTo>
                    <a:pt x="75" y="17"/>
                  </a:lnTo>
                  <a:lnTo>
                    <a:pt x="128" y="52"/>
                  </a:lnTo>
                  <a:lnTo>
                    <a:pt x="325" y="0"/>
                  </a:lnTo>
                  <a:lnTo>
                    <a:pt x="341" y="52"/>
                  </a:lnTo>
                  <a:lnTo>
                    <a:pt x="221" y="264"/>
                  </a:lnTo>
                  <a:lnTo>
                    <a:pt x="16" y="453"/>
                  </a:lnTo>
                  <a:lnTo>
                    <a:pt x="0" y="42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23" name="30627422.875421.62513.514.8755">
              <a:extLst>
                <a:ext uri="{FF2B5EF4-FFF2-40B4-BE49-F238E27FC236}">
                  <a16:creationId xmlns:a16="http://schemas.microsoft.com/office/drawing/2014/main" id="{F048D88E-CF90-4A8D-A8A9-FC073D81691C}"/>
                </a:ext>
              </a:extLst>
            </p:cNvPr>
            <p:cNvSpPr>
              <a:spLocks noChangeAspect="1"/>
            </p:cNvSpPr>
            <p:nvPr/>
          </p:nvSpPr>
          <p:spPr bwMode="gray">
            <a:xfrm>
              <a:off x="6430598" y="5146768"/>
              <a:ext cx="241557" cy="218661"/>
            </a:xfrm>
            <a:custGeom>
              <a:avLst/>
              <a:gdLst/>
              <a:ahLst/>
              <a:cxnLst>
                <a:cxn ang="0">
                  <a:pos x="0" y="74"/>
                </a:cxn>
                <a:cxn ang="0">
                  <a:pos x="59" y="76"/>
                </a:cxn>
                <a:cxn ang="0">
                  <a:pos x="118" y="32"/>
                </a:cxn>
                <a:cxn ang="0">
                  <a:pos x="121" y="12"/>
                </a:cxn>
                <a:cxn ang="0">
                  <a:pos x="171" y="0"/>
                </a:cxn>
                <a:cxn ang="0">
                  <a:pos x="254" y="26"/>
                </a:cxn>
                <a:cxn ang="0">
                  <a:pos x="262" y="61"/>
                </a:cxn>
                <a:cxn ang="0">
                  <a:pos x="258" y="149"/>
                </a:cxn>
                <a:cxn ang="0">
                  <a:pos x="214" y="241"/>
                </a:cxn>
                <a:cxn ang="0">
                  <a:pos x="138" y="224"/>
                </a:cxn>
                <a:cxn ang="0">
                  <a:pos x="93" y="202"/>
                </a:cxn>
                <a:cxn ang="0">
                  <a:pos x="0" y="74"/>
                </a:cxn>
              </a:cxnLst>
              <a:rect l="0" t="0" r="r" b="b"/>
              <a:pathLst>
                <a:path w="262" h="241">
                  <a:moveTo>
                    <a:pt x="0" y="74"/>
                  </a:moveTo>
                  <a:lnTo>
                    <a:pt x="59" y="76"/>
                  </a:lnTo>
                  <a:lnTo>
                    <a:pt x="118" y="32"/>
                  </a:lnTo>
                  <a:lnTo>
                    <a:pt x="121" y="12"/>
                  </a:lnTo>
                  <a:lnTo>
                    <a:pt x="171" y="0"/>
                  </a:lnTo>
                  <a:lnTo>
                    <a:pt x="254" y="26"/>
                  </a:lnTo>
                  <a:lnTo>
                    <a:pt x="262" y="61"/>
                  </a:lnTo>
                  <a:lnTo>
                    <a:pt x="258" y="149"/>
                  </a:lnTo>
                  <a:lnTo>
                    <a:pt x="214" y="241"/>
                  </a:lnTo>
                  <a:lnTo>
                    <a:pt x="138" y="224"/>
                  </a:lnTo>
                  <a:lnTo>
                    <a:pt x="93" y="202"/>
                  </a:lnTo>
                  <a:lnTo>
                    <a:pt x="0" y="7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24" name="30628425.375396.12523.87525.55">
              <a:extLst>
                <a:ext uri="{FF2B5EF4-FFF2-40B4-BE49-F238E27FC236}">
                  <a16:creationId xmlns:a16="http://schemas.microsoft.com/office/drawing/2014/main" id="{81AD79FE-CDC1-44C4-BDDF-A6157C0BD406}"/>
                </a:ext>
              </a:extLst>
            </p:cNvPr>
            <p:cNvSpPr>
              <a:spLocks noChangeAspect="1"/>
            </p:cNvSpPr>
            <p:nvPr/>
          </p:nvSpPr>
          <p:spPr bwMode="gray">
            <a:xfrm>
              <a:off x="6021669" y="5187137"/>
              <a:ext cx="408929" cy="386858"/>
            </a:xfrm>
            <a:custGeom>
              <a:avLst/>
              <a:gdLst/>
              <a:ahLst/>
              <a:cxnLst>
                <a:cxn ang="0">
                  <a:pos x="0" y="14"/>
                </a:cxn>
                <a:cxn ang="0">
                  <a:pos x="55" y="0"/>
                </a:cxn>
                <a:cxn ang="0">
                  <a:pos x="328" y="40"/>
                </a:cxn>
                <a:cxn ang="0">
                  <a:pos x="389" y="22"/>
                </a:cxn>
                <a:cxn ang="0">
                  <a:pos x="453" y="30"/>
                </a:cxn>
                <a:cxn ang="0">
                  <a:pos x="398" y="61"/>
                </a:cxn>
                <a:cxn ang="0">
                  <a:pos x="377" y="40"/>
                </a:cxn>
                <a:cxn ang="0">
                  <a:pos x="312" y="54"/>
                </a:cxn>
                <a:cxn ang="0">
                  <a:pos x="312" y="173"/>
                </a:cxn>
                <a:cxn ang="0">
                  <a:pos x="278" y="175"/>
                </a:cxn>
                <a:cxn ang="0">
                  <a:pos x="278" y="268"/>
                </a:cxn>
                <a:cxn ang="0">
                  <a:pos x="278" y="404"/>
                </a:cxn>
                <a:cxn ang="0">
                  <a:pos x="249" y="425"/>
                </a:cxn>
                <a:cxn ang="0">
                  <a:pos x="207" y="425"/>
                </a:cxn>
                <a:cxn ang="0">
                  <a:pos x="183" y="396"/>
                </a:cxn>
                <a:cxn ang="0">
                  <a:pos x="164" y="411"/>
                </a:cxn>
                <a:cxn ang="0">
                  <a:pos x="120" y="365"/>
                </a:cxn>
                <a:cxn ang="0">
                  <a:pos x="97" y="216"/>
                </a:cxn>
                <a:cxn ang="0">
                  <a:pos x="97" y="198"/>
                </a:cxn>
                <a:cxn ang="0">
                  <a:pos x="0" y="14"/>
                </a:cxn>
              </a:cxnLst>
              <a:rect l="0" t="0" r="r" b="b"/>
              <a:pathLst>
                <a:path w="453" h="425">
                  <a:moveTo>
                    <a:pt x="0" y="14"/>
                  </a:moveTo>
                  <a:lnTo>
                    <a:pt x="55" y="0"/>
                  </a:lnTo>
                  <a:lnTo>
                    <a:pt x="328" y="40"/>
                  </a:lnTo>
                  <a:lnTo>
                    <a:pt x="389" y="22"/>
                  </a:lnTo>
                  <a:lnTo>
                    <a:pt x="453" y="30"/>
                  </a:lnTo>
                  <a:lnTo>
                    <a:pt x="398" y="61"/>
                  </a:lnTo>
                  <a:lnTo>
                    <a:pt x="377" y="40"/>
                  </a:lnTo>
                  <a:lnTo>
                    <a:pt x="312" y="54"/>
                  </a:lnTo>
                  <a:lnTo>
                    <a:pt x="312" y="173"/>
                  </a:lnTo>
                  <a:lnTo>
                    <a:pt x="278" y="175"/>
                  </a:lnTo>
                  <a:lnTo>
                    <a:pt x="278" y="268"/>
                  </a:lnTo>
                  <a:lnTo>
                    <a:pt x="278" y="404"/>
                  </a:lnTo>
                  <a:lnTo>
                    <a:pt x="249" y="425"/>
                  </a:lnTo>
                  <a:lnTo>
                    <a:pt x="207" y="425"/>
                  </a:lnTo>
                  <a:lnTo>
                    <a:pt x="183" y="396"/>
                  </a:lnTo>
                  <a:lnTo>
                    <a:pt x="164" y="411"/>
                  </a:lnTo>
                  <a:lnTo>
                    <a:pt x="120" y="365"/>
                  </a:lnTo>
                  <a:lnTo>
                    <a:pt x="97" y="216"/>
                  </a:lnTo>
                  <a:lnTo>
                    <a:pt x="97" y="198"/>
                  </a:lnTo>
                  <a:lnTo>
                    <a:pt x="0" y="1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25" name="30629340.25342.513.12515.755">
              <a:extLst>
                <a:ext uri="{FF2B5EF4-FFF2-40B4-BE49-F238E27FC236}">
                  <a16:creationId xmlns:a16="http://schemas.microsoft.com/office/drawing/2014/main" id="{5F41C97E-ABD3-470F-814B-F542B467554F}"/>
                </a:ext>
              </a:extLst>
            </p:cNvPr>
            <p:cNvSpPr>
              <a:spLocks noChangeAspect="1"/>
            </p:cNvSpPr>
            <p:nvPr/>
          </p:nvSpPr>
          <p:spPr bwMode="gray">
            <a:xfrm>
              <a:off x="5163863" y="3807902"/>
              <a:ext cx="251064" cy="215296"/>
            </a:xfrm>
            <a:custGeom>
              <a:avLst/>
              <a:gdLst/>
              <a:ahLst/>
              <a:cxnLst>
                <a:cxn ang="0">
                  <a:pos x="0" y="234"/>
                </a:cxn>
                <a:cxn ang="0">
                  <a:pos x="132" y="0"/>
                </a:cxn>
                <a:cxn ang="0">
                  <a:pos x="278" y="4"/>
                </a:cxn>
                <a:cxn ang="0">
                  <a:pos x="281" y="17"/>
                </a:cxn>
                <a:cxn ang="0">
                  <a:pos x="278" y="61"/>
                </a:cxn>
                <a:cxn ang="0">
                  <a:pos x="171" y="58"/>
                </a:cxn>
                <a:cxn ang="0">
                  <a:pos x="169" y="149"/>
                </a:cxn>
                <a:cxn ang="0">
                  <a:pos x="131" y="165"/>
                </a:cxn>
                <a:cxn ang="0">
                  <a:pos x="134" y="220"/>
                </a:cxn>
                <a:cxn ang="0">
                  <a:pos x="0" y="234"/>
                </a:cxn>
              </a:cxnLst>
              <a:rect l="0" t="0" r="r" b="b"/>
              <a:pathLst>
                <a:path w="281" h="234">
                  <a:moveTo>
                    <a:pt x="0" y="234"/>
                  </a:moveTo>
                  <a:lnTo>
                    <a:pt x="132" y="0"/>
                  </a:lnTo>
                  <a:lnTo>
                    <a:pt x="278" y="4"/>
                  </a:lnTo>
                  <a:lnTo>
                    <a:pt x="281" y="17"/>
                  </a:lnTo>
                  <a:lnTo>
                    <a:pt x="278" y="61"/>
                  </a:lnTo>
                  <a:lnTo>
                    <a:pt x="171" y="58"/>
                  </a:lnTo>
                  <a:lnTo>
                    <a:pt x="169" y="149"/>
                  </a:lnTo>
                  <a:lnTo>
                    <a:pt x="131" y="165"/>
                  </a:lnTo>
                  <a:lnTo>
                    <a:pt x="134" y="220"/>
                  </a:lnTo>
                  <a:lnTo>
                    <a:pt x="0" y="234"/>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26" name="30630349.375415.7537.12531.255">
              <a:extLst>
                <a:ext uri="{FF2B5EF4-FFF2-40B4-BE49-F238E27FC236}">
                  <a16:creationId xmlns:a16="http://schemas.microsoft.com/office/drawing/2014/main" id="{B77A2B88-BA66-4072-9DA0-43057AE95F1F}"/>
                </a:ext>
              </a:extLst>
            </p:cNvPr>
            <p:cNvSpPr>
              <a:spLocks noChangeAspect="1"/>
            </p:cNvSpPr>
            <p:nvPr/>
          </p:nvSpPr>
          <p:spPr bwMode="gray">
            <a:xfrm>
              <a:off x="6339304" y="3957601"/>
              <a:ext cx="500227" cy="600473"/>
            </a:xfrm>
            <a:custGeom>
              <a:avLst/>
              <a:gdLst/>
              <a:ahLst/>
              <a:cxnLst>
                <a:cxn ang="0">
                  <a:pos x="0" y="348"/>
                </a:cxn>
                <a:cxn ang="0">
                  <a:pos x="26" y="414"/>
                </a:cxn>
                <a:cxn ang="0">
                  <a:pos x="51" y="485"/>
                </a:cxn>
                <a:cxn ang="0">
                  <a:pos x="107" y="512"/>
                </a:cxn>
                <a:cxn ang="0">
                  <a:pos x="188" y="609"/>
                </a:cxn>
                <a:cxn ang="0">
                  <a:pos x="299" y="659"/>
                </a:cxn>
                <a:cxn ang="0">
                  <a:pos x="402" y="646"/>
                </a:cxn>
                <a:cxn ang="0">
                  <a:pos x="464" y="627"/>
                </a:cxn>
                <a:cxn ang="0">
                  <a:pos x="427" y="557"/>
                </a:cxn>
                <a:cxn ang="0">
                  <a:pos x="368" y="517"/>
                </a:cxn>
                <a:cxn ang="0">
                  <a:pos x="407" y="491"/>
                </a:cxn>
                <a:cxn ang="0">
                  <a:pos x="411" y="430"/>
                </a:cxn>
                <a:cxn ang="0">
                  <a:pos x="477" y="349"/>
                </a:cxn>
                <a:cxn ang="0">
                  <a:pos x="503" y="206"/>
                </a:cxn>
                <a:cxn ang="0">
                  <a:pos x="554" y="175"/>
                </a:cxn>
                <a:cxn ang="0">
                  <a:pos x="514" y="144"/>
                </a:cxn>
                <a:cxn ang="0">
                  <a:pos x="499" y="38"/>
                </a:cxn>
                <a:cxn ang="0">
                  <a:pos x="455" y="0"/>
                </a:cxn>
                <a:cxn ang="0">
                  <a:pos x="402" y="45"/>
                </a:cxn>
                <a:cxn ang="0">
                  <a:pos x="101" y="37"/>
                </a:cxn>
                <a:cxn ang="0">
                  <a:pos x="101" y="104"/>
                </a:cxn>
                <a:cxn ang="0">
                  <a:pos x="71" y="106"/>
                </a:cxn>
                <a:cxn ang="0">
                  <a:pos x="71" y="125"/>
                </a:cxn>
                <a:cxn ang="0">
                  <a:pos x="70" y="252"/>
                </a:cxn>
                <a:cxn ang="0">
                  <a:pos x="35" y="258"/>
                </a:cxn>
                <a:cxn ang="0">
                  <a:pos x="0" y="348"/>
                </a:cxn>
              </a:cxnLst>
              <a:rect l="0" t="0" r="r" b="b"/>
              <a:pathLst>
                <a:path w="554" h="659">
                  <a:moveTo>
                    <a:pt x="0" y="348"/>
                  </a:moveTo>
                  <a:lnTo>
                    <a:pt x="26" y="414"/>
                  </a:lnTo>
                  <a:lnTo>
                    <a:pt x="51" y="485"/>
                  </a:lnTo>
                  <a:lnTo>
                    <a:pt x="107" y="512"/>
                  </a:lnTo>
                  <a:lnTo>
                    <a:pt x="188" y="609"/>
                  </a:lnTo>
                  <a:lnTo>
                    <a:pt x="299" y="659"/>
                  </a:lnTo>
                  <a:lnTo>
                    <a:pt x="402" y="646"/>
                  </a:lnTo>
                  <a:lnTo>
                    <a:pt x="464" y="627"/>
                  </a:lnTo>
                  <a:lnTo>
                    <a:pt x="427" y="557"/>
                  </a:lnTo>
                  <a:lnTo>
                    <a:pt x="368" y="517"/>
                  </a:lnTo>
                  <a:lnTo>
                    <a:pt x="407" y="491"/>
                  </a:lnTo>
                  <a:lnTo>
                    <a:pt x="411" y="430"/>
                  </a:lnTo>
                  <a:lnTo>
                    <a:pt x="477" y="349"/>
                  </a:lnTo>
                  <a:lnTo>
                    <a:pt x="503" y="206"/>
                  </a:lnTo>
                  <a:lnTo>
                    <a:pt x="554" y="175"/>
                  </a:lnTo>
                  <a:lnTo>
                    <a:pt x="514" y="144"/>
                  </a:lnTo>
                  <a:lnTo>
                    <a:pt x="499" y="38"/>
                  </a:lnTo>
                  <a:lnTo>
                    <a:pt x="455" y="0"/>
                  </a:lnTo>
                  <a:lnTo>
                    <a:pt x="402" y="45"/>
                  </a:lnTo>
                  <a:lnTo>
                    <a:pt x="101" y="37"/>
                  </a:lnTo>
                  <a:lnTo>
                    <a:pt x="101" y="104"/>
                  </a:lnTo>
                  <a:lnTo>
                    <a:pt x="71" y="106"/>
                  </a:lnTo>
                  <a:lnTo>
                    <a:pt x="71" y="125"/>
                  </a:lnTo>
                  <a:lnTo>
                    <a:pt x="70" y="252"/>
                  </a:lnTo>
                  <a:lnTo>
                    <a:pt x="35" y="258"/>
                  </a:lnTo>
                  <a:lnTo>
                    <a:pt x="0" y="348"/>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27" name="30631442.5432.37532.255">
              <a:extLst>
                <a:ext uri="{FF2B5EF4-FFF2-40B4-BE49-F238E27FC236}">
                  <a16:creationId xmlns:a16="http://schemas.microsoft.com/office/drawing/2014/main" id="{B82A92F9-D5AB-4403-B6E9-482945A64920}"/>
                </a:ext>
              </a:extLst>
            </p:cNvPr>
            <p:cNvSpPr>
              <a:spLocks noChangeAspect="1"/>
            </p:cNvSpPr>
            <p:nvPr/>
          </p:nvSpPr>
          <p:spPr bwMode="gray">
            <a:xfrm>
              <a:off x="6605584" y="5464664"/>
              <a:ext cx="34238" cy="50460"/>
            </a:xfrm>
            <a:custGeom>
              <a:avLst/>
              <a:gdLst/>
              <a:ahLst/>
              <a:cxnLst>
                <a:cxn ang="0">
                  <a:pos x="0" y="31"/>
                </a:cxn>
                <a:cxn ang="0">
                  <a:pos x="22" y="54"/>
                </a:cxn>
                <a:cxn ang="0">
                  <a:pos x="39" y="35"/>
                </a:cxn>
                <a:cxn ang="0">
                  <a:pos x="35" y="0"/>
                </a:cxn>
                <a:cxn ang="0">
                  <a:pos x="0" y="31"/>
                </a:cxn>
              </a:cxnLst>
              <a:rect l="0" t="0" r="r" b="b"/>
              <a:pathLst>
                <a:path w="39" h="54">
                  <a:moveTo>
                    <a:pt x="0" y="31"/>
                  </a:moveTo>
                  <a:lnTo>
                    <a:pt x="22" y="54"/>
                  </a:lnTo>
                  <a:lnTo>
                    <a:pt x="39" y="35"/>
                  </a:lnTo>
                  <a:lnTo>
                    <a:pt x="35" y="0"/>
                  </a:lnTo>
                  <a:lnTo>
                    <a:pt x="0" y="31"/>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28" name="30632395.125430.37520.12520.255">
              <a:extLst>
                <a:ext uri="{FF2B5EF4-FFF2-40B4-BE49-F238E27FC236}">
                  <a16:creationId xmlns:a16="http://schemas.microsoft.com/office/drawing/2014/main" id="{270E7A86-19DE-471B-875F-0BAF45582C40}"/>
                </a:ext>
              </a:extLst>
            </p:cNvPr>
            <p:cNvSpPr>
              <a:spLocks noChangeAspect="1"/>
            </p:cNvSpPr>
            <p:nvPr/>
          </p:nvSpPr>
          <p:spPr bwMode="gray">
            <a:xfrm>
              <a:off x="6573251" y="4697678"/>
              <a:ext cx="323341" cy="326307"/>
            </a:xfrm>
            <a:custGeom>
              <a:avLst/>
              <a:gdLst/>
              <a:ahLst/>
              <a:cxnLst>
                <a:cxn ang="0">
                  <a:pos x="0" y="113"/>
                </a:cxn>
                <a:cxn ang="0">
                  <a:pos x="3" y="182"/>
                </a:cxn>
                <a:cxn ang="0">
                  <a:pos x="47" y="252"/>
                </a:cxn>
                <a:cxn ang="0">
                  <a:pos x="109" y="282"/>
                </a:cxn>
                <a:cxn ang="0">
                  <a:pos x="142" y="289"/>
                </a:cxn>
                <a:cxn ang="0">
                  <a:pos x="178" y="356"/>
                </a:cxn>
                <a:cxn ang="0">
                  <a:pos x="311" y="348"/>
                </a:cxn>
                <a:cxn ang="0">
                  <a:pos x="361" y="318"/>
                </a:cxn>
                <a:cxn ang="0">
                  <a:pos x="310" y="177"/>
                </a:cxn>
                <a:cxn ang="0">
                  <a:pos x="323" y="124"/>
                </a:cxn>
                <a:cxn ang="0">
                  <a:pos x="152" y="0"/>
                </a:cxn>
                <a:cxn ang="0">
                  <a:pos x="106" y="62"/>
                </a:cxn>
                <a:cxn ang="0">
                  <a:pos x="87" y="45"/>
                </a:cxn>
                <a:cxn ang="0">
                  <a:pos x="73" y="59"/>
                </a:cxn>
                <a:cxn ang="0">
                  <a:pos x="72" y="0"/>
                </a:cxn>
                <a:cxn ang="0">
                  <a:pos x="28" y="3"/>
                </a:cxn>
                <a:cxn ang="0">
                  <a:pos x="35" y="47"/>
                </a:cxn>
                <a:cxn ang="0">
                  <a:pos x="38" y="74"/>
                </a:cxn>
                <a:cxn ang="0">
                  <a:pos x="0" y="113"/>
                </a:cxn>
              </a:cxnLst>
              <a:rect l="0" t="0" r="r" b="b"/>
              <a:pathLst>
                <a:path w="361" h="356">
                  <a:moveTo>
                    <a:pt x="0" y="113"/>
                  </a:moveTo>
                  <a:lnTo>
                    <a:pt x="3" y="182"/>
                  </a:lnTo>
                  <a:lnTo>
                    <a:pt x="47" y="252"/>
                  </a:lnTo>
                  <a:lnTo>
                    <a:pt x="109" y="282"/>
                  </a:lnTo>
                  <a:lnTo>
                    <a:pt x="142" y="289"/>
                  </a:lnTo>
                  <a:lnTo>
                    <a:pt x="178" y="356"/>
                  </a:lnTo>
                  <a:lnTo>
                    <a:pt x="311" y="348"/>
                  </a:lnTo>
                  <a:lnTo>
                    <a:pt x="361" y="318"/>
                  </a:lnTo>
                  <a:lnTo>
                    <a:pt x="310" y="177"/>
                  </a:lnTo>
                  <a:lnTo>
                    <a:pt x="323" y="124"/>
                  </a:lnTo>
                  <a:lnTo>
                    <a:pt x="152" y="0"/>
                  </a:lnTo>
                  <a:lnTo>
                    <a:pt x="106" y="62"/>
                  </a:lnTo>
                  <a:lnTo>
                    <a:pt x="87" y="45"/>
                  </a:lnTo>
                  <a:lnTo>
                    <a:pt x="73" y="59"/>
                  </a:lnTo>
                  <a:lnTo>
                    <a:pt x="72" y="0"/>
                  </a:lnTo>
                  <a:lnTo>
                    <a:pt x="28" y="3"/>
                  </a:lnTo>
                  <a:lnTo>
                    <a:pt x="35" y="47"/>
                  </a:lnTo>
                  <a:lnTo>
                    <a:pt x="38" y="74"/>
                  </a:lnTo>
                  <a:lnTo>
                    <a:pt x="0" y="113"/>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29" name="30633372.253749.754.1255">
              <a:extLst>
                <a:ext uri="{FF2B5EF4-FFF2-40B4-BE49-F238E27FC236}">
                  <a16:creationId xmlns:a16="http://schemas.microsoft.com/office/drawing/2014/main" id="{EC03502A-3830-4401-A50E-6DB8402DD362}"/>
                </a:ext>
              </a:extLst>
            </p:cNvPr>
            <p:cNvSpPr>
              <a:spLocks noChangeAspect="1"/>
            </p:cNvSpPr>
            <p:nvPr/>
          </p:nvSpPr>
          <p:spPr bwMode="gray">
            <a:xfrm>
              <a:off x="5667896" y="4329322"/>
              <a:ext cx="66571" cy="156425"/>
            </a:xfrm>
            <a:custGeom>
              <a:avLst/>
              <a:gdLst/>
              <a:ahLst/>
              <a:cxnLst>
                <a:cxn ang="0">
                  <a:pos x="0" y="0"/>
                </a:cxn>
                <a:cxn ang="0">
                  <a:pos x="35" y="8"/>
                </a:cxn>
                <a:cxn ang="0">
                  <a:pos x="71" y="164"/>
                </a:cxn>
                <a:cxn ang="0">
                  <a:pos x="46" y="171"/>
                </a:cxn>
                <a:cxn ang="0">
                  <a:pos x="0" y="0"/>
                </a:cxn>
              </a:cxnLst>
              <a:rect l="0" t="0" r="r" b="b"/>
              <a:pathLst>
                <a:path w="71" h="171">
                  <a:moveTo>
                    <a:pt x="0" y="0"/>
                  </a:moveTo>
                  <a:lnTo>
                    <a:pt x="35" y="8"/>
                  </a:lnTo>
                  <a:lnTo>
                    <a:pt x="71" y="164"/>
                  </a:lnTo>
                  <a:lnTo>
                    <a:pt x="46" y="171"/>
                  </a:lnTo>
                  <a:lnTo>
                    <a:pt x="0"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30" name="30634385.875430.3759.875105">
              <a:extLst>
                <a:ext uri="{FF2B5EF4-FFF2-40B4-BE49-F238E27FC236}">
                  <a16:creationId xmlns:a16="http://schemas.microsoft.com/office/drawing/2014/main" id="{5DAF8C6C-5CA5-4707-96D0-A3F42B41E5C4}"/>
                </a:ext>
              </a:extLst>
            </p:cNvPr>
            <p:cNvSpPr>
              <a:spLocks noChangeAspect="1"/>
            </p:cNvSpPr>
            <p:nvPr/>
          </p:nvSpPr>
          <p:spPr bwMode="gray">
            <a:xfrm>
              <a:off x="6573251" y="4547979"/>
              <a:ext cx="157865" cy="161471"/>
            </a:xfrm>
            <a:custGeom>
              <a:avLst/>
              <a:gdLst/>
              <a:ahLst/>
              <a:cxnLst>
                <a:cxn ang="0">
                  <a:pos x="0" y="176"/>
                </a:cxn>
                <a:cxn ang="0">
                  <a:pos x="26" y="167"/>
                </a:cxn>
                <a:cxn ang="0">
                  <a:pos x="70" y="164"/>
                </a:cxn>
                <a:cxn ang="0">
                  <a:pos x="71" y="139"/>
                </a:cxn>
                <a:cxn ang="0">
                  <a:pos x="141" y="125"/>
                </a:cxn>
                <a:cxn ang="0">
                  <a:pos x="177" y="65"/>
                </a:cxn>
                <a:cxn ang="0">
                  <a:pos x="141" y="0"/>
                </a:cxn>
                <a:cxn ang="0">
                  <a:pos x="38" y="13"/>
                </a:cxn>
                <a:cxn ang="0">
                  <a:pos x="51" y="61"/>
                </a:cxn>
                <a:cxn ang="0">
                  <a:pos x="29" y="92"/>
                </a:cxn>
                <a:cxn ang="0">
                  <a:pos x="0" y="176"/>
                </a:cxn>
              </a:cxnLst>
              <a:rect l="0" t="0" r="r" b="b"/>
              <a:pathLst>
                <a:path w="177" h="176">
                  <a:moveTo>
                    <a:pt x="0" y="176"/>
                  </a:moveTo>
                  <a:lnTo>
                    <a:pt x="26" y="167"/>
                  </a:lnTo>
                  <a:lnTo>
                    <a:pt x="70" y="164"/>
                  </a:lnTo>
                  <a:lnTo>
                    <a:pt x="71" y="139"/>
                  </a:lnTo>
                  <a:lnTo>
                    <a:pt x="141" y="125"/>
                  </a:lnTo>
                  <a:lnTo>
                    <a:pt x="177" y="65"/>
                  </a:lnTo>
                  <a:lnTo>
                    <a:pt x="141" y="0"/>
                  </a:lnTo>
                  <a:lnTo>
                    <a:pt x="38" y="13"/>
                  </a:lnTo>
                  <a:lnTo>
                    <a:pt x="51" y="61"/>
                  </a:lnTo>
                  <a:lnTo>
                    <a:pt x="29" y="92"/>
                  </a:lnTo>
                  <a:lnTo>
                    <a:pt x="0" y="176"/>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31" name="30635332.25420.519.7521.1255">
              <a:extLst>
                <a:ext uri="{FF2B5EF4-FFF2-40B4-BE49-F238E27FC236}">
                  <a16:creationId xmlns:a16="http://schemas.microsoft.com/office/drawing/2014/main" id="{20F974C8-051A-4ACA-A6A0-68E2CDF9DF63}"/>
                </a:ext>
              </a:extLst>
            </p:cNvPr>
            <p:cNvSpPr>
              <a:spLocks noChangeAspect="1"/>
            </p:cNvSpPr>
            <p:nvPr/>
          </p:nvSpPr>
          <p:spPr bwMode="gray">
            <a:xfrm>
              <a:off x="6415381" y="3680073"/>
              <a:ext cx="338557" cy="319577"/>
            </a:xfrm>
            <a:custGeom>
              <a:avLst/>
              <a:gdLst/>
              <a:ahLst/>
              <a:cxnLst>
                <a:cxn ang="0">
                  <a:pos x="0" y="58"/>
                </a:cxn>
                <a:cxn ang="0">
                  <a:pos x="15" y="343"/>
                </a:cxn>
                <a:cxn ang="0">
                  <a:pos x="316" y="351"/>
                </a:cxn>
                <a:cxn ang="0">
                  <a:pos x="369" y="306"/>
                </a:cxn>
                <a:cxn ang="0">
                  <a:pos x="374" y="276"/>
                </a:cxn>
                <a:cxn ang="0">
                  <a:pos x="261" y="75"/>
                </a:cxn>
                <a:cxn ang="0">
                  <a:pos x="316" y="139"/>
                </a:cxn>
                <a:cxn ang="0">
                  <a:pos x="344" y="84"/>
                </a:cxn>
                <a:cxn ang="0">
                  <a:pos x="316" y="13"/>
                </a:cxn>
                <a:cxn ang="0">
                  <a:pos x="246" y="24"/>
                </a:cxn>
                <a:cxn ang="0">
                  <a:pos x="245" y="5"/>
                </a:cxn>
                <a:cxn ang="0">
                  <a:pos x="208" y="5"/>
                </a:cxn>
                <a:cxn ang="0">
                  <a:pos x="146" y="31"/>
                </a:cxn>
                <a:cxn ang="0">
                  <a:pos x="15" y="0"/>
                </a:cxn>
                <a:cxn ang="0">
                  <a:pos x="0" y="58"/>
                </a:cxn>
              </a:cxnLst>
              <a:rect l="0" t="0" r="r" b="b"/>
              <a:pathLst>
                <a:path w="374" h="351">
                  <a:moveTo>
                    <a:pt x="0" y="58"/>
                  </a:moveTo>
                  <a:lnTo>
                    <a:pt x="15" y="343"/>
                  </a:lnTo>
                  <a:lnTo>
                    <a:pt x="316" y="351"/>
                  </a:lnTo>
                  <a:lnTo>
                    <a:pt x="369" y="306"/>
                  </a:lnTo>
                  <a:lnTo>
                    <a:pt x="374" y="276"/>
                  </a:lnTo>
                  <a:lnTo>
                    <a:pt x="261" y="75"/>
                  </a:lnTo>
                  <a:lnTo>
                    <a:pt x="316" y="139"/>
                  </a:lnTo>
                  <a:lnTo>
                    <a:pt x="344" y="84"/>
                  </a:lnTo>
                  <a:lnTo>
                    <a:pt x="316" y="13"/>
                  </a:lnTo>
                  <a:lnTo>
                    <a:pt x="246" y="24"/>
                  </a:lnTo>
                  <a:lnTo>
                    <a:pt x="245" y="5"/>
                  </a:lnTo>
                  <a:lnTo>
                    <a:pt x="208" y="5"/>
                  </a:lnTo>
                  <a:lnTo>
                    <a:pt x="146" y="31"/>
                  </a:lnTo>
                  <a:lnTo>
                    <a:pt x="15" y="0"/>
                  </a:lnTo>
                  <a:lnTo>
                    <a:pt x="0" y="58"/>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32" name="30636365.125364.62510.37514.1255">
              <a:extLst>
                <a:ext uri="{FF2B5EF4-FFF2-40B4-BE49-F238E27FC236}">
                  <a16:creationId xmlns:a16="http://schemas.microsoft.com/office/drawing/2014/main" id="{1399E42C-DFFE-4BD0-A692-218DAE27E626}"/>
                </a:ext>
              </a:extLst>
            </p:cNvPr>
            <p:cNvSpPr>
              <a:spLocks noChangeAspect="1"/>
            </p:cNvSpPr>
            <p:nvPr/>
          </p:nvSpPr>
          <p:spPr bwMode="gray">
            <a:xfrm>
              <a:off x="5519537" y="4213262"/>
              <a:ext cx="224436" cy="166517"/>
            </a:xfrm>
            <a:custGeom>
              <a:avLst/>
              <a:gdLst/>
              <a:ahLst/>
              <a:cxnLst>
                <a:cxn ang="0">
                  <a:pos x="0" y="156"/>
                </a:cxn>
                <a:cxn ang="0">
                  <a:pos x="18" y="177"/>
                </a:cxn>
                <a:cxn ang="0">
                  <a:pos x="85" y="184"/>
                </a:cxn>
                <a:cxn ang="0">
                  <a:pos x="78" y="137"/>
                </a:cxn>
                <a:cxn ang="0">
                  <a:pos x="168" y="129"/>
                </a:cxn>
                <a:cxn ang="0">
                  <a:pos x="203" y="137"/>
                </a:cxn>
                <a:cxn ang="0">
                  <a:pos x="252" y="103"/>
                </a:cxn>
                <a:cxn ang="0">
                  <a:pos x="187" y="33"/>
                </a:cxn>
                <a:cxn ang="0">
                  <a:pos x="180" y="0"/>
                </a:cxn>
                <a:cxn ang="0">
                  <a:pos x="43" y="60"/>
                </a:cxn>
                <a:cxn ang="0">
                  <a:pos x="0" y="156"/>
                </a:cxn>
              </a:cxnLst>
              <a:rect l="0" t="0" r="r" b="b"/>
              <a:pathLst>
                <a:path w="252" h="184">
                  <a:moveTo>
                    <a:pt x="0" y="156"/>
                  </a:moveTo>
                  <a:lnTo>
                    <a:pt x="18" y="177"/>
                  </a:lnTo>
                  <a:lnTo>
                    <a:pt x="85" y="184"/>
                  </a:lnTo>
                  <a:lnTo>
                    <a:pt x="78" y="137"/>
                  </a:lnTo>
                  <a:lnTo>
                    <a:pt x="168" y="129"/>
                  </a:lnTo>
                  <a:lnTo>
                    <a:pt x="203" y="137"/>
                  </a:lnTo>
                  <a:lnTo>
                    <a:pt x="252" y="103"/>
                  </a:lnTo>
                  <a:lnTo>
                    <a:pt x="187" y="33"/>
                  </a:lnTo>
                  <a:lnTo>
                    <a:pt x="180" y="0"/>
                  </a:lnTo>
                  <a:lnTo>
                    <a:pt x="43" y="60"/>
                  </a:lnTo>
                  <a:lnTo>
                    <a:pt x="0" y="156"/>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33" name="30637408.625415.7518.37522.1255">
              <a:extLst>
                <a:ext uri="{FF2B5EF4-FFF2-40B4-BE49-F238E27FC236}">
                  <a16:creationId xmlns:a16="http://schemas.microsoft.com/office/drawing/2014/main" id="{D12C899C-AEE3-490E-809F-376923DEDE79}"/>
                </a:ext>
              </a:extLst>
            </p:cNvPr>
            <p:cNvSpPr>
              <a:spLocks noChangeAspect="1"/>
            </p:cNvSpPr>
            <p:nvPr/>
          </p:nvSpPr>
          <p:spPr bwMode="gray">
            <a:xfrm>
              <a:off x="6339304" y="4918019"/>
              <a:ext cx="353773" cy="296030"/>
            </a:xfrm>
            <a:custGeom>
              <a:avLst/>
              <a:gdLst/>
              <a:ahLst/>
              <a:cxnLst>
                <a:cxn ang="0">
                  <a:pos x="0" y="159"/>
                </a:cxn>
                <a:cxn ang="0">
                  <a:pos x="0" y="284"/>
                </a:cxn>
                <a:cxn ang="0">
                  <a:pos x="41" y="316"/>
                </a:cxn>
                <a:cxn ang="0">
                  <a:pos x="105" y="324"/>
                </a:cxn>
                <a:cxn ang="0">
                  <a:pos x="164" y="326"/>
                </a:cxn>
                <a:cxn ang="0">
                  <a:pos x="223" y="282"/>
                </a:cxn>
                <a:cxn ang="0">
                  <a:pos x="226" y="262"/>
                </a:cxn>
                <a:cxn ang="0">
                  <a:pos x="276" y="250"/>
                </a:cxn>
                <a:cxn ang="0">
                  <a:pos x="267" y="232"/>
                </a:cxn>
                <a:cxn ang="0">
                  <a:pos x="374" y="199"/>
                </a:cxn>
                <a:cxn ang="0">
                  <a:pos x="360" y="183"/>
                </a:cxn>
                <a:cxn ang="0">
                  <a:pos x="393" y="84"/>
                </a:cxn>
                <a:cxn ang="0">
                  <a:pos x="367" y="41"/>
                </a:cxn>
                <a:cxn ang="0">
                  <a:pos x="305" y="11"/>
                </a:cxn>
                <a:cxn ang="0">
                  <a:pos x="289" y="0"/>
                </a:cxn>
                <a:cxn ang="0">
                  <a:pos x="228" y="30"/>
                </a:cxn>
                <a:cxn ang="0">
                  <a:pos x="221" y="117"/>
                </a:cxn>
                <a:cxn ang="0">
                  <a:pos x="258" y="133"/>
                </a:cxn>
                <a:cxn ang="0">
                  <a:pos x="260" y="169"/>
                </a:cxn>
                <a:cxn ang="0">
                  <a:pos x="69" y="90"/>
                </a:cxn>
                <a:cxn ang="0">
                  <a:pos x="74" y="159"/>
                </a:cxn>
                <a:cxn ang="0">
                  <a:pos x="0" y="159"/>
                </a:cxn>
              </a:cxnLst>
              <a:rect l="0" t="0" r="r" b="b"/>
              <a:pathLst>
                <a:path w="393" h="326">
                  <a:moveTo>
                    <a:pt x="0" y="159"/>
                  </a:moveTo>
                  <a:lnTo>
                    <a:pt x="0" y="284"/>
                  </a:lnTo>
                  <a:lnTo>
                    <a:pt x="41" y="316"/>
                  </a:lnTo>
                  <a:lnTo>
                    <a:pt x="105" y="324"/>
                  </a:lnTo>
                  <a:lnTo>
                    <a:pt x="164" y="326"/>
                  </a:lnTo>
                  <a:lnTo>
                    <a:pt x="223" y="282"/>
                  </a:lnTo>
                  <a:lnTo>
                    <a:pt x="226" y="262"/>
                  </a:lnTo>
                  <a:lnTo>
                    <a:pt x="276" y="250"/>
                  </a:lnTo>
                  <a:lnTo>
                    <a:pt x="267" y="232"/>
                  </a:lnTo>
                  <a:lnTo>
                    <a:pt x="374" y="199"/>
                  </a:lnTo>
                  <a:lnTo>
                    <a:pt x="360" y="183"/>
                  </a:lnTo>
                  <a:lnTo>
                    <a:pt x="393" y="84"/>
                  </a:lnTo>
                  <a:lnTo>
                    <a:pt x="367" y="41"/>
                  </a:lnTo>
                  <a:lnTo>
                    <a:pt x="305" y="11"/>
                  </a:lnTo>
                  <a:lnTo>
                    <a:pt x="289" y="0"/>
                  </a:lnTo>
                  <a:lnTo>
                    <a:pt x="228" y="30"/>
                  </a:lnTo>
                  <a:lnTo>
                    <a:pt x="221" y="117"/>
                  </a:lnTo>
                  <a:lnTo>
                    <a:pt x="258" y="133"/>
                  </a:lnTo>
                  <a:lnTo>
                    <a:pt x="260" y="169"/>
                  </a:lnTo>
                  <a:lnTo>
                    <a:pt x="69" y="90"/>
                  </a:lnTo>
                  <a:lnTo>
                    <a:pt x="74" y="159"/>
                  </a:lnTo>
                  <a:lnTo>
                    <a:pt x="0" y="15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34" name="30639277.125418.12511.625155">
              <a:extLst>
                <a:ext uri="{FF2B5EF4-FFF2-40B4-BE49-F238E27FC236}">
                  <a16:creationId xmlns:a16="http://schemas.microsoft.com/office/drawing/2014/main" id="{4AD2C76F-F652-484A-909B-BAE60C10C7D6}"/>
                </a:ext>
              </a:extLst>
            </p:cNvPr>
            <p:cNvSpPr>
              <a:spLocks noChangeAspect="1"/>
            </p:cNvSpPr>
            <p:nvPr/>
          </p:nvSpPr>
          <p:spPr bwMode="gray">
            <a:xfrm>
              <a:off x="6377343" y="2785251"/>
              <a:ext cx="239653" cy="191748"/>
            </a:xfrm>
            <a:custGeom>
              <a:avLst/>
              <a:gdLst/>
              <a:ahLst/>
              <a:cxnLst>
                <a:cxn ang="0">
                  <a:pos x="86" y="0"/>
                </a:cxn>
                <a:cxn ang="0">
                  <a:pos x="108" y="5"/>
                </a:cxn>
                <a:cxn ang="0">
                  <a:pos x="130" y="20"/>
                </a:cxn>
                <a:cxn ang="0">
                  <a:pos x="166" y="20"/>
                </a:cxn>
                <a:cxn ang="0">
                  <a:pos x="203" y="25"/>
                </a:cxn>
                <a:cxn ang="0">
                  <a:pos x="221" y="50"/>
                </a:cxn>
                <a:cxn ang="0">
                  <a:pos x="236" y="84"/>
                </a:cxn>
                <a:cxn ang="0">
                  <a:pos x="242" y="97"/>
                </a:cxn>
                <a:cxn ang="0">
                  <a:pos x="255" y="108"/>
                </a:cxn>
                <a:cxn ang="0">
                  <a:pos x="265" y="117"/>
                </a:cxn>
                <a:cxn ang="0">
                  <a:pos x="265" y="130"/>
                </a:cxn>
                <a:cxn ang="0">
                  <a:pos x="248" y="130"/>
                </a:cxn>
                <a:cxn ang="0">
                  <a:pos x="225" y="130"/>
                </a:cxn>
                <a:cxn ang="0">
                  <a:pos x="236" y="144"/>
                </a:cxn>
                <a:cxn ang="0">
                  <a:pos x="244" y="152"/>
                </a:cxn>
                <a:cxn ang="0">
                  <a:pos x="248" y="170"/>
                </a:cxn>
                <a:cxn ang="0">
                  <a:pos x="236" y="178"/>
                </a:cxn>
                <a:cxn ang="0">
                  <a:pos x="215" y="178"/>
                </a:cxn>
                <a:cxn ang="0">
                  <a:pos x="213" y="178"/>
                </a:cxn>
                <a:cxn ang="0">
                  <a:pos x="203" y="186"/>
                </a:cxn>
                <a:cxn ang="0">
                  <a:pos x="203" y="203"/>
                </a:cxn>
                <a:cxn ang="0">
                  <a:pos x="189" y="207"/>
                </a:cxn>
                <a:cxn ang="0">
                  <a:pos x="176" y="199"/>
                </a:cxn>
                <a:cxn ang="0">
                  <a:pos x="155" y="194"/>
                </a:cxn>
                <a:cxn ang="0">
                  <a:pos x="136" y="186"/>
                </a:cxn>
                <a:cxn ang="0">
                  <a:pos x="118" y="190"/>
                </a:cxn>
                <a:cxn ang="0">
                  <a:pos x="63" y="170"/>
                </a:cxn>
                <a:cxn ang="0">
                  <a:pos x="41" y="174"/>
                </a:cxn>
                <a:cxn ang="0">
                  <a:pos x="22" y="170"/>
                </a:cxn>
                <a:cxn ang="0">
                  <a:pos x="12" y="186"/>
                </a:cxn>
                <a:cxn ang="0">
                  <a:pos x="0" y="150"/>
                </a:cxn>
                <a:cxn ang="0">
                  <a:pos x="23" y="128"/>
                </a:cxn>
                <a:cxn ang="0">
                  <a:pos x="7" y="84"/>
                </a:cxn>
                <a:cxn ang="0">
                  <a:pos x="22" y="90"/>
                </a:cxn>
                <a:cxn ang="0">
                  <a:pos x="24" y="80"/>
                </a:cxn>
                <a:cxn ang="0">
                  <a:pos x="29" y="64"/>
                </a:cxn>
                <a:cxn ang="0">
                  <a:pos x="38" y="56"/>
                </a:cxn>
                <a:cxn ang="0">
                  <a:pos x="41" y="36"/>
                </a:cxn>
                <a:cxn ang="0">
                  <a:pos x="59" y="17"/>
                </a:cxn>
                <a:cxn ang="0">
                  <a:pos x="71" y="0"/>
                </a:cxn>
                <a:cxn ang="0">
                  <a:pos x="86" y="0"/>
                </a:cxn>
              </a:cxnLst>
              <a:rect l="0" t="0" r="r" b="b"/>
              <a:pathLst>
                <a:path w="265" h="207">
                  <a:moveTo>
                    <a:pt x="86" y="0"/>
                  </a:moveTo>
                  <a:lnTo>
                    <a:pt x="108" y="5"/>
                  </a:lnTo>
                  <a:lnTo>
                    <a:pt x="130" y="20"/>
                  </a:lnTo>
                  <a:lnTo>
                    <a:pt x="166" y="20"/>
                  </a:lnTo>
                  <a:lnTo>
                    <a:pt x="203" y="25"/>
                  </a:lnTo>
                  <a:lnTo>
                    <a:pt x="221" y="50"/>
                  </a:lnTo>
                  <a:lnTo>
                    <a:pt x="236" y="84"/>
                  </a:lnTo>
                  <a:lnTo>
                    <a:pt x="242" y="97"/>
                  </a:lnTo>
                  <a:lnTo>
                    <a:pt x="255" y="108"/>
                  </a:lnTo>
                  <a:lnTo>
                    <a:pt x="265" y="117"/>
                  </a:lnTo>
                  <a:lnTo>
                    <a:pt x="265" y="130"/>
                  </a:lnTo>
                  <a:lnTo>
                    <a:pt x="248" y="130"/>
                  </a:lnTo>
                  <a:lnTo>
                    <a:pt x="225" y="130"/>
                  </a:lnTo>
                  <a:lnTo>
                    <a:pt x="236" y="144"/>
                  </a:lnTo>
                  <a:lnTo>
                    <a:pt x="244" y="152"/>
                  </a:lnTo>
                  <a:lnTo>
                    <a:pt x="248" y="170"/>
                  </a:lnTo>
                  <a:lnTo>
                    <a:pt x="236" y="178"/>
                  </a:lnTo>
                  <a:lnTo>
                    <a:pt x="215" y="178"/>
                  </a:lnTo>
                  <a:lnTo>
                    <a:pt x="213" y="178"/>
                  </a:lnTo>
                  <a:lnTo>
                    <a:pt x="203" y="186"/>
                  </a:lnTo>
                  <a:lnTo>
                    <a:pt x="203" y="203"/>
                  </a:lnTo>
                  <a:lnTo>
                    <a:pt x="189" y="207"/>
                  </a:lnTo>
                  <a:lnTo>
                    <a:pt x="176" y="199"/>
                  </a:lnTo>
                  <a:lnTo>
                    <a:pt x="155" y="194"/>
                  </a:lnTo>
                  <a:lnTo>
                    <a:pt x="136" y="186"/>
                  </a:lnTo>
                  <a:lnTo>
                    <a:pt x="118" y="190"/>
                  </a:lnTo>
                  <a:lnTo>
                    <a:pt x="63" y="170"/>
                  </a:lnTo>
                  <a:lnTo>
                    <a:pt x="41" y="174"/>
                  </a:lnTo>
                  <a:lnTo>
                    <a:pt x="22" y="170"/>
                  </a:lnTo>
                  <a:lnTo>
                    <a:pt x="12" y="186"/>
                  </a:lnTo>
                  <a:lnTo>
                    <a:pt x="0" y="150"/>
                  </a:lnTo>
                  <a:lnTo>
                    <a:pt x="23" y="128"/>
                  </a:lnTo>
                  <a:lnTo>
                    <a:pt x="7" y="84"/>
                  </a:lnTo>
                  <a:lnTo>
                    <a:pt x="22" y="90"/>
                  </a:lnTo>
                  <a:lnTo>
                    <a:pt x="24" y="80"/>
                  </a:lnTo>
                  <a:lnTo>
                    <a:pt x="29" y="64"/>
                  </a:lnTo>
                  <a:lnTo>
                    <a:pt x="38" y="56"/>
                  </a:lnTo>
                  <a:lnTo>
                    <a:pt x="41" y="36"/>
                  </a:lnTo>
                  <a:lnTo>
                    <a:pt x="59" y="17"/>
                  </a:lnTo>
                  <a:lnTo>
                    <a:pt x="71" y="0"/>
                  </a:lnTo>
                  <a:lnTo>
                    <a:pt x="86" y="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35" name="30640285.37541619.12533.1255">
              <a:extLst>
                <a:ext uri="{FF2B5EF4-FFF2-40B4-BE49-F238E27FC236}">
                  <a16:creationId xmlns:a16="http://schemas.microsoft.com/office/drawing/2014/main" id="{9EBED43C-002E-4B86-B786-A7DB8AED3491}"/>
                </a:ext>
              </a:extLst>
            </p:cNvPr>
            <p:cNvSpPr>
              <a:spLocks noChangeAspect="1"/>
            </p:cNvSpPr>
            <p:nvPr/>
          </p:nvSpPr>
          <p:spPr bwMode="gray">
            <a:xfrm>
              <a:off x="6341204" y="2919809"/>
              <a:ext cx="532560" cy="309486"/>
            </a:xfrm>
            <a:custGeom>
              <a:avLst/>
              <a:gdLst/>
              <a:ahLst/>
              <a:cxnLst>
                <a:cxn ang="0">
                  <a:pos x="301" y="13"/>
                </a:cxn>
                <a:cxn ang="0">
                  <a:pos x="330" y="0"/>
                </a:cxn>
                <a:cxn ang="0">
                  <a:pos x="366" y="22"/>
                </a:cxn>
                <a:cxn ang="0">
                  <a:pos x="380" y="49"/>
                </a:cxn>
                <a:cxn ang="0">
                  <a:pos x="422" y="73"/>
                </a:cxn>
                <a:cxn ang="0">
                  <a:pos x="477" y="110"/>
                </a:cxn>
                <a:cxn ang="0">
                  <a:pos x="516" y="110"/>
                </a:cxn>
                <a:cxn ang="0">
                  <a:pos x="571" y="125"/>
                </a:cxn>
                <a:cxn ang="0">
                  <a:pos x="557" y="184"/>
                </a:cxn>
                <a:cxn ang="0">
                  <a:pos x="507" y="235"/>
                </a:cxn>
                <a:cxn ang="0">
                  <a:pos x="432" y="276"/>
                </a:cxn>
                <a:cxn ang="0">
                  <a:pos x="435" y="298"/>
                </a:cxn>
                <a:cxn ang="0">
                  <a:pos x="397" y="338"/>
                </a:cxn>
                <a:cxn ang="0">
                  <a:pos x="389" y="271"/>
                </a:cxn>
                <a:cxn ang="0">
                  <a:pos x="327" y="264"/>
                </a:cxn>
                <a:cxn ang="0">
                  <a:pos x="326" y="242"/>
                </a:cxn>
                <a:cxn ang="0">
                  <a:pos x="250" y="300"/>
                </a:cxn>
                <a:cxn ang="0">
                  <a:pos x="224" y="267"/>
                </a:cxn>
                <a:cxn ang="0">
                  <a:pos x="246" y="246"/>
                </a:cxn>
                <a:cxn ang="0">
                  <a:pos x="260" y="228"/>
                </a:cxn>
                <a:cxn ang="0">
                  <a:pos x="231" y="192"/>
                </a:cxn>
                <a:cxn ang="0">
                  <a:pos x="179" y="173"/>
                </a:cxn>
                <a:cxn ang="0">
                  <a:pos x="90" y="184"/>
                </a:cxn>
                <a:cxn ang="0">
                  <a:pos x="22" y="189"/>
                </a:cxn>
                <a:cxn ang="0">
                  <a:pos x="14" y="140"/>
                </a:cxn>
                <a:cxn ang="0">
                  <a:pos x="63" y="75"/>
                </a:cxn>
                <a:cxn ang="0">
                  <a:pos x="52" y="30"/>
                </a:cxn>
                <a:cxn ang="0">
                  <a:pos x="80" y="26"/>
                </a:cxn>
                <a:cxn ang="0">
                  <a:pos x="128" y="31"/>
                </a:cxn>
                <a:cxn ang="0">
                  <a:pos x="175" y="37"/>
                </a:cxn>
                <a:cxn ang="0">
                  <a:pos x="215" y="51"/>
                </a:cxn>
                <a:cxn ang="0">
                  <a:pos x="242" y="55"/>
                </a:cxn>
                <a:cxn ang="0">
                  <a:pos x="252" y="30"/>
                </a:cxn>
                <a:cxn ang="0">
                  <a:pos x="283" y="26"/>
                </a:cxn>
              </a:cxnLst>
              <a:rect l="0" t="0" r="r" b="b"/>
              <a:pathLst>
                <a:path w="587" h="338">
                  <a:moveTo>
                    <a:pt x="292" y="16"/>
                  </a:moveTo>
                  <a:lnTo>
                    <a:pt x="301" y="13"/>
                  </a:lnTo>
                  <a:lnTo>
                    <a:pt x="318" y="4"/>
                  </a:lnTo>
                  <a:lnTo>
                    <a:pt x="330" y="0"/>
                  </a:lnTo>
                  <a:lnTo>
                    <a:pt x="356" y="4"/>
                  </a:lnTo>
                  <a:lnTo>
                    <a:pt x="366" y="22"/>
                  </a:lnTo>
                  <a:lnTo>
                    <a:pt x="371" y="42"/>
                  </a:lnTo>
                  <a:lnTo>
                    <a:pt x="380" y="49"/>
                  </a:lnTo>
                  <a:lnTo>
                    <a:pt x="393" y="45"/>
                  </a:lnTo>
                  <a:lnTo>
                    <a:pt x="422" y="73"/>
                  </a:lnTo>
                  <a:lnTo>
                    <a:pt x="437" y="95"/>
                  </a:lnTo>
                  <a:lnTo>
                    <a:pt x="477" y="110"/>
                  </a:lnTo>
                  <a:lnTo>
                    <a:pt x="503" y="114"/>
                  </a:lnTo>
                  <a:lnTo>
                    <a:pt x="516" y="110"/>
                  </a:lnTo>
                  <a:lnTo>
                    <a:pt x="540" y="121"/>
                  </a:lnTo>
                  <a:lnTo>
                    <a:pt x="571" y="125"/>
                  </a:lnTo>
                  <a:lnTo>
                    <a:pt x="587" y="177"/>
                  </a:lnTo>
                  <a:lnTo>
                    <a:pt x="557" y="184"/>
                  </a:lnTo>
                  <a:lnTo>
                    <a:pt x="551" y="209"/>
                  </a:lnTo>
                  <a:lnTo>
                    <a:pt x="507" y="235"/>
                  </a:lnTo>
                  <a:lnTo>
                    <a:pt x="439" y="253"/>
                  </a:lnTo>
                  <a:lnTo>
                    <a:pt x="432" y="276"/>
                  </a:lnTo>
                  <a:lnTo>
                    <a:pt x="403" y="267"/>
                  </a:lnTo>
                  <a:lnTo>
                    <a:pt x="435" y="298"/>
                  </a:lnTo>
                  <a:lnTo>
                    <a:pt x="473" y="302"/>
                  </a:lnTo>
                  <a:lnTo>
                    <a:pt x="397" y="338"/>
                  </a:lnTo>
                  <a:lnTo>
                    <a:pt x="352" y="300"/>
                  </a:lnTo>
                  <a:lnTo>
                    <a:pt x="389" y="271"/>
                  </a:lnTo>
                  <a:lnTo>
                    <a:pt x="352" y="264"/>
                  </a:lnTo>
                  <a:lnTo>
                    <a:pt x="327" y="264"/>
                  </a:lnTo>
                  <a:lnTo>
                    <a:pt x="333" y="239"/>
                  </a:lnTo>
                  <a:lnTo>
                    <a:pt x="326" y="242"/>
                  </a:lnTo>
                  <a:lnTo>
                    <a:pt x="271" y="256"/>
                  </a:lnTo>
                  <a:lnTo>
                    <a:pt x="250" y="300"/>
                  </a:lnTo>
                  <a:lnTo>
                    <a:pt x="215" y="297"/>
                  </a:lnTo>
                  <a:lnTo>
                    <a:pt x="224" y="267"/>
                  </a:lnTo>
                  <a:lnTo>
                    <a:pt x="226" y="253"/>
                  </a:lnTo>
                  <a:lnTo>
                    <a:pt x="246" y="246"/>
                  </a:lnTo>
                  <a:lnTo>
                    <a:pt x="257" y="236"/>
                  </a:lnTo>
                  <a:lnTo>
                    <a:pt x="260" y="228"/>
                  </a:lnTo>
                  <a:lnTo>
                    <a:pt x="246" y="224"/>
                  </a:lnTo>
                  <a:lnTo>
                    <a:pt x="231" y="192"/>
                  </a:lnTo>
                  <a:lnTo>
                    <a:pt x="208" y="173"/>
                  </a:lnTo>
                  <a:lnTo>
                    <a:pt x="179" y="173"/>
                  </a:lnTo>
                  <a:lnTo>
                    <a:pt x="142" y="181"/>
                  </a:lnTo>
                  <a:lnTo>
                    <a:pt x="90" y="184"/>
                  </a:lnTo>
                  <a:lnTo>
                    <a:pt x="62" y="189"/>
                  </a:lnTo>
                  <a:lnTo>
                    <a:pt x="22" y="189"/>
                  </a:lnTo>
                  <a:lnTo>
                    <a:pt x="0" y="170"/>
                  </a:lnTo>
                  <a:lnTo>
                    <a:pt x="14" y="140"/>
                  </a:lnTo>
                  <a:lnTo>
                    <a:pt x="37" y="108"/>
                  </a:lnTo>
                  <a:lnTo>
                    <a:pt x="63" y="75"/>
                  </a:lnTo>
                  <a:lnTo>
                    <a:pt x="51" y="37"/>
                  </a:lnTo>
                  <a:lnTo>
                    <a:pt x="52" y="30"/>
                  </a:lnTo>
                  <a:lnTo>
                    <a:pt x="61" y="22"/>
                  </a:lnTo>
                  <a:lnTo>
                    <a:pt x="80" y="26"/>
                  </a:lnTo>
                  <a:lnTo>
                    <a:pt x="102" y="22"/>
                  </a:lnTo>
                  <a:lnTo>
                    <a:pt x="128" y="31"/>
                  </a:lnTo>
                  <a:lnTo>
                    <a:pt x="156" y="42"/>
                  </a:lnTo>
                  <a:lnTo>
                    <a:pt x="175" y="37"/>
                  </a:lnTo>
                  <a:lnTo>
                    <a:pt x="194" y="46"/>
                  </a:lnTo>
                  <a:lnTo>
                    <a:pt x="215" y="51"/>
                  </a:lnTo>
                  <a:lnTo>
                    <a:pt x="228" y="59"/>
                  </a:lnTo>
                  <a:lnTo>
                    <a:pt x="242" y="55"/>
                  </a:lnTo>
                  <a:lnTo>
                    <a:pt x="243" y="38"/>
                  </a:lnTo>
                  <a:lnTo>
                    <a:pt x="252" y="30"/>
                  </a:lnTo>
                  <a:lnTo>
                    <a:pt x="275" y="30"/>
                  </a:lnTo>
                  <a:lnTo>
                    <a:pt x="283" y="26"/>
                  </a:lnTo>
                  <a:lnTo>
                    <a:pt x="292" y="16"/>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36" name="30641295.125424.576.255">
              <a:extLst>
                <a:ext uri="{FF2B5EF4-FFF2-40B4-BE49-F238E27FC236}">
                  <a16:creationId xmlns:a16="http://schemas.microsoft.com/office/drawing/2014/main" id="{45CBD2E8-404E-4B87-9CE7-39588DF10AC9}"/>
                </a:ext>
              </a:extLst>
            </p:cNvPr>
            <p:cNvSpPr>
              <a:spLocks noChangeAspect="1"/>
            </p:cNvSpPr>
            <p:nvPr/>
          </p:nvSpPr>
          <p:spPr bwMode="gray">
            <a:xfrm>
              <a:off x="6478151" y="3077919"/>
              <a:ext cx="100805" cy="116057"/>
            </a:xfrm>
            <a:custGeom>
              <a:avLst/>
              <a:gdLst/>
              <a:ahLst/>
              <a:cxnLst>
                <a:cxn ang="0">
                  <a:pos x="25" y="33"/>
                </a:cxn>
                <a:cxn ang="0">
                  <a:pos x="39" y="51"/>
                </a:cxn>
                <a:cxn ang="0">
                  <a:pos x="46" y="65"/>
                </a:cxn>
                <a:cxn ang="0">
                  <a:pos x="53" y="121"/>
                </a:cxn>
                <a:cxn ang="0">
                  <a:pos x="64" y="122"/>
                </a:cxn>
                <a:cxn ang="0">
                  <a:pos x="73" y="94"/>
                </a:cxn>
                <a:cxn ang="0">
                  <a:pos x="75" y="78"/>
                </a:cxn>
                <a:cxn ang="0">
                  <a:pos x="103" y="69"/>
                </a:cxn>
                <a:cxn ang="0">
                  <a:pos x="110" y="56"/>
                </a:cxn>
                <a:cxn ang="0">
                  <a:pos x="97" y="52"/>
                </a:cxn>
                <a:cxn ang="0">
                  <a:pos x="81" y="21"/>
                </a:cxn>
                <a:cxn ang="0">
                  <a:pos x="58" y="1"/>
                </a:cxn>
                <a:cxn ang="0">
                  <a:pos x="28" y="0"/>
                </a:cxn>
                <a:cxn ang="0">
                  <a:pos x="0" y="4"/>
                </a:cxn>
                <a:cxn ang="0">
                  <a:pos x="25" y="33"/>
                </a:cxn>
              </a:cxnLst>
              <a:rect l="0" t="0" r="r" b="b"/>
              <a:pathLst>
                <a:path w="110" h="122">
                  <a:moveTo>
                    <a:pt x="25" y="33"/>
                  </a:moveTo>
                  <a:lnTo>
                    <a:pt x="39" y="51"/>
                  </a:lnTo>
                  <a:lnTo>
                    <a:pt x="46" y="65"/>
                  </a:lnTo>
                  <a:lnTo>
                    <a:pt x="53" y="121"/>
                  </a:lnTo>
                  <a:lnTo>
                    <a:pt x="64" y="122"/>
                  </a:lnTo>
                  <a:lnTo>
                    <a:pt x="73" y="94"/>
                  </a:lnTo>
                  <a:lnTo>
                    <a:pt x="75" y="78"/>
                  </a:lnTo>
                  <a:lnTo>
                    <a:pt x="103" y="69"/>
                  </a:lnTo>
                  <a:lnTo>
                    <a:pt x="110" y="56"/>
                  </a:lnTo>
                  <a:lnTo>
                    <a:pt x="97" y="52"/>
                  </a:lnTo>
                  <a:lnTo>
                    <a:pt x="81" y="21"/>
                  </a:lnTo>
                  <a:lnTo>
                    <a:pt x="58" y="1"/>
                  </a:lnTo>
                  <a:lnTo>
                    <a:pt x="28" y="0"/>
                  </a:lnTo>
                  <a:lnTo>
                    <a:pt x="0" y="4"/>
                  </a:lnTo>
                  <a:lnTo>
                    <a:pt x="25" y="33"/>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37" name="30642304.625447.1256.25145">
              <a:extLst>
                <a:ext uri="{FF2B5EF4-FFF2-40B4-BE49-F238E27FC236}">
                  <a16:creationId xmlns:a16="http://schemas.microsoft.com/office/drawing/2014/main" id="{6C8FE0EB-D9B4-4649-BC8B-5138D92C6014}"/>
                </a:ext>
              </a:extLst>
            </p:cNvPr>
            <p:cNvSpPr>
              <a:spLocks noChangeAspect="1"/>
            </p:cNvSpPr>
            <p:nvPr/>
          </p:nvSpPr>
          <p:spPr bwMode="gray">
            <a:xfrm>
              <a:off x="6841431" y="3232660"/>
              <a:ext cx="226341" cy="100920"/>
            </a:xfrm>
            <a:custGeom>
              <a:avLst/>
              <a:gdLst/>
              <a:ahLst/>
              <a:cxnLst>
                <a:cxn ang="0">
                  <a:pos x="0" y="6"/>
                </a:cxn>
                <a:cxn ang="0">
                  <a:pos x="59" y="0"/>
                </a:cxn>
                <a:cxn ang="0">
                  <a:pos x="115" y="22"/>
                </a:cxn>
                <a:cxn ang="0">
                  <a:pos x="139" y="47"/>
                </a:cxn>
                <a:cxn ang="0">
                  <a:pos x="167" y="47"/>
                </a:cxn>
                <a:cxn ang="0">
                  <a:pos x="188" y="36"/>
                </a:cxn>
                <a:cxn ang="0">
                  <a:pos x="203" y="32"/>
                </a:cxn>
                <a:cxn ang="0">
                  <a:pos x="218" y="58"/>
                </a:cxn>
                <a:cxn ang="0">
                  <a:pos x="244" y="64"/>
                </a:cxn>
                <a:cxn ang="0">
                  <a:pos x="239" y="75"/>
                </a:cxn>
                <a:cxn ang="0">
                  <a:pos x="247" y="94"/>
                </a:cxn>
                <a:cxn ang="0">
                  <a:pos x="244" y="109"/>
                </a:cxn>
                <a:cxn ang="0">
                  <a:pos x="218" y="86"/>
                </a:cxn>
                <a:cxn ang="0">
                  <a:pos x="203" y="79"/>
                </a:cxn>
                <a:cxn ang="0">
                  <a:pos x="189" y="79"/>
                </a:cxn>
                <a:cxn ang="0">
                  <a:pos x="182" y="104"/>
                </a:cxn>
                <a:cxn ang="0">
                  <a:pos x="163" y="97"/>
                </a:cxn>
                <a:cxn ang="0">
                  <a:pos x="132" y="110"/>
                </a:cxn>
                <a:cxn ang="0">
                  <a:pos x="95" y="108"/>
                </a:cxn>
                <a:cxn ang="0">
                  <a:pos x="93" y="64"/>
                </a:cxn>
                <a:cxn ang="0">
                  <a:pos x="33" y="27"/>
                </a:cxn>
                <a:cxn ang="0">
                  <a:pos x="0" y="6"/>
                </a:cxn>
              </a:cxnLst>
              <a:rect l="0" t="0" r="r" b="b"/>
              <a:pathLst>
                <a:path w="247" h="110">
                  <a:moveTo>
                    <a:pt x="0" y="6"/>
                  </a:moveTo>
                  <a:lnTo>
                    <a:pt x="59" y="0"/>
                  </a:lnTo>
                  <a:lnTo>
                    <a:pt x="115" y="22"/>
                  </a:lnTo>
                  <a:lnTo>
                    <a:pt x="139" y="47"/>
                  </a:lnTo>
                  <a:lnTo>
                    <a:pt x="167" y="47"/>
                  </a:lnTo>
                  <a:lnTo>
                    <a:pt x="188" y="36"/>
                  </a:lnTo>
                  <a:lnTo>
                    <a:pt x="203" y="32"/>
                  </a:lnTo>
                  <a:lnTo>
                    <a:pt x="218" y="58"/>
                  </a:lnTo>
                  <a:lnTo>
                    <a:pt x="244" y="64"/>
                  </a:lnTo>
                  <a:lnTo>
                    <a:pt x="239" y="75"/>
                  </a:lnTo>
                  <a:lnTo>
                    <a:pt x="247" y="94"/>
                  </a:lnTo>
                  <a:lnTo>
                    <a:pt x="244" y="109"/>
                  </a:lnTo>
                  <a:lnTo>
                    <a:pt x="218" y="86"/>
                  </a:lnTo>
                  <a:lnTo>
                    <a:pt x="203" y="79"/>
                  </a:lnTo>
                  <a:lnTo>
                    <a:pt x="189" y="79"/>
                  </a:lnTo>
                  <a:lnTo>
                    <a:pt x="182" y="104"/>
                  </a:lnTo>
                  <a:lnTo>
                    <a:pt x="163" y="97"/>
                  </a:lnTo>
                  <a:lnTo>
                    <a:pt x="132" y="110"/>
                  </a:lnTo>
                  <a:lnTo>
                    <a:pt x="95" y="108"/>
                  </a:lnTo>
                  <a:lnTo>
                    <a:pt x="93" y="64"/>
                  </a:lnTo>
                  <a:lnTo>
                    <a:pt x="33" y="27"/>
                  </a:lnTo>
                  <a:lnTo>
                    <a:pt x="0" y="6"/>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38" name="30643308.125457.59.511.6255">
              <a:extLst>
                <a:ext uri="{FF2B5EF4-FFF2-40B4-BE49-F238E27FC236}">
                  <a16:creationId xmlns:a16="http://schemas.microsoft.com/office/drawing/2014/main" id="{F6509861-C168-41B0-8520-F6919977BACE}"/>
                </a:ext>
              </a:extLst>
            </p:cNvPr>
            <p:cNvSpPr>
              <a:spLocks noChangeAspect="1"/>
            </p:cNvSpPr>
            <p:nvPr/>
          </p:nvSpPr>
          <p:spPr bwMode="gray">
            <a:xfrm>
              <a:off x="7006907" y="3288166"/>
              <a:ext cx="186397" cy="154745"/>
            </a:xfrm>
            <a:custGeom>
              <a:avLst/>
              <a:gdLst/>
              <a:ahLst/>
              <a:cxnLst>
                <a:cxn ang="0">
                  <a:pos x="77" y="7"/>
                </a:cxn>
                <a:cxn ang="0">
                  <a:pos x="88" y="7"/>
                </a:cxn>
                <a:cxn ang="0">
                  <a:pos x="119" y="15"/>
                </a:cxn>
                <a:cxn ang="0">
                  <a:pos x="149" y="37"/>
                </a:cxn>
                <a:cxn ang="0">
                  <a:pos x="167" y="63"/>
                </a:cxn>
                <a:cxn ang="0">
                  <a:pos x="205" y="95"/>
                </a:cxn>
                <a:cxn ang="0">
                  <a:pos x="185" y="101"/>
                </a:cxn>
                <a:cxn ang="0">
                  <a:pos x="171" y="121"/>
                </a:cxn>
                <a:cxn ang="0">
                  <a:pos x="168" y="130"/>
                </a:cxn>
                <a:cxn ang="0">
                  <a:pos x="160" y="166"/>
                </a:cxn>
                <a:cxn ang="0">
                  <a:pos x="132" y="156"/>
                </a:cxn>
                <a:cxn ang="0">
                  <a:pos x="126" y="125"/>
                </a:cxn>
                <a:cxn ang="0">
                  <a:pos x="98" y="137"/>
                </a:cxn>
                <a:cxn ang="0">
                  <a:pos x="69" y="155"/>
                </a:cxn>
                <a:cxn ang="0">
                  <a:pos x="53" y="151"/>
                </a:cxn>
                <a:cxn ang="0">
                  <a:pos x="38" y="136"/>
                </a:cxn>
                <a:cxn ang="0">
                  <a:pos x="28" y="121"/>
                </a:cxn>
                <a:cxn ang="0">
                  <a:pos x="40" y="106"/>
                </a:cxn>
                <a:cxn ang="0">
                  <a:pos x="49" y="118"/>
                </a:cxn>
                <a:cxn ang="0">
                  <a:pos x="84" y="134"/>
                </a:cxn>
                <a:cxn ang="0">
                  <a:pos x="91" y="119"/>
                </a:cxn>
                <a:cxn ang="0">
                  <a:pos x="58" y="93"/>
                </a:cxn>
                <a:cxn ang="0">
                  <a:pos x="47" y="71"/>
                </a:cxn>
                <a:cxn ang="0">
                  <a:pos x="36" y="63"/>
                </a:cxn>
                <a:cxn ang="0">
                  <a:pos x="36" y="51"/>
                </a:cxn>
                <a:cxn ang="0">
                  <a:pos x="21" y="45"/>
                </a:cxn>
                <a:cxn ang="0">
                  <a:pos x="0" y="41"/>
                </a:cxn>
                <a:cxn ang="0">
                  <a:pos x="6" y="24"/>
                </a:cxn>
                <a:cxn ang="0">
                  <a:pos x="9" y="15"/>
                </a:cxn>
                <a:cxn ang="0">
                  <a:pos x="25" y="15"/>
                </a:cxn>
                <a:cxn ang="0">
                  <a:pos x="36" y="22"/>
                </a:cxn>
                <a:cxn ang="0">
                  <a:pos x="62" y="45"/>
                </a:cxn>
                <a:cxn ang="0">
                  <a:pos x="65" y="30"/>
                </a:cxn>
                <a:cxn ang="0">
                  <a:pos x="57" y="12"/>
                </a:cxn>
                <a:cxn ang="0">
                  <a:pos x="62" y="0"/>
                </a:cxn>
                <a:cxn ang="0">
                  <a:pos x="77" y="7"/>
                </a:cxn>
              </a:cxnLst>
              <a:rect l="0" t="0" r="r" b="b"/>
              <a:pathLst>
                <a:path w="205" h="166">
                  <a:moveTo>
                    <a:pt x="77" y="7"/>
                  </a:moveTo>
                  <a:lnTo>
                    <a:pt x="88" y="7"/>
                  </a:lnTo>
                  <a:lnTo>
                    <a:pt x="119" y="15"/>
                  </a:lnTo>
                  <a:lnTo>
                    <a:pt x="149" y="37"/>
                  </a:lnTo>
                  <a:lnTo>
                    <a:pt x="167" y="63"/>
                  </a:lnTo>
                  <a:lnTo>
                    <a:pt x="205" y="95"/>
                  </a:lnTo>
                  <a:lnTo>
                    <a:pt x="185" y="101"/>
                  </a:lnTo>
                  <a:lnTo>
                    <a:pt x="171" y="121"/>
                  </a:lnTo>
                  <a:lnTo>
                    <a:pt x="168" y="130"/>
                  </a:lnTo>
                  <a:lnTo>
                    <a:pt x="160" y="166"/>
                  </a:lnTo>
                  <a:lnTo>
                    <a:pt x="132" y="156"/>
                  </a:lnTo>
                  <a:lnTo>
                    <a:pt x="126" y="125"/>
                  </a:lnTo>
                  <a:lnTo>
                    <a:pt x="98" y="137"/>
                  </a:lnTo>
                  <a:lnTo>
                    <a:pt x="69" y="155"/>
                  </a:lnTo>
                  <a:lnTo>
                    <a:pt x="53" y="151"/>
                  </a:lnTo>
                  <a:lnTo>
                    <a:pt x="38" y="136"/>
                  </a:lnTo>
                  <a:lnTo>
                    <a:pt x="28" y="121"/>
                  </a:lnTo>
                  <a:lnTo>
                    <a:pt x="40" y="106"/>
                  </a:lnTo>
                  <a:lnTo>
                    <a:pt x="49" y="118"/>
                  </a:lnTo>
                  <a:lnTo>
                    <a:pt x="84" y="134"/>
                  </a:lnTo>
                  <a:lnTo>
                    <a:pt x="91" y="119"/>
                  </a:lnTo>
                  <a:lnTo>
                    <a:pt x="58" y="93"/>
                  </a:lnTo>
                  <a:lnTo>
                    <a:pt x="47" y="71"/>
                  </a:lnTo>
                  <a:lnTo>
                    <a:pt x="36" y="63"/>
                  </a:lnTo>
                  <a:lnTo>
                    <a:pt x="36" y="51"/>
                  </a:lnTo>
                  <a:lnTo>
                    <a:pt x="21" y="45"/>
                  </a:lnTo>
                  <a:lnTo>
                    <a:pt x="0" y="41"/>
                  </a:lnTo>
                  <a:lnTo>
                    <a:pt x="6" y="24"/>
                  </a:lnTo>
                  <a:lnTo>
                    <a:pt x="9" y="15"/>
                  </a:lnTo>
                  <a:lnTo>
                    <a:pt x="25" y="15"/>
                  </a:lnTo>
                  <a:lnTo>
                    <a:pt x="36" y="22"/>
                  </a:lnTo>
                  <a:lnTo>
                    <a:pt x="62" y="45"/>
                  </a:lnTo>
                  <a:lnTo>
                    <a:pt x="65" y="30"/>
                  </a:lnTo>
                  <a:lnTo>
                    <a:pt x="57" y="12"/>
                  </a:lnTo>
                  <a:lnTo>
                    <a:pt x="62" y="0"/>
                  </a:lnTo>
                  <a:lnTo>
                    <a:pt x="77" y="7"/>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39" name="306443104555.757.6255">
              <a:extLst>
                <a:ext uri="{FF2B5EF4-FFF2-40B4-BE49-F238E27FC236}">
                  <a16:creationId xmlns:a16="http://schemas.microsoft.com/office/drawing/2014/main" id="{4DCAFD83-F46F-47D4-A861-A1677EF15899}"/>
                </a:ext>
              </a:extLst>
            </p:cNvPr>
            <p:cNvSpPr>
              <a:spLocks noChangeAspect="1"/>
            </p:cNvSpPr>
            <p:nvPr/>
          </p:nvSpPr>
          <p:spPr bwMode="gray">
            <a:xfrm>
              <a:off x="6968868" y="3318443"/>
              <a:ext cx="119826" cy="94190"/>
            </a:xfrm>
            <a:custGeom>
              <a:avLst/>
              <a:gdLst/>
              <a:ahLst/>
              <a:cxnLst>
                <a:cxn ang="0">
                  <a:pos x="0" y="15"/>
                </a:cxn>
                <a:cxn ang="0">
                  <a:pos x="16" y="31"/>
                </a:cxn>
                <a:cxn ang="0">
                  <a:pos x="35" y="56"/>
                </a:cxn>
                <a:cxn ang="0">
                  <a:pos x="67" y="89"/>
                </a:cxn>
                <a:cxn ang="0">
                  <a:pos x="87" y="70"/>
                </a:cxn>
                <a:cxn ang="0">
                  <a:pos x="89" y="86"/>
                </a:cxn>
                <a:cxn ang="0">
                  <a:pos x="104" y="89"/>
                </a:cxn>
                <a:cxn ang="0">
                  <a:pos x="126" y="101"/>
                </a:cxn>
                <a:cxn ang="0">
                  <a:pos x="134" y="86"/>
                </a:cxn>
                <a:cxn ang="0">
                  <a:pos x="101" y="60"/>
                </a:cxn>
                <a:cxn ang="0">
                  <a:pos x="93" y="40"/>
                </a:cxn>
                <a:cxn ang="0">
                  <a:pos x="79" y="30"/>
                </a:cxn>
                <a:cxn ang="0">
                  <a:pos x="79" y="18"/>
                </a:cxn>
                <a:cxn ang="0">
                  <a:pos x="64" y="12"/>
                </a:cxn>
                <a:cxn ang="0">
                  <a:pos x="42" y="7"/>
                </a:cxn>
                <a:cxn ang="0">
                  <a:pos x="23" y="0"/>
                </a:cxn>
                <a:cxn ang="0">
                  <a:pos x="6" y="2"/>
                </a:cxn>
                <a:cxn ang="0">
                  <a:pos x="0" y="15"/>
                </a:cxn>
              </a:cxnLst>
              <a:rect l="0" t="0" r="r" b="b"/>
              <a:pathLst>
                <a:path w="134" h="101">
                  <a:moveTo>
                    <a:pt x="0" y="15"/>
                  </a:moveTo>
                  <a:lnTo>
                    <a:pt x="16" y="31"/>
                  </a:lnTo>
                  <a:lnTo>
                    <a:pt x="35" y="56"/>
                  </a:lnTo>
                  <a:lnTo>
                    <a:pt x="67" y="89"/>
                  </a:lnTo>
                  <a:lnTo>
                    <a:pt x="87" y="70"/>
                  </a:lnTo>
                  <a:lnTo>
                    <a:pt x="89" y="86"/>
                  </a:lnTo>
                  <a:lnTo>
                    <a:pt x="104" y="89"/>
                  </a:lnTo>
                  <a:lnTo>
                    <a:pt x="126" y="101"/>
                  </a:lnTo>
                  <a:lnTo>
                    <a:pt x="134" y="86"/>
                  </a:lnTo>
                  <a:lnTo>
                    <a:pt x="101" y="60"/>
                  </a:lnTo>
                  <a:lnTo>
                    <a:pt x="93" y="40"/>
                  </a:lnTo>
                  <a:lnTo>
                    <a:pt x="79" y="30"/>
                  </a:lnTo>
                  <a:lnTo>
                    <a:pt x="79" y="18"/>
                  </a:lnTo>
                  <a:lnTo>
                    <a:pt x="64" y="12"/>
                  </a:lnTo>
                  <a:lnTo>
                    <a:pt x="42" y="7"/>
                  </a:lnTo>
                  <a:lnTo>
                    <a:pt x="23" y="0"/>
                  </a:lnTo>
                  <a:lnTo>
                    <a:pt x="6" y="2"/>
                  </a:lnTo>
                  <a:lnTo>
                    <a:pt x="0" y="1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40" name="30645277.75459.37533.87578.8755">
              <a:extLst>
                <a:ext uri="{FF2B5EF4-FFF2-40B4-BE49-F238E27FC236}">
                  <a16:creationId xmlns:a16="http://schemas.microsoft.com/office/drawing/2014/main" id="{7C9ECC6E-3157-4BB3-8F85-0E50609F8A5F}"/>
                </a:ext>
              </a:extLst>
            </p:cNvPr>
            <p:cNvSpPr>
              <a:spLocks noChangeAspect="1"/>
            </p:cNvSpPr>
            <p:nvPr/>
          </p:nvSpPr>
          <p:spPr bwMode="gray">
            <a:xfrm>
              <a:off x="7039240" y="2798707"/>
              <a:ext cx="1262933" cy="546648"/>
            </a:xfrm>
            <a:custGeom>
              <a:avLst/>
              <a:gdLst/>
              <a:ahLst/>
              <a:cxnLst>
                <a:cxn ang="0">
                  <a:pos x="1326" y="247"/>
                </a:cxn>
                <a:cxn ang="0">
                  <a:pos x="1187" y="234"/>
                </a:cxn>
                <a:cxn ang="0">
                  <a:pos x="1135" y="186"/>
                </a:cxn>
                <a:cxn ang="0">
                  <a:pos x="1069" y="194"/>
                </a:cxn>
                <a:cxn ang="0">
                  <a:pos x="1006" y="173"/>
                </a:cxn>
                <a:cxn ang="0">
                  <a:pos x="889" y="100"/>
                </a:cxn>
                <a:cxn ang="0">
                  <a:pos x="745" y="73"/>
                </a:cxn>
                <a:cxn ang="0">
                  <a:pos x="644" y="44"/>
                </a:cxn>
                <a:cxn ang="0">
                  <a:pos x="544" y="23"/>
                </a:cxn>
                <a:cxn ang="0">
                  <a:pos x="449" y="51"/>
                </a:cxn>
                <a:cxn ang="0">
                  <a:pos x="342" y="51"/>
                </a:cxn>
                <a:cxn ang="0">
                  <a:pos x="342" y="120"/>
                </a:cxn>
                <a:cxn ang="0">
                  <a:pos x="383" y="153"/>
                </a:cxn>
                <a:cxn ang="0">
                  <a:pos x="383" y="198"/>
                </a:cxn>
                <a:cxn ang="0">
                  <a:pos x="342" y="202"/>
                </a:cxn>
                <a:cxn ang="0">
                  <a:pos x="280" y="177"/>
                </a:cxn>
                <a:cxn ang="0">
                  <a:pos x="239" y="186"/>
                </a:cxn>
                <a:cxn ang="0">
                  <a:pos x="191" y="169"/>
                </a:cxn>
                <a:cxn ang="0">
                  <a:pos x="73" y="166"/>
                </a:cxn>
                <a:cxn ang="0">
                  <a:pos x="47" y="191"/>
                </a:cxn>
                <a:cxn ang="0">
                  <a:pos x="44" y="224"/>
                </a:cxn>
                <a:cxn ang="0">
                  <a:pos x="5" y="208"/>
                </a:cxn>
                <a:cxn ang="0">
                  <a:pos x="0" y="275"/>
                </a:cxn>
                <a:cxn ang="0">
                  <a:pos x="18" y="320"/>
                </a:cxn>
                <a:cxn ang="0">
                  <a:pos x="62" y="318"/>
                </a:cxn>
                <a:cxn ang="0">
                  <a:pos x="104" y="385"/>
                </a:cxn>
                <a:cxn ang="0">
                  <a:pos x="253" y="359"/>
                </a:cxn>
                <a:cxn ang="0">
                  <a:pos x="240" y="430"/>
                </a:cxn>
                <a:cxn ang="0">
                  <a:pos x="166" y="468"/>
                </a:cxn>
                <a:cxn ang="0">
                  <a:pos x="249" y="535"/>
                </a:cxn>
                <a:cxn ang="0">
                  <a:pos x="308" y="545"/>
                </a:cxn>
                <a:cxn ang="0">
                  <a:pos x="353" y="554"/>
                </a:cxn>
                <a:cxn ang="0">
                  <a:pos x="352" y="418"/>
                </a:cxn>
                <a:cxn ang="0">
                  <a:pos x="409" y="377"/>
                </a:cxn>
                <a:cxn ang="0">
                  <a:pos x="430" y="359"/>
                </a:cxn>
                <a:cxn ang="0">
                  <a:pos x="459" y="371"/>
                </a:cxn>
                <a:cxn ang="0">
                  <a:pos x="474" y="382"/>
                </a:cxn>
                <a:cxn ang="0">
                  <a:pos x="511" y="439"/>
                </a:cxn>
                <a:cxn ang="0">
                  <a:pos x="541" y="474"/>
                </a:cxn>
                <a:cxn ang="0">
                  <a:pos x="624" y="474"/>
                </a:cxn>
                <a:cxn ang="0">
                  <a:pos x="655" y="568"/>
                </a:cxn>
                <a:cxn ang="0">
                  <a:pos x="688" y="600"/>
                </a:cxn>
                <a:cxn ang="0">
                  <a:pos x="769" y="584"/>
                </a:cxn>
                <a:cxn ang="0">
                  <a:pos x="866" y="586"/>
                </a:cxn>
                <a:cxn ang="0">
                  <a:pos x="860" y="546"/>
                </a:cxn>
                <a:cxn ang="0">
                  <a:pos x="877" y="525"/>
                </a:cxn>
                <a:cxn ang="0">
                  <a:pos x="936" y="534"/>
                </a:cxn>
                <a:cxn ang="0">
                  <a:pos x="1018" y="514"/>
                </a:cxn>
                <a:cxn ang="0">
                  <a:pos x="1160" y="542"/>
                </a:cxn>
                <a:cxn ang="0">
                  <a:pos x="1160" y="457"/>
                </a:cxn>
                <a:cxn ang="0">
                  <a:pos x="1264" y="359"/>
                </a:cxn>
              </a:cxnLst>
              <a:rect l="0" t="0" r="r" b="b"/>
              <a:pathLst>
                <a:path w="1396" h="600">
                  <a:moveTo>
                    <a:pt x="1362" y="308"/>
                  </a:moveTo>
                  <a:lnTo>
                    <a:pt x="1396" y="296"/>
                  </a:lnTo>
                  <a:lnTo>
                    <a:pt x="1326" y="247"/>
                  </a:lnTo>
                  <a:lnTo>
                    <a:pt x="1281" y="267"/>
                  </a:lnTo>
                  <a:lnTo>
                    <a:pt x="1216" y="249"/>
                  </a:lnTo>
                  <a:lnTo>
                    <a:pt x="1187" y="234"/>
                  </a:lnTo>
                  <a:lnTo>
                    <a:pt x="1160" y="234"/>
                  </a:lnTo>
                  <a:lnTo>
                    <a:pt x="1143" y="205"/>
                  </a:lnTo>
                  <a:lnTo>
                    <a:pt x="1135" y="186"/>
                  </a:lnTo>
                  <a:lnTo>
                    <a:pt x="1110" y="186"/>
                  </a:lnTo>
                  <a:lnTo>
                    <a:pt x="1090" y="186"/>
                  </a:lnTo>
                  <a:lnTo>
                    <a:pt x="1069" y="194"/>
                  </a:lnTo>
                  <a:lnTo>
                    <a:pt x="1036" y="161"/>
                  </a:lnTo>
                  <a:lnTo>
                    <a:pt x="1021" y="166"/>
                  </a:lnTo>
                  <a:lnTo>
                    <a:pt x="1006" y="173"/>
                  </a:lnTo>
                  <a:lnTo>
                    <a:pt x="987" y="180"/>
                  </a:lnTo>
                  <a:lnTo>
                    <a:pt x="958" y="155"/>
                  </a:lnTo>
                  <a:lnTo>
                    <a:pt x="889" y="100"/>
                  </a:lnTo>
                  <a:lnTo>
                    <a:pt x="835" y="67"/>
                  </a:lnTo>
                  <a:lnTo>
                    <a:pt x="802" y="37"/>
                  </a:lnTo>
                  <a:lnTo>
                    <a:pt x="745" y="73"/>
                  </a:lnTo>
                  <a:lnTo>
                    <a:pt x="735" y="47"/>
                  </a:lnTo>
                  <a:lnTo>
                    <a:pt x="654" y="44"/>
                  </a:lnTo>
                  <a:lnTo>
                    <a:pt x="644" y="44"/>
                  </a:lnTo>
                  <a:lnTo>
                    <a:pt x="609" y="0"/>
                  </a:lnTo>
                  <a:lnTo>
                    <a:pt x="569" y="5"/>
                  </a:lnTo>
                  <a:lnTo>
                    <a:pt x="544" y="23"/>
                  </a:lnTo>
                  <a:lnTo>
                    <a:pt x="493" y="34"/>
                  </a:lnTo>
                  <a:lnTo>
                    <a:pt x="477" y="25"/>
                  </a:lnTo>
                  <a:lnTo>
                    <a:pt x="449" y="51"/>
                  </a:lnTo>
                  <a:lnTo>
                    <a:pt x="430" y="47"/>
                  </a:lnTo>
                  <a:lnTo>
                    <a:pt x="357" y="54"/>
                  </a:lnTo>
                  <a:lnTo>
                    <a:pt x="342" y="51"/>
                  </a:lnTo>
                  <a:lnTo>
                    <a:pt x="332" y="56"/>
                  </a:lnTo>
                  <a:lnTo>
                    <a:pt x="363" y="89"/>
                  </a:lnTo>
                  <a:lnTo>
                    <a:pt x="342" y="120"/>
                  </a:lnTo>
                  <a:lnTo>
                    <a:pt x="345" y="142"/>
                  </a:lnTo>
                  <a:lnTo>
                    <a:pt x="345" y="153"/>
                  </a:lnTo>
                  <a:lnTo>
                    <a:pt x="383" y="153"/>
                  </a:lnTo>
                  <a:lnTo>
                    <a:pt x="396" y="173"/>
                  </a:lnTo>
                  <a:lnTo>
                    <a:pt x="396" y="194"/>
                  </a:lnTo>
                  <a:lnTo>
                    <a:pt x="383" y="198"/>
                  </a:lnTo>
                  <a:lnTo>
                    <a:pt x="368" y="186"/>
                  </a:lnTo>
                  <a:lnTo>
                    <a:pt x="352" y="194"/>
                  </a:lnTo>
                  <a:lnTo>
                    <a:pt x="342" y="202"/>
                  </a:lnTo>
                  <a:lnTo>
                    <a:pt x="315" y="186"/>
                  </a:lnTo>
                  <a:lnTo>
                    <a:pt x="306" y="169"/>
                  </a:lnTo>
                  <a:lnTo>
                    <a:pt x="280" y="177"/>
                  </a:lnTo>
                  <a:lnTo>
                    <a:pt x="280" y="183"/>
                  </a:lnTo>
                  <a:lnTo>
                    <a:pt x="262" y="169"/>
                  </a:lnTo>
                  <a:lnTo>
                    <a:pt x="239" y="186"/>
                  </a:lnTo>
                  <a:lnTo>
                    <a:pt x="209" y="194"/>
                  </a:lnTo>
                  <a:lnTo>
                    <a:pt x="199" y="186"/>
                  </a:lnTo>
                  <a:lnTo>
                    <a:pt x="191" y="169"/>
                  </a:lnTo>
                  <a:lnTo>
                    <a:pt x="152" y="166"/>
                  </a:lnTo>
                  <a:lnTo>
                    <a:pt x="88" y="162"/>
                  </a:lnTo>
                  <a:lnTo>
                    <a:pt x="73" y="166"/>
                  </a:lnTo>
                  <a:lnTo>
                    <a:pt x="67" y="177"/>
                  </a:lnTo>
                  <a:lnTo>
                    <a:pt x="56" y="173"/>
                  </a:lnTo>
                  <a:lnTo>
                    <a:pt x="47" y="191"/>
                  </a:lnTo>
                  <a:lnTo>
                    <a:pt x="37" y="205"/>
                  </a:lnTo>
                  <a:lnTo>
                    <a:pt x="37" y="212"/>
                  </a:lnTo>
                  <a:lnTo>
                    <a:pt x="44" y="224"/>
                  </a:lnTo>
                  <a:lnTo>
                    <a:pt x="33" y="228"/>
                  </a:lnTo>
                  <a:lnTo>
                    <a:pt x="22" y="205"/>
                  </a:lnTo>
                  <a:lnTo>
                    <a:pt x="5" y="208"/>
                  </a:lnTo>
                  <a:lnTo>
                    <a:pt x="0" y="239"/>
                  </a:lnTo>
                  <a:lnTo>
                    <a:pt x="0" y="258"/>
                  </a:lnTo>
                  <a:lnTo>
                    <a:pt x="0" y="275"/>
                  </a:lnTo>
                  <a:lnTo>
                    <a:pt x="8" y="290"/>
                  </a:lnTo>
                  <a:lnTo>
                    <a:pt x="18" y="301"/>
                  </a:lnTo>
                  <a:lnTo>
                    <a:pt x="18" y="320"/>
                  </a:lnTo>
                  <a:lnTo>
                    <a:pt x="33" y="318"/>
                  </a:lnTo>
                  <a:lnTo>
                    <a:pt x="52" y="304"/>
                  </a:lnTo>
                  <a:lnTo>
                    <a:pt x="62" y="318"/>
                  </a:lnTo>
                  <a:lnTo>
                    <a:pt x="77" y="335"/>
                  </a:lnTo>
                  <a:lnTo>
                    <a:pt x="89" y="352"/>
                  </a:lnTo>
                  <a:lnTo>
                    <a:pt x="104" y="385"/>
                  </a:lnTo>
                  <a:lnTo>
                    <a:pt x="133" y="377"/>
                  </a:lnTo>
                  <a:lnTo>
                    <a:pt x="180" y="368"/>
                  </a:lnTo>
                  <a:lnTo>
                    <a:pt x="253" y="359"/>
                  </a:lnTo>
                  <a:lnTo>
                    <a:pt x="271" y="381"/>
                  </a:lnTo>
                  <a:lnTo>
                    <a:pt x="273" y="422"/>
                  </a:lnTo>
                  <a:lnTo>
                    <a:pt x="240" y="430"/>
                  </a:lnTo>
                  <a:lnTo>
                    <a:pt x="209" y="439"/>
                  </a:lnTo>
                  <a:lnTo>
                    <a:pt x="213" y="468"/>
                  </a:lnTo>
                  <a:lnTo>
                    <a:pt x="166" y="468"/>
                  </a:lnTo>
                  <a:lnTo>
                    <a:pt x="209" y="527"/>
                  </a:lnTo>
                  <a:lnTo>
                    <a:pt x="228" y="531"/>
                  </a:lnTo>
                  <a:lnTo>
                    <a:pt x="249" y="535"/>
                  </a:lnTo>
                  <a:lnTo>
                    <a:pt x="258" y="560"/>
                  </a:lnTo>
                  <a:lnTo>
                    <a:pt x="269" y="550"/>
                  </a:lnTo>
                  <a:lnTo>
                    <a:pt x="308" y="545"/>
                  </a:lnTo>
                  <a:lnTo>
                    <a:pt x="328" y="554"/>
                  </a:lnTo>
                  <a:lnTo>
                    <a:pt x="342" y="567"/>
                  </a:lnTo>
                  <a:lnTo>
                    <a:pt x="353" y="554"/>
                  </a:lnTo>
                  <a:lnTo>
                    <a:pt x="378" y="557"/>
                  </a:lnTo>
                  <a:lnTo>
                    <a:pt x="335" y="425"/>
                  </a:lnTo>
                  <a:lnTo>
                    <a:pt x="352" y="418"/>
                  </a:lnTo>
                  <a:lnTo>
                    <a:pt x="408" y="389"/>
                  </a:lnTo>
                  <a:lnTo>
                    <a:pt x="418" y="388"/>
                  </a:lnTo>
                  <a:lnTo>
                    <a:pt x="409" y="377"/>
                  </a:lnTo>
                  <a:lnTo>
                    <a:pt x="422" y="382"/>
                  </a:lnTo>
                  <a:lnTo>
                    <a:pt x="422" y="368"/>
                  </a:lnTo>
                  <a:lnTo>
                    <a:pt x="430" y="359"/>
                  </a:lnTo>
                  <a:lnTo>
                    <a:pt x="434" y="363"/>
                  </a:lnTo>
                  <a:lnTo>
                    <a:pt x="446" y="363"/>
                  </a:lnTo>
                  <a:lnTo>
                    <a:pt x="459" y="371"/>
                  </a:lnTo>
                  <a:lnTo>
                    <a:pt x="475" y="355"/>
                  </a:lnTo>
                  <a:lnTo>
                    <a:pt x="485" y="359"/>
                  </a:lnTo>
                  <a:lnTo>
                    <a:pt x="474" y="382"/>
                  </a:lnTo>
                  <a:lnTo>
                    <a:pt x="482" y="414"/>
                  </a:lnTo>
                  <a:lnTo>
                    <a:pt x="511" y="432"/>
                  </a:lnTo>
                  <a:lnTo>
                    <a:pt x="511" y="439"/>
                  </a:lnTo>
                  <a:lnTo>
                    <a:pt x="501" y="454"/>
                  </a:lnTo>
                  <a:lnTo>
                    <a:pt x="506" y="461"/>
                  </a:lnTo>
                  <a:lnTo>
                    <a:pt x="541" y="474"/>
                  </a:lnTo>
                  <a:lnTo>
                    <a:pt x="552" y="494"/>
                  </a:lnTo>
                  <a:lnTo>
                    <a:pt x="587" y="483"/>
                  </a:lnTo>
                  <a:lnTo>
                    <a:pt x="624" y="474"/>
                  </a:lnTo>
                  <a:lnTo>
                    <a:pt x="654" y="534"/>
                  </a:lnTo>
                  <a:lnTo>
                    <a:pt x="665" y="561"/>
                  </a:lnTo>
                  <a:lnTo>
                    <a:pt x="655" y="568"/>
                  </a:lnTo>
                  <a:lnTo>
                    <a:pt x="650" y="578"/>
                  </a:lnTo>
                  <a:lnTo>
                    <a:pt x="679" y="587"/>
                  </a:lnTo>
                  <a:lnTo>
                    <a:pt x="688" y="600"/>
                  </a:lnTo>
                  <a:lnTo>
                    <a:pt x="728" y="587"/>
                  </a:lnTo>
                  <a:lnTo>
                    <a:pt x="742" y="600"/>
                  </a:lnTo>
                  <a:lnTo>
                    <a:pt x="769" y="584"/>
                  </a:lnTo>
                  <a:lnTo>
                    <a:pt x="789" y="582"/>
                  </a:lnTo>
                  <a:lnTo>
                    <a:pt x="813" y="586"/>
                  </a:lnTo>
                  <a:lnTo>
                    <a:pt x="866" y="586"/>
                  </a:lnTo>
                  <a:lnTo>
                    <a:pt x="852" y="575"/>
                  </a:lnTo>
                  <a:lnTo>
                    <a:pt x="852" y="557"/>
                  </a:lnTo>
                  <a:lnTo>
                    <a:pt x="860" y="546"/>
                  </a:lnTo>
                  <a:lnTo>
                    <a:pt x="860" y="536"/>
                  </a:lnTo>
                  <a:lnTo>
                    <a:pt x="844" y="528"/>
                  </a:lnTo>
                  <a:lnTo>
                    <a:pt x="877" y="525"/>
                  </a:lnTo>
                  <a:lnTo>
                    <a:pt x="906" y="528"/>
                  </a:lnTo>
                  <a:lnTo>
                    <a:pt x="912" y="536"/>
                  </a:lnTo>
                  <a:lnTo>
                    <a:pt x="936" y="534"/>
                  </a:lnTo>
                  <a:lnTo>
                    <a:pt x="919" y="507"/>
                  </a:lnTo>
                  <a:lnTo>
                    <a:pt x="937" y="503"/>
                  </a:lnTo>
                  <a:lnTo>
                    <a:pt x="1018" y="514"/>
                  </a:lnTo>
                  <a:lnTo>
                    <a:pt x="1086" y="520"/>
                  </a:lnTo>
                  <a:lnTo>
                    <a:pt x="1135" y="542"/>
                  </a:lnTo>
                  <a:lnTo>
                    <a:pt x="1160" y="542"/>
                  </a:lnTo>
                  <a:lnTo>
                    <a:pt x="1168" y="567"/>
                  </a:lnTo>
                  <a:lnTo>
                    <a:pt x="1187" y="514"/>
                  </a:lnTo>
                  <a:lnTo>
                    <a:pt x="1160" y="457"/>
                  </a:lnTo>
                  <a:lnTo>
                    <a:pt x="1242" y="437"/>
                  </a:lnTo>
                  <a:lnTo>
                    <a:pt x="1252" y="406"/>
                  </a:lnTo>
                  <a:lnTo>
                    <a:pt x="1264" y="359"/>
                  </a:lnTo>
                  <a:lnTo>
                    <a:pt x="1349" y="363"/>
                  </a:lnTo>
                  <a:lnTo>
                    <a:pt x="1362" y="308"/>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41" name="30646299.625478.3752134.255">
              <a:extLst>
                <a:ext uri="{FF2B5EF4-FFF2-40B4-BE49-F238E27FC236}">
                  <a16:creationId xmlns:a16="http://schemas.microsoft.com/office/drawing/2014/main" id="{1564E5FA-9D85-4D91-BA5D-77F2E6782570}"/>
                </a:ext>
              </a:extLst>
            </p:cNvPr>
            <p:cNvSpPr>
              <a:spLocks noChangeAspect="1"/>
            </p:cNvSpPr>
            <p:nvPr/>
          </p:nvSpPr>
          <p:spPr bwMode="gray">
            <a:xfrm>
              <a:off x="7341662" y="3151926"/>
              <a:ext cx="547777" cy="338079"/>
            </a:xfrm>
            <a:custGeom>
              <a:avLst/>
              <a:gdLst/>
              <a:ahLst/>
              <a:cxnLst>
                <a:cxn ang="0">
                  <a:pos x="58" y="166"/>
                </a:cxn>
                <a:cxn ang="0">
                  <a:pos x="69" y="139"/>
                </a:cxn>
                <a:cxn ang="0">
                  <a:pos x="83" y="126"/>
                </a:cxn>
                <a:cxn ang="0">
                  <a:pos x="109" y="132"/>
                </a:cxn>
                <a:cxn ang="0">
                  <a:pos x="139" y="140"/>
                </a:cxn>
                <a:cxn ang="0">
                  <a:pos x="147" y="148"/>
                </a:cxn>
                <a:cxn ang="0">
                  <a:pos x="166" y="166"/>
                </a:cxn>
                <a:cxn ang="0">
                  <a:pos x="180" y="209"/>
                </a:cxn>
                <a:cxn ang="0">
                  <a:pos x="204" y="205"/>
                </a:cxn>
                <a:cxn ang="0">
                  <a:pos x="237" y="209"/>
                </a:cxn>
                <a:cxn ang="0">
                  <a:pos x="285" y="258"/>
                </a:cxn>
                <a:cxn ang="0">
                  <a:pos x="337" y="289"/>
                </a:cxn>
                <a:cxn ang="0">
                  <a:pos x="385" y="319"/>
                </a:cxn>
                <a:cxn ang="0">
                  <a:pos x="404" y="371"/>
                </a:cxn>
                <a:cxn ang="0">
                  <a:pos x="436" y="330"/>
                </a:cxn>
                <a:cxn ang="0">
                  <a:pos x="439" y="291"/>
                </a:cxn>
                <a:cxn ang="0">
                  <a:pos x="421" y="236"/>
                </a:cxn>
                <a:cxn ang="0">
                  <a:pos x="461" y="224"/>
                </a:cxn>
                <a:cxn ang="0">
                  <a:pos x="513" y="235"/>
                </a:cxn>
                <a:cxn ang="0">
                  <a:pos x="595" y="229"/>
                </a:cxn>
                <a:cxn ang="0">
                  <a:pos x="595" y="196"/>
                </a:cxn>
                <a:cxn ang="0">
                  <a:pos x="496" y="196"/>
                </a:cxn>
                <a:cxn ang="0">
                  <a:pos x="447" y="192"/>
                </a:cxn>
                <a:cxn ang="0">
                  <a:pos x="403" y="209"/>
                </a:cxn>
                <a:cxn ang="0">
                  <a:pos x="373" y="205"/>
                </a:cxn>
                <a:cxn ang="0">
                  <a:pos x="349" y="207"/>
                </a:cxn>
                <a:cxn ang="0">
                  <a:pos x="320" y="192"/>
                </a:cxn>
                <a:cxn ang="0">
                  <a:pos x="319" y="180"/>
                </a:cxn>
                <a:cxn ang="0">
                  <a:pos x="315" y="137"/>
                </a:cxn>
                <a:cxn ang="0">
                  <a:pos x="219" y="103"/>
                </a:cxn>
                <a:cxn ang="0">
                  <a:pos x="171" y="73"/>
                </a:cxn>
                <a:cxn ang="0">
                  <a:pos x="110" y="88"/>
                </a:cxn>
                <a:cxn ang="0">
                  <a:pos x="72" y="38"/>
                </a:cxn>
                <a:cxn ang="0">
                  <a:pos x="73" y="0"/>
                </a:cxn>
                <a:cxn ang="0">
                  <a:pos x="43" y="169"/>
                </a:cxn>
              </a:cxnLst>
              <a:rect l="0" t="0" r="r" b="b"/>
              <a:pathLst>
                <a:path w="609" h="371">
                  <a:moveTo>
                    <a:pt x="43" y="169"/>
                  </a:moveTo>
                  <a:lnTo>
                    <a:pt x="58" y="166"/>
                  </a:lnTo>
                  <a:lnTo>
                    <a:pt x="63" y="151"/>
                  </a:lnTo>
                  <a:lnTo>
                    <a:pt x="69" y="139"/>
                  </a:lnTo>
                  <a:lnTo>
                    <a:pt x="87" y="146"/>
                  </a:lnTo>
                  <a:lnTo>
                    <a:pt x="83" y="126"/>
                  </a:lnTo>
                  <a:lnTo>
                    <a:pt x="99" y="119"/>
                  </a:lnTo>
                  <a:lnTo>
                    <a:pt x="109" y="132"/>
                  </a:lnTo>
                  <a:lnTo>
                    <a:pt x="124" y="132"/>
                  </a:lnTo>
                  <a:lnTo>
                    <a:pt x="139" y="140"/>
                  </a:lnTo>
                  <a:lnTo>
                    <a:pt x="147" y="146"/>
                  </a:lnTo>
                  <a:lnTo>
                    <a:pt x="147" y="148"/>
                  </a:lnTo>
                  <a:lnTo>
                    <a:pt x="149" y="161"/>
                  </a:lnTo>
                  <a:lnTo>
                    <a:pt x="166" y="166"/>
                  </a:lnTo>
                  <a:lnTo>
                    <a:pt x="166" y="183"/>
                  </a:lnTo>
                  <a:lnTo>
                    <a:pt x="180" y="209"/>
                  </a:lnTo>
                  <a:lnTo>
                    <a:pt x="197" y="212"/>
                  </a:lnTo>
                  <a:lnTo>
                    <a:pt x="204" y="205"/>
                  </a:lnTo>
                  <a:lnTo>
                    <a:pt x="221" y="195"/>
                  </a:lnTo>
                  <a:lnTo>
                    <a:pt x="237" y="209"/>
                  </a:lnTo>
                  <a:lnTo>
                    <a:pt x="256" y="229"/>
                  </a:lnTo>
                  <a:lnTo>
                    <a:pt x="285" y="258"/>
                  </a:lnTo>
                  <a:lnTo>
                    <a:pt x="335" y="271"/>
                  </a:lnTo>
                  <a:lnTo>
                    <a:pt x="337" y="289"/>
                  </a:lnTo>
                  <a:lnTo>
                    <a:pt x="370" y="301"/>
                  </a:lnTo>
                  <a:lnTo>
                    <a:pt x="385" y="319"/>
                  </a:lnTo>
                  <a:lnTo>
                    <a:pt x="374" y="370"/>
                  </a:lnTo>
                  <a:lnTo>
                    <a:pt x="404" y="371"/>
                  </a:lnTo>
                  <a:lnTo>
                    <a:pt x="423" y="345"/>
                  </a:lnTo>
                  <a:lnTo>
                    <a:pt x="436" y="330"/>
                  </a:lnTo>
                  <a:lnTo>
                    <a:pt x="444" y="316"/>
                  </a:lnTo>
                  <a:lnTo>
                    <a:pt x="439" y="291"/>
                  </a:lnTo>
                  <a:lnTo>
                    <a:pt x="415" y="282"/>
                  </a:lnTo>
                  <a:lnTo>
                    <a:pt x="421" y="236"/>
                  </a:lnTo>
                  <a:lnTo>
                    <a:pt x="443" y="218"/>
                  </a:lnTo>
                  <a:lnTo>
                    <a:pt x="461" y="224"/>
                  </a:lnTo>
                  <a:lnTo>
                    <a:pt x="506" y="216"/>
                  </a:lnTo>
                  <a:lnTo>
                    <a:pt x="513" y="235"/>
                  </a:lnTo>
                  <a:lnTo>
                    <a:pt x="539" y="234"/>
                  </a:lnTo>
                  <a:lnTo>
                    <a:pt x="595" y="229"/>
                  </a:lnTo>
                  <a:lnTo>
                    <a:pt x="609" y="209"/>
                  </a:lnTo>
                  <a:lnTo>
                    <a:pt x="595" y="196"/>
                  </a:lnTo>
                  <a:lnTo>
                    <a:pt x="560" y="196"/>
                  </a:lnTo>
                  <a:lnTo>
                    <a:pt x="496" y="196"/>
                  </a:lnTo>
                  <a:lnTo>
                    <a:pt x="472" y="196"/>
                  </a:lnTo>
                  <a:lnTo>
                    <a:pt x="447" y="192"/>
                  </a:lnTo>
                  <a:lnTo>
                    <a:pt x="407" y="212"/>
                  </a:lnTo>
                  <a:lnTo>
                    <a:pt x="403" y="209"/>
                  </a:lnTo>
                  <a:lnTo>
                    <a:pt x="393" y="199"/>
                  </a:lnTo>
                  <a:lnTo>
                    <a:pt x="373" y="205"/>
                  </a:lnTo>
                  <a:lnTo>
                    <a:pt x="353" y="212"/>
                  </a:lnTo>
                  <a:lnTo>
                    <a:pt x="349" y="207"/>
                  </a:lnTo>
                  <a:lnTo>
                    <a:pt x="345" y="199"/>
                  </a:lnTo>
                  <a:lnTo>
                    <a:pt x="320" y="192"/>
                  </a:lnTo>
                  <a:lnTo>
                    <a:pt x="315" y="190"/>
                  </a:lnTo>
                  <a:lnTo>
                    <a:pt x="319" y="180"/>
                  </a:lnTo>
                  <a:lnTo>
                    <a:pt x="331" y="173"/>
                  </a:lnTo>
                  <a:lnTo>
                    <a:pt x="315" y="137"/>
                  </a:lnTo>
                  <a:lnTo>
                    <a:pt x="289" y="86"/>
                  </a:lnTo>
                  <a:lnTo>
                    <a:pt x="219" y="103"/>
                  </a:lnTo>
                  <a:lnTo>
                    <a:pt x="204" y="86"/>
                  </a:lnTo>
                  <a:lnTo>
                    <a:pt x="171" y="73"/>
                  </a:lnTo>
                  <a:lnTo>
                    <a:pt x="140" y="93"/>
                  </a:lnTo>
                  <a:lnTo>
                    <a:pt x="110" y="88"/>
                  </a:lnTo>
                  <a:lnTo>
                    <a:pt x="77" y="66"/>
                  </a:lnTo>
                  <a:lnTo>
                    <a:pt x="72" y="38"/>
                  </a:lnTo>
                  <a:lnTo>
                    <a:pt x="74" y="19"/>
                  </a:lnTo>
                  <a:lnTo>
                    <a:pt x="73" y="0"/>
                  </a:lnTo>
                  <a:lnTo>
                    <a:pt x="0" y="38"/>
                  </a:lnTo>
                  <a:lnTo>
                    <a:pt x="43" y="16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42" name="30647306.375473.7518.37526.3755">
              <a:extLst>
                <a:ext uri="{FF2B5EF4-FFF2-40B4-BE49-F238E27FC236}">
                  <a16:creationId xmlns:a16="http://schemas.microsoft.com/office/drawing/2014/main" id="{21CE1A50-76D7-4B8B-A179-A4BC73417494}"/>
                </a:ext>
              </a:extLst>
            </p:cNvPr>
            <p:cNvSpPr>
              <a:spLocks noChangeAspect="1"/>
            </p:cNvSpPr>
            <p:nvPr/>
          </p:nvSpPr>
          <p:spPr bwMode="gray">
            <a:xfrm>
              <a:off x="7269386" y="3261253"/>
              <a:ext cx="420344" cy="297714"/>
            </a:xfrm>
            <a:custGeom>
              <a:avLst/>
              <a:gdLst/>
              <a:ahLst/>
              <a:cxnLst>
                <a:cxn ang="0">
                  <a:pos x="0" y="47"/>
                </a:cxn>
                <a:cxn ang="0">
                  <a:pos x="3" y="90"/>
                </a:cxn>
                <a:cxn ang="0">
                  <a:pos x="29" y="64"/>
                </a:cxn>
                <a:cxn ang="0">
                  <a:pos x="64" y="97"/>
                </a:cxn>
                <a:cxn ang="0">
                  <a:pos x="49" y="117"/>
                </a:cxn>
                <a:cxn ang="0">
                  <a:pos x="6" y="98"/>
                </a:cxn>
                <a:cxn ang="0">
                  <a:pos x="2" y="127"/>
                </a:cxn>
                <a:cxn ang="0">
                  <a:pos x="6" y="143"/>
                </a:cxn>
                <a:cxn ang="0">
                  <a:pos x="29" y="148"/>
                </a:cxn>
                <a:cxn ang="0">
                  <a:pos x="18" y="165"/>
                </a:cxn>
                <a:cxn ang="0">
                  <a:pos x="39" y="179"/>
                </a:cxn>
                <a:cxn ang="0">
                  <a:pos x="39" y="237"/>
                </a:cxn>
                <a:cxn ang="0">
                  <a:pos x="102" y="220"/>
                </a:cxn>
                <a:cxn ang="0">
                  <a:pos x="138" y="203"/>
                </a:cxn>
                <a:cxn ang="0">
                  <a:pos x="220" y="241"/>
                </a:cxn>
                <a:cxn ang="0">
                  <a:pos x="271" y="265"/>
                </a:cxn>
                <a:cxn ang="0">
                  <a:pos x="282" y="276"/>
                </a:cxn>
                <a:cxn ang="0">
                  <a:pos x="288" y="304"/>
                </a:cxn>
                <a:cxn ang="0">
                  <a:pos x="336" y="325"/>
                </a:cxn>
                <a:cxn ang="0">
                  <a:pos x="407" y="248"/>
                </a:cxn>
                <a:cxn ang="0">
                  <a:pos x="454" y="248"/>
                </a:cxn>
                <a:cxn ang="0">
                  <a:pos x="461" y="215"/>
                </a:cxn>
                <a:cxn ang="0">
                  <a:pos x="466" y="201"/>
                </a:cxn>
                <a:cxn ang="0">
                  <a:pos x="451" y="181"/>
                </a:cxn>
                <a:cxn ang="0">
                  <a:pos x="417" y="168"/>
                </a:cxn>
                <a:cxn ang="0">
                  <a:pos x="414" y="152"/>
                </a:cxn>
                <a:cxn ang="0">
                  <a:pos x="365" y="139"/>
                </a:cxn>
                <a:cxn ang="0">
                  <a:pos x="336" y="110"/>
                </a:cxn>
                <a:cxn ang="0">
                  <a:pos x="325" y="93"/>
                </a:cxn>
                <a:cxn ang="0">
                  <a:pos x="301" y="75"/>
                </a:cxn>
                <a:cxn ang="0">
                  <a:pos x="286" y="84"/>
                </a:cxn>
                <a:cxn ang="0">
                  <a:pos x="277" y="93"/>
                </a:cxn>
                <a:cxn ang="0">
                  <a:pos x="260" y="90"/>
                </a:cxn>
                <a:cxn ang="0">
                  <a:pos x="246" y="64"/>
                </a:cxn>
                <a:cxn ang="0">
                  <a:pos x="245" y="47"/>
                </a:cxn>
                <a:cxn ang="0">
                  <a:pos x="229" y="42"/>
                </a:cxn>
                <a:cxn ang="0">
                  <a:pos x="224" y="27"/>
                </a:cxn>
                <a:cxn ang="0">
                  <a:pos x="204" y="13"/>
                </a:cxn>
                <a:cxn ang="0">
                  <a:pos x="189" y="13"/>
                </a:cxn>
                <a:cxn ang="0">
                  <a:pos x="179" y="0"/>
                </a:cxn>
                <a:cxn ang="0">
                  <a:pos x="163" y="7"/>
                </a:cxn>
                <a:cxn ang="0">
                  <a:pos x="168" y="27"/>
                </a:cxn>
                <a:cxn ang="0">
                  <a:pos x="160" y="22"/>
                </a:cxn>
                <a:cxn ang="0">
                  <a:pos x="149" y="20"/>
                </a:cxn>
                <a:cxn ang="0">
                  <a:pos x="138" y="47"/>
                </a:cxn>
                <a:cxn ang="0">
                  <a:pos x="120" y="50"/>
                </a:cxn>
                <a:cxn ang="0">
                  <a:pos x="102" y="46"/>
                </a:cxn>
                <a:cxn ang="0">
                  <a:pos x="87" y="60"/>
                </a:cxn>
                <a:cxn ang="0">
                  <a:pos x="73" y="47"/>
                </a:cxn>
                <a:cxn ang="0">
                  <a:pos x="51" y="35"/>
                </a:cxn>
                <a:cxn ang="0">
                  <a:pos x="0" y="47"/>
                </a:cxn>
              </a:cxnLst>
              <a:rect l="0" t="0" r="r" b="b"/>
              <a:pathLst>
                <a:path w="466" h="325">
                  <a:moveTo>
                    <a:pt x="0" y="47"/>
                  </a:moveTo>
                  <a:lnTo>
                    <a:pt x="3" y="90"/>
                  </a:lnTo>
                  <a:lnTo>
                    <a:pt x="29" y="64"/>
                  </a:lnTo>
                  <a:lnTo>
                    <a:pt x="64" y="97"/>
                  </a:lnTo>
                  <a:lnTo>
                    <a:pt x="49" y="117"/>
                  </a:lnTo>
                  <a:lnTo>
                    <a:pt x="6" y="98"/>
                  </a:lnTo>
                  <a:lnTo>
                    <a:pt x="2" y="127"/>
                  </a:lnTo>
                  <a:lnTo>
                    <a:pt x="6" y="143"/>
                  </a:lnTo>
                  <a:lnTo>
                    <a:pt x="29" y="148"/>
                  </a:lnTo>
                  <a:lnTo>
                    <a:pt x="18" y="165"/>
                  </a:lnTo>
                  <a:lnTo>
                    <a:pt x="39" y="179"/>
                  </a:lnTo>
                  <a:lnTo>
                    <a:pt x="39" y="237"/>
                  </a:lnTo>
                  <a:lnTo>
                    <a:pt x="102" y="220"/>
                  </a:lnTo>
                  <a:lnTo>
                    <a:pt x="138" y="203"/>
                  </a:lnTo>
                  <a:lnTo>
                    <a:pt x="220" y="241"/>
                  </a:lnTo>
                  <a:lnTo>
                    <a:pt x="271" y="265"/>
                  </a:lnTo>
                  <a:lnTo>
                    <a:pt x="282" y="276"/>
                  </a:lnTo>
                  <a:lnTo>
                    <a:pt x="288" y="304"/>
                  </a:lnTo>
                  <a:lnTo>
                    <a:pt x="336" y="325"/>
                  </a:lnTo>
                  <a:lnTo>
                    <a:pt x="407" y="248"/>
                  </a:lnTo>
                  <a:lnTo>
                    <a:pt x="454" y="248"/>
                  </a:lnTo>
                  <a:lnTo>
                    <a:pt x="461" y="215"/>
                  </a:lnTo>
                  <a:lnTo>
                    <a:pt x="466" y="201"/>
                  </a:lnTo>
                  <a:lnTo>
                    <a:pt x="451" y="181"/>
                  </a:lnTo>
                  <a:lnTo>
                    <a:pt x="417" y="168"/>
                  </a:lnTo>
                  <a:lnTo>
                    <a:pt x="414" y="152"/>
                  </a:lnTo>
                  <a:lnTo>
                    <a:pt x="365" y="139"/>
                  </a:lnTo>
                  <a:lnTo>
                    <a:pt x="336" y="110"/>
                  </a:lnTo>
                  <a:lnTo>
                    <a:pt x="325" y="93"/>
                  </a:lnTo>
                  <a:lnTo>
                    <a:pt x="301" y="75"/>
                  </a:lnTo>
                  <a:lnTo>
                    <a:pt x="286" y="84"/>
                  </a:lnTo>
                  <a:lnTo>
                    <a:pt x="277" y="93"/>
                  </a:lnTo>
                  <a:lnTo>
                    <a:pt x="260" y="90"/>
                  </a:lnTo>
                  <a:lnTo>
                    <a:pt x="246" y="64"/>
                  </a:lnTo>
                  <a:lnTo>
                    <a:pt x="245" y="47"/>
                  </a:lnTo>
                  <a:lnTo>
                    <a:pt x="229" y="42"/>
                  </a:lnTo>
                  <a:lnTo>
                    <a:pt x="224" y="27"/>
                  </a:lnTo>
                  <a:lnTo>
                    <a:pt x="204" y="13"/>
                  </a:lnTo>
                  <a:lnTo>
                    <a:pt x="189" y="13"/>
                  </a:lnTo>
                  <a:lnTo>
                    <a:pt x="179" y="0"/>
                  </a:lnTo>
                  <a:lnTo>
                    <a:pt x="163" y="7"/>
                  </a:lnTo>
                  <a:lnTo>
                    <a:pt x="168" y="27"/>
                  </a:lnTo>
                  <a:lnTo>
                    <a:pt x="160" y="22"/>
                  </a:lnTo>
                  <a:lnTo>
                    <a:pt x="149" y="20"/>
                  </a:lnTo>
                  <a:lnTo>
                    <a:pt x="138" y="47"/>
                  </a:lnTo>
                  <a:lnTo>
                    <a:pt x="120" y="50"/>
                  </a:lnTo>
                  <a:lnTo>
                    <a:pt x="102" y="46"/>
                  </a:lnTo>
                  <a:lnTo>
                    <a:pt x="87" y="60"/>
                  </a:lnTo>
                  <a:lnTo>
                    <a:pt x="73" y="47"/>
                  </a:lnTo>
                  <a:lnTo>
                    <a:pt x="51" y="35"/>
                  </a:lnTo>
                  <a:lnTo>
                    <a:pt x="0" y="47"/>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43" name="30648306.125503.259.375225">
              <a:extLst>
                <a:ext uri="{FF2B5EF4-FFF2-40B4-BE49-F238E27FC236}">
                  <a16:creationId xmlns:a16="http://schemas.microsoft.com/office/drawing/2014/main" id="{A0865A7E-2CFE-4752-9CBF-D70AD8AA1656}"/>
                </a:ext>
              </a:extLst>
            </p:cNvPr>
            <p:cNvSpPr>
              <a:spLocks noChangeAspect="1"/>
            </p:cNvSpPr>
            <p:nvPr/>
          </p:nvSpPr>
          <p:spPr bwMode="gray">
            <a:xfrm>
              <a:off x="7741081" y="3256208"/>
              <a:ext cx="351869" cy="151380"/>
            </a:xfrm>
            <a:custGeom>
              <a:avLst/>
              <a:gdLst/>
              <a:ahLst/>
              <a:cxnLst>
                <a:cxn ang="0">
                  <a:pos x="99" y="119"/>
                </a:cxn>
                <a:cxn ang="0">
                  <a:pos x="70" y="119"/>
                </a:cxn>
                <a:cxn ang="0">
                  <a:pos x="13" y="125"/>
                </a:cxn>
                <a:cxn ang="0">
                  <a:pos x="0" y="143"/>
                </a:cxn>
                <a:cxn ang="0">
                  <a:pos x="13" y="152"/>
                </a:cxn>
                <a:cxn ang="0">
                  <a:pos x="26" y="157"/>
                </a:cxn>
                <a:cxn ang="0">
                  <a:pos x="104" y="156"/>
                </a:cxn>
                <a:cxn ang="0">
                  <a:pos x="156" y="156"/>
                </a:cxn>
                <a:cxn ang="0">
                  <a:pos x="180" y="167"/>
                </a:cxn>
                <a:cxn ang="0">
                  <a:pos x="188" y="146"/>
                </a:cxn>
                <a:cxn ang="0">
                  <a:pos x="210" y="143"/>
                </a:cxn>
                <a:cxn ang="0">
                  <a:pos x="242" y="136"/>
                </a:cxn>
                <a:cxn ang="0">
                  <a:pos x="269" y="131"/>
                </a:cxn>
                <a:cxn ang="0">
                  <a:pos x="319" y="103"/>
                </a:cxn>
                <a:cxn ang="0">
                  <a:pos x="371" y="77"/>
                </a:cxn>
                <a:cxn ang="0">
                  <a:pos x="389" y="64"/>
                </a:cxn>
                <a:cxn ang="0">
                  <a:pos x="382" y="39"/>
                </a:cxn>
                <a:cxn ang="0">
                  <a:pos x="357" y="39"/>
                </a:cxn>
                <a:cxn ang="0">
                  <a:pos x="332" y="26"/>
                </a:cxn>
                <a:cxn ang="0">
                  <a:pos x="306" y="17"/>
                </a:cxn>
                <a:cxn ang="0">
                  <a:pos x="240" y="11"/>
                </a:cxn>
                <a:cxn ang="0">
                  <a:pos x="159" y="0"/>
                </a:cxn>
                <a:cxn ang="0">
                  <a:pos x="143" y="4"/>
                </a:cxn>
                <a:cxn ang="0">
                  <a:pos x="148" y="17"/>
                </a:cxn>
                <a:cxn ang="0">
                  <a:pos x="158" y="31"/>
                </a:cxn>
                <a:cxn ang="0">
                  <a:pos x="134" y="33"/>
                </a:cxn>
                <a:cxn ang="0">
                  <a:pos x="128" y="25"/>
                </a:cxn>
                <a:cxn ang="0">
                  <a:pos x="101" y="22"/>
                </a:cxn>
                <a:cxn ang="0">
                  <a:pos x="66" y="25"/>
                </a:cxn>
                <a:cxn ang="0">
                  <a:pos x="82" y="33"/>
                </a:cxn>
                <a:cxn ang="0">
                  <a:pos x="85" y="43"/>
                </a:cxn>
                <a:cxn ang="0">
                  <a:pos x="74" y="54"/>
                </a:cxn>
                <a:cxn ang="0">
                  <a:pos x="74" y="72"/>
                </a:cxn>
                <a:cxn ang="0">
                  <a:pos x="88" y="83"/>
                </a:cxn>
                <a:cxn ang="0">
                  <a:pos x="134" y="83"/>
                </a:cxn>
                <a:cxn ang="0">
                  <a:pos x="151" y="81"/>
                </a:cxn>
                <a:cxn ang="0">
                  <a:pos x="166" y="97"/>
                </a:cxn>
                <a:cxn ang="0">
                  <a:pos x="149" y="116"/>
                </a:cxn>
                <a:cxn ang="0">
                  <a:pos x="133" y="116"/>
                </a:cxn>
                <a:cxn ang="0">
                  <a:pos x="117" y="114"/>
                </a:cxn>
                <a:cxn ang="0">
                  <a:pos x="108" y="116"/>
                </a:cxn>
                <a:cxn ang="0">
                  <a:pos x="99" y="119"/>
                </a:cxn>
              </a:cxnLst>
              <a:rect l="0" t="0" r="r" b="b"/>
              <a:pathLst>
                <a:path w="389" h="167">
                  <a:moveTo>
                    <a:pt x="99" y="119"/>
                  </a:moveTo>
                  <a:lnTo>
                    <a:pt x="70" y="119"/>
                  </a:lnTo>
                  <a:lnTo>
                    <a:pt x="13" y="125"/>
                  </a:lnTo>
                  <a:lnTo>
                    <a:pt x="0" y="143"/>
                  </a:lnTo>
                  <a:lnTo>
                    <a:pt x="13" y="152"/>
                  </a:lnTo>
                  <a:lnTo>
                    <a:pt x="26" y="157"/>
                  </a:lnTo>
                  <a:lnTo>
                    <a:pt x="104" y="156"/>
                  </a:lnTo>
                  <a:lnTo>
                    <a:pt x="156" y="156"/>
                  </a:lnTo>
                  <a:lnTo>
                    <a:pt x="180" y="167"/>
                  </a:lnTo>
                  <a:lnTo>
                    <a:pt x="188" y="146"/>
                  </a:lnTo>
                  <a:lnTo>
                    <a:pt x="210" y="143"/>
                  </a:lnTo>
                  <a:lnTo>
                    <a:pt x="242" y="136"/>
                  </a:lnTo>
                  <a:lnTo>
                    <a:pt x="269" y="131"/>
                  </a:lnTo>
                  <a:lnTo>
                    <a:pt x="319" y="103"/>
                  </a:lnTo>
                  <a:lnTo>
                    <a:pt x="371" y="77"/>
                  </a:lnTo>
                  <a:lnTo>
                    <a:pt x="389" y="64"/>
                  </a:lnTo>
                  <a:lnTo>
                    <a:pt x="382" y="39"/>
                  </a:lnTo>
                  <a:lnTo>
                    <a:pt x="357" y="39"/>
                  </a:lnTo>
                  <a:lnTo>
                    <a:pt x="332" y="26"/>
                  </a:lnTo>
                  <a:lnTo>
                    <a:pt x="306" y="17"/>
                  </a:lnTo>
                  <a:lnTo>
                    <a:pt x="240" y="11"/>
                  </a:lnTo>
                  <a:lnTo>
                    <a:pt x="159" y="0"/>
                  </a:lnTo>
                  <a:lnTo>
                    <a:pt x="143" y="4"/>
                  </a:lnTo>
                  <a:lnTo>
                    <a:pt x="148" y="17"/>
                  </a:lnTo>
                  <a:lnTo>
                    <a:pt x="158" y="31"/>
                  </a:lnTo>
                  <a:lnTo>
                    <a:pt x="134" y="33"/>
                  </a:lnTo>
                  <a:lnTo>
                    <a:pt x="128" y="25"/>
                  </a:lnTo>
                  <a:lnTo>
                    <a:pt x="101" y="22"/>
                  </a:lnTo>
                  <a:lnTo>
                    <a:pt x="66" y="25"/>
                  </a:lnTo>
                  <a:lnTo>
                    <a:pt x="82" y="33"/>
                  </a:lnTo>
                  <a:lnTo>
                    <a:pt x="85" y="43"/>
                  </a:lnTo>
                  <a:lnTo>
                    <a:pt x="74" y="54"/>
                  </a:lnTo>
                  <a:lnTo>
                    <a:pt x="74" y="72"/>
                  </a:lnTo>
                  <a:lnTo>
                    <a:pt x="88" y="83"/>
                  </a:lnTo>
                  <a:lnTo>
                    <a:pt x="134" y="83"/>
                  </a:lnTo>
                  <a:lnTo>
                    <a:pt x="151" y="81"/>
                  </a:lnTo>
                  <a:lnTo>
                    <a:pt x="166" y="97"/>
                  </a:lnTo>
                  <a:lnTo>
                    <a:pt x="149" y="116"/>
                  </a:lnTo>
                  <a:lnTo>
                    <a:pt x="133" y="116"/>
                  </a:lnTo>
                  <a:lnTo>
                    <a:pt x="117" y="114"/>
                  </a:lnTo>
                  <a:lnTo>
                    <a:pt x="108" y="116"/>
                  </a:lnTo>
                  <a:lnTo>
                    <a:pt x="99" y="11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44" name="30649311.875501.259.625145">
              <a:extLst>
                <a:ext uri="{FF2B5EF4-FFF2-40B4-BE49-F238E27FC236}">
                  <a16:creationId xmlns:a16="http://schemas.microsoft.com/office/drawing/2014/main" id="{143A2C97-C30D-4128-83FC-953A63C96999}"/>
                </a:ext>
              </a:extLst>
            </p:cNvPr>
            <p:cNvSpPr>
              <a:spLocks noChangeAspect="1"/>
            </p:cNvSpPr>
            <p:nvPr/>
          </p:nvSpPr>
          <p:spPr bwMode="gray">
            <a:xfrm>
              <a:off x="7708747" y="3350401"/>
              <a:ext cx="224436" cy="154745"/>
            </a:xfrm>
            <a:custGeom>
              <a:avLst/>
              <a:gdLst/>
              <a:ahLst/>
              <a:cxnLst>
                <a:cxn ang="0">
                  <a:pos x="0" y="146"/>
                </a:cxn>
                <a:cxn ang="0">
                  <a:pos x="3" y="152"/>
                </a:cxn>
                <a:cxn ang="0">
                  <a:pos x="21" y="155"/>
                </a:cxn>
                <a:cxn ang="0">
                  <a:pos x="65" y="157"/>
                </a:cxn>
                <a:cxn ang="0">
                  <a:pos x="117" y="103"/>
                </a:cxn>
                <a:cxn ang="0">
                  <a:pos x="129" y="137"/>
                </a:cxn>
                <a:cxn ang="0">
                  <a:pos x="144" y="172"/>
                </a:cxn>
                <a:cxn ang="0">
                  <a:pos x="176" y="158"/>
                </a:cxn>
                <a:cxn ang="0">
                  <a:pos x="210" y="144"/>
                </a:cxn>
                <a:cxn ang="0">
                  <a:pos x="245" y="155"/>
                </a:cxn>
                <a:cxn ang="0">
                  <a:pos x="247" y="104"/>
                </a:cxn>
                <a:cxn ang="0">
                  <a:pos x="223" y="95"/>
                </a:cxn>
                <a:cxn ang="0">
                  <a:pos x="209" y="96"/>
                </a:cxn>
                <a:cxn ang="0">
                  <a:pos x="218" y="64"/>
                </a:cxn>
                <a:cxn ang="0">
                  <a:pos x="190" y="57"/>
                </a:cxn>
                <a:cxn ang="0">
                  <a:pos x="165" y="55"/>
                </a:cxn>
                <a:cxn ang="0">
                  <a:pos x="131" y="55"/>
                </a:cxn>
                <a:cxn ang="0">
                  <a:pos x="103" y="55"/>
                </a:cxn>
                <a:cxn ang="0">
                  <a:pos x="70" y="55"/>
                </a:cxn>
                <a:cxn ang="0">
                  <a:pos x="41" y="49"/>
                </a:cxn>
                <a:cxn ang="0">
                  <a:pos x="37" y="45"/>
                </a:cxn>
                <a:cxn ang="0">
                  <a:pos x="43" y="33"/>
                </a:cxn>
                <a:cxn ang="0">
                  <a:pos x="55" y="24"/>
                </a:cxn>
                <a:cxn ang="0">
                  <a:pos x="102" y="16"/>
                </a:cxn>
                <a:cxn ang="0">
                  <a:pos x="99" y="0"/>
                </a:cxn>
                <a:cxn ang="0">
                  <a:pos x="63" y="5"/>
                </a:cxn>
                <a:cxn ang="0">
                  <a:pos x="33" y="4"/>
                </a:cxn>
                <a:cxn ang="0">
                  <a:pos x="14" y="20"/>
                </a:cxn>
                <a:cxn ang="0">
                  <a:pos x="7" y="55"/>
                </a:cxn>
                <a:cxn ang="0">
                  <a:pos x="8" y="63"/>
                </a:cxn>
                <a:cxn ang="0">
                  <a:pos x="5" y="66"/>
                </a:cxn>
                <a:cxn ang="0">
                  <a:pos x="27" y="73"/>
                </a:cxn>
                <a:cxn ang="0">
                  <a:pos x="38" y="92"/>
                </a:cxn>
                <a:cxn ang="0">
                  <a:pos x="32" y="114"/>
                </a:cxn>
                <a:cxn ang="0">
                  <a:pos x="26" y="117"/>
                </a:cxn>
                <a:cxn ang="0">
                  <a:pos x="18" y="126"/>
                </a:cxn>
                <a:cxn ang="0">
                  <a:pos x="0" y="146"/>
                </a:cxn>
              </a:cxnLst>
              <a:rect l="0" t="0" r="r" b="b"/>
              <a:pathLst>
                <a:path w="247" h="172">
                  <a:moveTo>
                    <a:pt x="0" y="146"/>
                  </a:moveTo>
                  <a:lnTo>
                    <a:pt x="3" y="152"/>
                  </a:lnTo>
                  <a:lnTo>
                    <a:pt x="21" y="155"/>
                  </a:lnTo>
                  <a:lnTo>
                    <a:pt x="65" y="157"/>
                  </a:lnTo>
                  <a:lnTo>
                    <a:pt x="117" y="103"/>
                  </a:lnTo>
                  <a:lnTo>
                    <a:pt x="129" y="137"/>
                  </a:lnTo>
                  <a:lnTo>
                    <a:pt x="144" y="172"/>
                  </a:lnTo>
                  <a:lnTo>
                    <a:pt x="176" y="158"/>
                  </a:lnTo>
                  <a:lnTo>
                    <a:pt x="210" y="144"/>
                  </a:lnTo>
                  <a:lnTo>
                    <a:pt x="245" y="155"/>
                  </a:lnTo>
                  <a:lnTo>
                    <a:pt x="247" y="104"/>
                  </a:lnTo>
                  <a:lnTo>
                    <a:pt x="223" y="95"/>
                  </a:lnTo>
                  <a:lnTo>
                    <a:pt x="209" y="96"/>
                  </a:lnTo>
                  <a:lnTo>
                    <a:pt x="218" y="64"/>
                  </a:lnTo>
                  <a:lnTo>
                    <a:pt x="190" y="57"/>
                  </a:lnTo>
                  <a:lnTo>
                    <a:pt x="165" y="55"/>
                  </a:lnTo>
                  <a:lnTo>
                    <a:pt x="131" y="55"/>
                  </a:lnTo>
                  <a:lnTo>
                    <a:pt x="103" y="55"/>
                  </a:lnTo>
                  <a:lnTo>
                    <a:pt x="70" y="55"/>
                  </a:lnTo>
                  <a:lnTo>
                    <a:pt x="41" y="49"/>
                  </a:lnTo>
                  <a:lnTo>
                    <a:pt x="37" y="45"/>
                  </a:lnTo>
                  <a:lnTo>
                    <a:pt x="43" y="33"/>
                  </a:lnTo>
                  <a:lnTo>
                    <a:pt x="55" y="24"/>
                  </a:lnTo>
                  <a:lnTo>
                    <a:pt x="102" y="16"/>
                  </a:lnTo>
                  <a:lnTo>
                    <a:pt x="99" y="0"/>
                  </a:lnTo>
                  <a:lnTo>
                    <a:pt x="63" y="5"/>
                  </a:lnTo>
                  <a:lnTo>
                    <a:pt x="33" y="4"/>
                  </a:lnTo>
                  <a:lnTo>
                    <a:pt x="14" y="20"/>
                  </a:lnTo>
                  <a:lnTo>
                    <a:pt x="7" y="55"/>
                  </a:lnTo>
                  <a:lnTo>
                    <a:pt x="8" y="63"/>
                  </a:lnTo>
                  <a:lnTo>
                    <a:pt x="5" y="66"/>
                  </a:lnTo>
                  <a:lnTo>
                    <a:pt x="27" y="73"/>
                  </a:lnTo>
                  <a:lnTo>
                    <a:pt x="38" y="92"/>
                  </a:lnTo>
                  <a:lnTo>
                    <a:pt x="32" y="114"/>
                  </a:lnTo>
                  <a:lnTo>
                    <a:pt x="26" y="117"/>
                  </a:lnTo>
                  <a:lnTo>
                    <a:pt x="18" y="126"/>
                  </a:lnTo>
                  <a:lnTo>
                    <a:pt x="0" y="146"/>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45" name="30650298.625400.12513.87517.6255">
              <a:extLst>
                <a:ext uri="{FF2B5EF4-FFF2-40B4-BE49-F238E27FC236}">
                  <a16:creationId xmlns:a16="http://schemas.microsoft.com/office/drawing/2014/main" id="{3C22C72A-761D-4E80-A08E-401ADEB62C04}"/>
                </a:ext>
              </a:extLst>
            </p:cNvPr>
            <p:cNvSpPr>
              <a:spLocks noChangeAspect="1"/>
            </p:cNvSpPr>
            <p:nvPr/>
          </p:nvSpPr>
          <p:spPr bwMode="gray">
            <a:xfrm>
              <a:off x="6088240" y="3133425"/>
              <a:ext cx="281497" cy="227071"/>
            </a:xfrm>
            <a:custGeom>
              <a:avLst/>
              <a:gdLst/>
              <a:ahLst/>
              <a:cxnLst>
                <a:cxn ang="0">
                  <a:pos x="0" y="58"/>
                </a:cxn>
                <a:cxn ang="0">
                  <a:pos x="0" y="18"/>
                </a:cxn>
                <a:cxn ang="0">
                  <a:pos x="79" y="0"/>
                </a:cxn>
                <a:cxn ang="0">
                  <a:pos x="144" y="48"/>
                </a:cxn>
                <a:cxn ang="0">
                  <a:pos x="217" y="34"/>
                </a:cxn>
                <a:cxn ang="0">
                  <a:pos x="303" y="111"/>
                </a:cxn>
                <a:cxn ang="0">
                  <a:pos x="291" y="191"/>
                </a:cxn>
                <a:cxn ang="0">
                  <a:pos x="311" y="227"/>
                </a:cxn>
                <a:cxn ang="0">
                  <a:pos x="246" y="245"/>
                </a:cxn>
                <a:cxn ang="0">
                  <a:pos x="215" y="177"/>
                </a:cxn>
                <a:cxn ang="0">
                  <a:pos x="188" y="205"/>
                </a:cxn>
                <a:cxn ang="0">
                  <a:pos x="79" y="139"/>
                </a:cxn>
                <a:cxn ang="0">
                  <a:pos x="28" y="69"/>
                </a:cxn>
                <a:cxn ang="0">
                  <a:pos x="2" y="84"/>
                </a:cxn>
                <a:cxn ang="0">
                  <a:pos x="0" y="58"/>
                </a:cxn>
              </a:cxnLst>
              <a:rect l="0" t="0" r="r" b="b"/>
              <a:pathLst>
                <a:path w="311" h="245">
                  <a:moveTo>
                    <a:pt x="0" y="58"/>
                  </a:moveTo>
                  <a:lnTo>
                    <a:pt x="0" y="18"/>
                  </a:lnTo>
                  <a:lnTo>
                    <a:pt x="79" y="0"/>
                  </a:lnTo>
                  <a:lnTo>
                    <a:pt x="144" y="48"/>
                  </a:lnTo>
                  <a:lnTo>
                    <a:pt x="217" y="34"/>
                  </a:lnTo>
                  <a:lnTo>
                    <a:pt x="303" y="111"/>
                  </a:lnTo>
                  <a:lnTo>
                    <a:pt x="291" y="191"/>
                  </a:lnTo>
                  <a:lnTo>
                    <a:pt x="311" y="227"/>
                  </a:lnTo>
                  <a:lnTo>
                    <a:pt x="246" y="245"/>
                  </a:lnTo>
                  <a:lnTo>
                    <a:pt x="215" y="177"/>
                  </a:lnTo>
                  <a:lnTo>
                    <a:pt x="188" y="205"/>
                  </a:lnTo>
                  <a:lnTo>
                    <a:pt x="79" y="139"/>
                  </a:lnTo>
                  <a:lnTo>
                    <a:pt x="28" y="69"/>
                  </a:lnTo>
                  <a:lnTo>
                    <a:pt x="2" y="84"/>
                  </a:lnTo>
                  <a:lnTo>
                    <a:pt x="0" y="58"/>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46" name="30654305416.56.62511.8755">
              <a:extLst>
                <a:ext uri="{FF2B5EF4-FFF2-40B4-BE49-F238E27FC236}">
                  <a16:creationId xmlns:a16="http://schemas.microsoft.com/office/drawing/2014/main" id="{35C4A4B1-2746-40EF-9C7F-459014E71BAA}"/>
                </a:ext>
              </a:extLst>
            </p:cNvPr>
            <p:cNvSpPr>
              <a:spLocks noChangeAspect="1"/>
            </p:cNvSpPr>
            <p:nvPr/>
          </p:nvSpPr>
          <p:spPr bwMode="gray">
            <a:xfrm>
              <a:off x="6350715" y="3237706"/>
              <a:ext cx="190202" cy="107646"/>
            </a:xfrm>
            <a:custGeom>
              <a:avLst/>
              <a:gdLst/>
              <a:ahLst/>
              <a:cxnLst>
                <a:cxn ang="0">
                  <a:pos x="0" y="80"/>
                </a:cxn>
                <a:cxn ang="0">
                  <a:pos x="12" y="0"/>
                </a:cxn>
                <a:cxn ang="0">
                  <a:pos x="209" y="18"/>
                </a:cxn>
                <a:cxn ang="0">
                  <a:pos x="172" y="68"/>
                </a:cxn>
                <a:cxn ang="0">
                  <a:pos x="187" y="94"/>
                </a:cxn>
                <a:cxn ang="0">
                  <a:pos x="135" y="97"/>
                </a:cxn>
                <a:cxn ang="0">
                  <a:pos x="103" y="117"/>
                </a:cxn>
                <a:cxn ang="0">
                  <a:pos x="20" y="116"/>
                </a:cxn>
                <a:cxn ang="0">
                  <a:pos x="0" y="80"/>
                </a:cxn>
              </a:cxnLst>
              <a:rect l="0" t="0" r="r" b="b"/>
              <a:pathLst>
                <a:path w="209" h="117">
                  <a:moveTo>
                    <a:pt x="0" y="80"/>
                  </a:moveTo>
                  <a:lnTo>
                    <a:pt x="12" y="0"/>
                  </a:lnTo>
                  <a:lnTo>
                    <a:pt x="209" y="18"/>
                  </a:lnTo>
                  <a:lnTo>
                    <a:pt x="172" y="68"/>
                  </a:lnTo>
                  <a:lnTo>
                    <a:pt x="187" y="94"/>
                  </a:lnTo>
                  <a:lnTo>
                    <a:pt x="135" y="97"/>
                  </a:lnTo>
                  <a:lnTo>
                    <a:pt x="103" y="117"/>
                  </a:lnTo>
                  <a:lnTo>
                    <a:pt x="20" y="116"/>
                  </a:lnTo>
                  <a:lnTo>
                    <a:pt x="0" y="80"/>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47" name="30655294.75404.6256.7512.6255">
              <a:extLst>
                <a:ext uri="{FF2B5EF4-FFF2-40B4-BE49-F238E27FC236}">
                  <a16:creationId xmlns:a16="http://schemas.microsoft.com/office/drawing/2014/main" id="{6FC21A9D-2373-4036-9D11-37CD31F3B8A3}"/>
                </a:ext>
              </a:extLst>
            </p:cNvPr>
            <p:cNvSpPr>
              <a:spLocks noChangeAspect="1"/>
            </p:cNvSpPr>
            <p:nvPr/>
          </p:nvSpPr>
          <p:spPr bwMode="gray">
            <a:xfrm>
              <a:off x="6158612" y="3071189"/>
              <a:ext cx="201614" cy="111011"/>
            </a:xfrm>
            <a:custGeom>
              <a:avLst/>
              <a:gdLst/>
              <a:ahLst/>
              <a:cxnLst>
                <a:cxn ang="0">
                  <a:pos x="0" y="69"/>
                </a:cxn>
                <a:cxn ang="0">
                  <a:pos x="35" y="19"/>
                </a:cxn>
                <a:cxn ang="0">
                  <a:pos x="80" y="33"/>
                </a:cxn>
                <a:cxn ang="0">
                  <a:pos x="157" y="0"/>
                </a:cxn>
                <a:cxn ang="0">
                  <a:pos x="202" y="7"/>
                </a:cxn>
                <a:cxn ang="0">
                  <a:pos x="224" y="25"/>
                </a:cxn>
                <a:cxn ang="0">
                  <a:pos x="138" y="103"/>
                </a:cxn>
                <a:cxn ang="0">
                  <a:pos x="65" y="117"/>
                </a:cxn>
                <a:cxn ang="0">
                  <a:pos x="0" y="69"/>
                </a:cxn>
              </a:cxnLst>
              <a:rect l="0" t="0" r="r" b="b"/>
              <a:pathLst>
                <a:path w="224" h="117">
                  <a:moveTo>
                    <a:pt x="0" y="69"/>
                  </a:moveTo>
                  <a:lnTo>
                    <a:pt x="35" y="19"/>
                  </a:lnTo>
                  <a:lnTo>
                    <a:pt x="80" y="33"/>
                  </a:lnTo>
                  <a:lnTo>
                    <a:pt x="157" y="0"/>
                  </a:lnTo>
                  <a:lnTo>
                    <a:pt x="202" y="7"/>
                  </a:lnTo>
                  <a:lnTo>
                    <a:pt x="224" y="25"/>
                  </a:lnTo>
                  <a:lnTo>
                    <a:pt x="138" y="103"/>
                  </a:lnTo>
                  <a:lnTo>
                    <a:pt x="65" y="117"/>
                  </a:lnTo>
                  <a:lnTo>
                    <a:pt x="0" y="69"/>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48" name="30656279.25400.87514.12518.755">
              <a:extLst>
                <a:ext uri="{FF2B5EF4-FFF2-40B4-BE49-F238E27FC236}">
                  <a16:creationId xmlns:a16="http://schemas.microsoft.com/office/drawing/2014/main" id="{9920BCA5-B662-4F30-8663-B3CB10C8CE33}"/>
                </a:ext>
              </a:extLst>
            </p:cNvPr>
            <p:cNvSpPr>
              <a:spLocks noChangeAspect="1"/>
            </p:cNvSpPr>
            <p:nvPr/>
          </p:nvSpPr>
          <p:spPr bwMode="gray">
            <a:xfrm>
              <a:off x="6097750" y="2822255"/>
              <a:ext cx="300518" cy="228752"/>
            </a:xfrm>
            <a:custGeom>
              <a:avLst/>
              <a:gdLst/>
              <a:ahLst/>
              <a:cxnLst>
                <a:cxn ang="0">
                  <a:pos x="0" y="45"/>
                </a:cxn>
                <a:cxn ang="0">
                  <a:pos x="19" y="177"/>
                </a:cxn>
                <a:cxn ang="0">
                  <a:pos x="194" y="243"/>
                </a:cxn>
                <a:cxn ang="0">
                  <a:pos x="278" y="252"/>
                </a:cxn>
                <a:cxn ang="0">
                  <a:pos x="333" y="186"/>
                </a:cxn>
                <a:cxn ang="0">
                  <a:pos x="305" y="110"/>
                </a:cxn>
                <a:cxn ang="0">
                  <a:pos x="326" y="91"/>
                </a:cxn>
                <a:cxn ang="0">
                  <a:pos x="312" y="33"/>
                </a:cxn>
                <a:cxn ang="0">
                  <a:pos x="186" y="14"/>
                </a:cxn>
                <a:cxn ang="0">
                  <a:pos x="103" y="0"/>
                </a:cxn>
                <a:cxn ang="0">
                  <a:pos x="0" y="45"/>
                </a:cxn>
              </a:cxnLst>
              <a:rect l="0" t="0" r="r" b="b"/>
              <a:pathLst>
                <a:path w="333" h="252">
                  <a:moveTo>
                    <a:pt x="0" y="45"/>
                  </a:moveTo>
                  <a:lnTo>
                    <a:pt x="19" y="177"/>
                  </a:lnTo>
                  <a:lnTo>
                    <a:pt x="194" y="243"/>
                  </a:lnTo>
                  <a:lnTo>
                    <a:pt x="278" y="252"/>
                  </a:lnTo>
                  <a:lnTo>
                    <a:pt x="333" y="186"/>
                  </a:lnTo>
                  <a:lnTo>
                    <a:pt x="305" y="110"/>
                  </a:lnTo>
                  <a:lnTo>
                    <a:pt x="326" y="91"/>
                  </a:lnTo>
                  <a:lnTo>
                    <a:pt x="312" y="33"/>
                  </a:lnTo>
                  <a:lnTo>
                    <a:pt x="186" y="14"/>
                  </a:lnTo>
                  <a:lnTo>
                    <a:pt x="103" y="0"/>
                  </a:lnTo>
                  <a:lnTo>
                    <a:pt x="0" y="4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49" name="30657295.5412.2510.5185">
              <a:extLst>
                <a:ext uri="{FF2B5EF4-FFF2-40B4-BE49-F238E27FC236}">
                  <a16:creationId xmlns:a16="http://schemas.microsoft.com/office/drawing/2014/main" id="{7F4FB53D-44CB-4EFB-AC0C-FD2E5E5F8CC5}"/>
                </a:ext>
              </a:extLst>
            </p:cNvPr>
            <p:cNvSpPr>
              <a:spLocks noChangeAspect="1"/>
            </p:cNvSpPr>
            <p:nvPr/>
          </p:nvSpPr>
          <p:spPr bwMode="gray">
            <a:xfrm>
              <a:off x="6282243" y="3082965"/>
              <a:ext cx="287202" cy="173246"/>
            </a:xfrm>
            <a:custGeom>
              <a:avLst/>
              <a:gdLst/>
              <a:ahLst/>
              <a:cxnLst>
                <a:cxn ang="0">
                  <a:pos x="0" y="91"/>
                </a:cxn>
                <a:cxn ang="0">
                  <a:pos x="86" y="168"/>
                </a:cxn>
                <a:cxn ang="0">
                  <a:pos x="283" y="186"/>
                </a:cxn>
                <a:cxn ang="0">
                  <a:pos x="317" y="122"/>
                </a:cxn>
                <a:cxn ang="0">
                  <a:pos x="268" y="117"/>
                </a:cxn>
                <a:cxn ang="0">
                  <a:pos x="262" y="61"/>
                </a:cxn>
                <a:cxn ang="0">
                  <a:pos x="218" y="0"/>
                </a:cxn>
                <a:cxn ang="0">
                  <a:pos x="86" y="13"/>
                </a:cxn>
                <a:cxn ang="0">
                  <a:pos x="0" y="91"/>
                </a:cxn>
              </a:cxnLst>
              <a:rect l="0" t="0" r="r" b="b"/>
              <a:pathLst>
                <a:path w="317" h="186">
                  <a:moveTo>
                    <a:pt x="0" y="91"/>
                  </a:moveTo>
                  <a:lnTo>
                    <a:pt x="86" y="168"/>
                  </a:lnTo>
                  <a:lnTo>
                    <a:pt x="283" y="186"/>
                  </a:lnTo>
                  <a:lnTo>
                    <a:pt x="317" y="122"/>
                  </a:lnTo>
                  <a:lnTo>
                    <a:pt x="268" y="117"/>
                  </a:lnTo>
                  <a:lnTo>
                    <a:pt x="262" y="61"/>
                  </a:lnTo>
                  <a:lnTo>
                    <a:pt x="218" y="0"/>
                  </a:lnTo>
                  <a:lnTo>
                    <a:pt x="86" y="13"/>
                  </a:lnTo>
                  <a:lnTo>
                    <a:pt x="0" y="91"/>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sp>
          <p:nvSpPr>
            <p:cNvPr id="250" name="30658288.5396.758.2519.755">
              <a:extLst>
                <a:ext uri="{FF2B5EF4-FFF2-40B4-BE49-F238E27FC236}">
                  <a16:creationId xmlns:a16="http://schemas.microsoft.com/office/drawing/2014/main" id="{E27C68D0-F698-47DE-B3A4-D8E4857B19BB}"/>
                </a:ext>
              </a:extLst>
            </p:cNvPr>
            <p:cNvSpPr>
              <a:spLocks noChangeAspect="1"/>
            </p:cNvSpPr>
            <p:nvPr/>
          </p:nvSpPr>
          <p:spPr bwMode="gray">
            <a:xfrm>
              <a:off x="6031179" y="2970269"/>
              <a:ext cx="319535" cy="134559"/>
            </a:xfrm>
            <a:custGeom>
              <a:avLst/>
              <a:gdLst/>
              <a:ahLst/>
              <a:cxnLst>
                <a:cxn ang="0">
                  <a:pos x="0" y="35"/>
                </a:cxn>
                <a:cxn ang="0">
                  <a:pos x="61" y="101"/>
                </a:cxn>
                <a:cxn ang="0">
                  <a:pos x="160" y="100"/>
                </a:cxn>
                <a:cxn ang="0">
                  <a:pos x="174" y="130"/>
                </a:cxn>
                <a:cxn ang="0">
                  <a:pos x="219" y="144"/>
                </a:cxn>
                <a:cxn ang="0">
                  <a:pos x="296" y="111"/>
                </a:cxn>
                <a:cxn ang="0">
                  <a:pos x="341" y="118"/>
                </a:cxn>
                <a:cxn ang="0">
                  <a:pos x="351" y="88"/>
                </a:cxn>
                <a:cxn ang="0">
                  <a:pos x="267" y="79"/>
                </a:cxn>
                <a:cxn ang="0">
                  <a:pos x="92" y="13"/>
                </a:cxn>
                <a:cxn ang="0">
                  <a:pos x="75" y="0"/>
                </a:cxn>
                <a:cxn ang="0">
                  <a:pos x="0" y="35"/>
                </a:cxn>
              </a:cxnLst>
              <a:rect l="0" t="0" r="r" b="b"/>
              <a:pathLst>
                <a:path w="351" h="144">
                  <a:moveTo>
                    <a:pt x="0" y="35"/>
                  </a:moveTo>
                  <a:lnTo>
                    <a:pt x="61" y="101"/>
                  </a:lnTo>
                  <a:lnTo>
                    <a:pt x="160" y="100"/>
                  </a:lnTo>
                  <a:lnTo>
                    <a:pt x="174" y="130"/>
                  </a:lnTo>
                  <a:lnTo>
                    <a:pt x="219" y="144"/>
                  </a:lnTo>
                  <a:lnTo>
                    <a:pt x="296" y="111"/>
                  </a:lnTo>
                  <a:lnTo>
                    <a:pt x="341" y="118"/>
                  </a:lnTo>
                  <a:lnTo>
                    <a:pt x="351" y="88"/>
                  </a:lnTo>
                  <a:lnTo>
                    <a:pt x="267" y="79"/>
                  </a:lnTo>
                  <a:lnTo>
                    <a:pt x="92" y="13"/>
                  </a:lnTo>
                  <a:lnTo>
                    <a:pt x="75" y="0"/>
                  </a:lnTo>
                  <a:lnTo>
                    <a:pt x="0" y="35"/>
                  </a:lnTo>
                  <a:close/>
                </a:path>
              </a:pathLst>
            </a:custGeom>
            <a:grpFill/>
            <a:ln w="1270">
              <a:solidFill>
                <a:schemeClr val="accent3">
                  <a:lumMod val="60000"/>
                  <a:lumOff val="40000"/>
                </a:schemeClr>
              </a:solidFill>
              <a:prstDash val="solid"/>
              <a:round/>
              <a:headEnd/>
              <a:tailEnd/>
            </a:ln>
          </p:spPr>
          <p:txBody>
            <a:bodyPr/>
            <a:lstStyle/>
            <a:p>
              <a:endParaRPr lang="en-US">
                <a:latin typeface="+mn-lt"/>
              </a:endParaRPr>
            </a:p>
          </p:txBody>
        </p:sp>
      </p:grpSp>
      <p:sp>
        <p:nvSpPr>
          <p:cNvPr id="251" name="Rectangle 250">
            <a:extLst>
              <a:ext uri="{FF2B5EF4-FFF2-40B4-BE49-F238E27FC236}">
                <a16:creationId xmlns:a16="http://schemas.microsoft.com/office/drawing/2014/main" id="{F0C5E160-2667-4FD1-9BA3-1B397B4A7009}"/>
              </a:ext>
            </a:extLst>
          </p:cNvPr>
          <p:cNvSpPr/>
          <p:nvPr/>
        </p:nvSpPr>
        <p:spPr>
          <a:xfrm>
            <a:off x="1731244" y="2943357"/>
            <a:ext cx="8947934" cy="1279992"/>
          </a:xfrm>
          <a:prstGeom prst="rect">
            <a:avLst/>
          </a:prstGeom>
          <a:solidFill>
            <a:srgbClr val="FFFFFF">
              <a:alpha val="56078"/>
            </a:srgbClr>
          </a:solidFill>
          <a:ln>
            <a:solidFill>
              <a:srgbClr val="ADADAD"/>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spcBef>
                <a:spcPts val="0"/>
              </a:spcBef>
              <a:spcAft>
                <a:spcPts val="1000"/>
              </a:spcAft>
            </a:pPr>
            <a:r>
              <a:rPr lang="en-US" b="1" dirty="0">
                <a:solidFill>
                  <a:schemeClr val="tx1"/>
                </a:solidFill>
                <a:latin typeface="Roboto" panose="02000000000000000000" pitchFamily="2" charset="0"/>
                <a:ea typeface="Roboto" panose="02000000000000000000" pitchFamily="2" charset="0"/>
                <a:cs typeface="Arial" panose="020B0604020202020204" pitchFamily="34" charset="0"/>
              </a:rPr>
              <a:t>2. Validation of methane Measurement technologies </a:t>
            </a:r>
          </a:p>
          <a:p>
            <a:pPr marR="0" lvl="0">
              <a:spcBef>
                <a:spcPts val="0"/>
              </a:spcBef>
              <a:spcAft>
                <a:spcPts val="1000"/>
              </a:spcAft>
            </a:pPr>
            <a:r>
              <a:rPr lang="en-US" dirty="0">
                <a:solidFill>
                  <a:schemeClr val="tx1"/>
                </a:solidFill>
                <a:latin typeface="Roboto" panose="02000000000000000000" pitchFamily="2" charset="0"/>
                <a:ea typeface="Roboto" panose="02000000000000000000" pitchFamily="2" charset="0"/>
                <a:cs typeface="Arial" panose="020B0604020202020204" pitchFamily="34" charset="0"/>
              </a:rPr>
              <a:t>To provide uniform data on the accuracy and precision of a diversity of methane measurement technologies, from satellites to drones</a:t>
            </a:r>
            <a:endParaRPr lang="en-US" dirty="0">
              <a:solidFill>
                <a:schemeClr val="tx1"/>
              </a:solidFill>
              <a:effectLst/>
              <a:latin typeface="Roboto" panose="02000000000000000000" pitchFamily="2" charset="0"/>
              <a:ea typeface="Roboto" panose="02000000000000000000" pitchFamily="2" charset="0"/>
              <a:cs typeface="Arial" panose="020B0604020202020204" pitchFamily="34" charset="0"/>
            </a:endParaRPr>
          </a:p>
        </p:txBody>
      </p:sp>
      <p:sp>
        <p:nvSpPr>
          <p:cNvPr id="252" name="Rectangle 251">
            <a:extLst>
              <a:ext uri="{FF2B5EF4-FFF2-40B4-BE49-F238E27FC236}">
                <a16:creationId xmlns:a16="http://schemas.microsoft.com/office/drawing/2014/main" id="{4F426661-DD46-4350-AECA-FA402C2F893F}"/>
              </a:ext>
            </a:extLst>
          </p:cNvPr>
          <p:cNvSpPr/>
          <p:nvPr/>
        </p:nvSpPr>
        <p:spPr>
          <a:xfrm>
            <a:off x="1731244" y="1559076"/>
            <a:ext cx="8947934" cy="1100016"/>
          </a:xfrm>
          <a:prstGeom prst="rect">
            <a:avLst/>
          </a:prstGeom>
          <a:solidFill>
            <a:srgbClr val="FFFFFF">
              <a:alpha val="56078"/>
            </a:srgbClr>
          </a:solidFill>
          <a:ln>
            <a:solidFill>
              <a:srgbClr val="ADADAD"/>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spcBef>
                <a:spcPts val="0"/>
              </a:spcBef>
              <a:spcAft>
                <a:spcPts val="1000"/>
              </a:spcAft>
            </a:pPr>
            <a:r>
              <a:rPr lang="en-US" b="1" dirty="0">
                <a:solidFill>
                  <a:schemeClr val="tx1"/>
                </a:solidFill>
                <a:latin typeface="Roboto" panose="02000000000000000000" pitchFamily="2" charset="0"/>
                <a:ea typeface="Roboto" panose="02000000000000000000" pitchFamily="2" charset="0"/>
                <a:cs typeface="Arial" panose="020B0604020202020204" pitchFamily="34" charset="0"/>
              </a:rPr>
              <a:t>1</a:t>
            </a:r>
            <a:r>
              <a:rPr lang="en-US" b="1" dirty="0">
                <a:solidFill>
                  <a:schemeClr val="tx1"/>
                </a:solidFill>
                <a:effectLst/>
                <a:latin typeface="Roboto" panose="02000000000000000000" pitchFamily="2" charset="0"/>
                <a:ea typeface="Roboto" panose="02000000000000000000" pitchFamily="2" charset="0"/>
                <a:cs typeface="Arial" panose="020B0604020202020204" pitchFamily="34" charset="0"/>
              </a:rPr>
              <a:t>. Satellite remote sensing</a:t>
            </a:r>
          </a:p>
          <a:p>
            <a:pPr marR="0" lvl="0">
              <a:spcBef>
                <a:spcPts val="0"/>
              </a:spcBef>
              <a:spcAft>
                <a:spcPts val="1000"/>
              </a:spcAft>
            </a:pPr>
            <a:r>
              <a:rPr lang="en-US" dirty="0">
                <a:solidFill>
                  <a:schemeClr val="tx1"/>
                </a:solidFill>
                <a:latin typeface="Roboto" panose="02000000000000000000" pitchFamily="2" charset="0"/>
                <a:ea typeface="Roboto" panose="02000000000000000000" pitchFamily="2" charset="0"/>
                <a:cs typeface="Arial" panose="020B0604020202020204" pitchFamily="34" charset="0"/>
              </a:rPr>
              <a:t>To increase capacity to accurately measure emissions globally and better understand comparisons between satellites and other measurements </a:t>
            </a:r>
            <a:endParaRPr lang="en-US" dirty="0">
              <a:solidFill>
                <a:schemeClr val="tx1"/>
              </a:solidFill>
              <a:effectLst/>
              <a:latin typeface="Roboto" panose="02000000000000000000" pitchFamily="2" charset="0"/>
              <a:ea typeface="Roboto" panose="02000000000000000000" pitchFamily="2" charset="0"/>
              <a:cs typeface="Arial" panose="020B0604020202020204" pitchFamily="34" charset="0"/>
            </a:endParaRPr>
          </a:p>
        </p:txBody>
      </p:sp>
      <p:sp>
        <p:nvSpPr>
          <p:cNvPr id="2" name="Rectangle 1">
            <a:extLst>
              <a:ext uri="{FF2B5EF4-FFF2-40B4-BE49-F238E27FC236}">
                <a16:creationId xmlns:a16="http://schemas.microsoft.com/office/drawing/2014/main" id="{5330C4C3-1FFC-4BF1-83ED-A556ACED1BE0}"/>
              </a:ext>
            </a:extLst>
          </p:cNvPr>
          <p:cNvSpPr/>
          <p:nvPr/>
        </p:nvSpPr>
        <p:spPr>
          <a:xfrm>
            <a:off x="1783549" y="4531158"/>
            <a:ext cx="8947934" cy="1227855"/>
          </a:xfrm>
          <a:prstGeom prst="rect">
            <a:avLst/>
          </a:prstGeom>
          <a:solidFill>
            <a:srgbClr val="FFFFFF">
              <a:alpha val="56078"/>
            </a:srgbClr>
          </a:solidFill>
          <a:ln>
            <a:solidFill>
              <a:srgbClr val="ADADAD"/>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spcBef>
                <a:spcPts val="0"/>
              </a:spcBef>
              <a:spcAft>
                <a:spcPts val="1000"/>
              </a:spcAft>
            </a:pPr>
            <a:r>
              <a:rPr lang="en-US" b="1" dirty="0">
                <a:solidFill>
                  <a:schemeClr val="tx1"/>
                </a:solidFill>
                <a:effectLst/>
                <a:latin typeface="Roboto" panose="02000000000000000000" pitchFamily="2" charset="0"/>
                <a:ea typeface="Roboto" panose="02000000000000000000" pitchFamily="2" charset="0"/>
                <a:cs typeface="Arial" panose="020B0604020202020204" pitchFamily="34" charset="0"/>
              </a:rPr>
              <a:t>3. Flaring efficiency</a:t>
            </a:r>
          </a:p>
          <a:p>
            <a:pPr marR="0" lvl="0">
              <a:spcBef>
                <a:spcPts val="0"/>
              </a:spcBef>
              <a:spcAft>
                <a:spcPts val="1000"/>
              </a:spcAft>
            </a:pPr>
            <a:r>
              <a:rPr lang="en-US" dirty="0">
                <a:solidFill>
                  <a:schemeClr val="tx1"/>
                </a:solidFill>
                <a:latin typeface="Roboto" panose="02000000000000000000" pitchFamily="2" charset="0"/>
                <a:ea typeface="Roboto" panose="02000000000000000000" pitchFamily="2" charset="0"/>
                <a:cs typeface="Arial" panose="020B0604020202020204" pitchFamily="34" charset="0"/>
              </a:rPr>
              <a:t>To better understand flaring efficiency around the world and identify factors that affect/improve efficiency</a:t>
            </a:r>
            <a:endParaRPr lang="en-US" dirty="0">
              <a:solidFill>
                <a:schemeClr val="tx1"/>
              </a:solidFill>
              <a:effectLst/>
              <a:latin typeface="Roboto" panose="02000000000000000000" pitchFamily="2" charset="0"/>
              <a:ea typeface="Roboto" panose="02000000000000000000" pitchFamily="2" charset="0"/>
              <a:cs typeface="Arial" panose="020B0604020202020204" pitchFamily="34" charset="0"/>
            </a:endParaRPr>
          </a:p>
        </p:txBody>
      </p:sp>
    </p:spTree>
    <p:extLst>
      <p:ext uri="{BB962C8B-B14F-4D97-AF65-F5344CB8AC3E}">
        <p14:creationId xmlns:p14="http://schemas.microsoft.com/office/powerpoint/2010/main" val="25709388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èche : bas 1">
            <a:extLst>
              <a:ext uri="{FF2B5EF4-FFF2-40B4-BE49-F238E27FC236}">
                <a16:creationId xmlns:a16="http://schemas.microsoft.com/office/drawing/2014/main" id="{F3E9C4AB-CFDC-4394-A1E1-259EABED1636}"/>
              </a:ext>
            </a:extLst>
          </p:cNvPr>
          <p:cNvSpPr/>
          <p:nvPr/>
        </p:nvSpPr>
        <p:spPr>
          <a:xfrm>
            <a:off x="9876580" y="4272286"/>
            <a:ext cx="1209342" cy="675210"/>
          </a:xfrm>
          <a:prstGeom prst="downArrow">
            <a:avLst/>
          </a:prstGeom>
          <a:solidFill>
            <a:srgbClr val="B0F3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60" name="Rectangle 1759">
            <a:extLst>
              <a:ext uri="{FF2B5EF4-FFF2-40B4-BE49-F238E27FC236}">
                <a16:creationId xmlns:a16="http://schemas.microsoft.com/office/drawing/2014/main" id="{7AEFF28C-A0FD-4AE0-90B9-8BE96EE9E995}"/>
              </a:ext>
            </a:extLst>
          </p:cNvPr>
          <p:cNvSpPr/>
          <p:nvPr/>
        </p:nvSpPr>
        <p:spPr>
          <a:xfrm>
            <a:off x="744504" y="1288318"/>
            <a:ext cx="2422458"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black"/>
                </a:solidFill>
                <a:effectLst/>
                <a:uLnTx/>
                <a:uFillTx/>
                <a:latin typeface="Roboto" pitchFamily="2" charset="0"/>
                <a:ea typeface="Roboto" pitchFamily="2" charset="0"/>
                <a:cs typeface="+mn-cs"/>
              </a:rPr>
              <a:t>Data flow of the IMEO</a:t>
            </a:r>
          </a:p>
        </p:txBody>
      </p:sp>
      <p:sp>
        <p:nvSpPr>
          <p:cNvPr id="7" name="Forme libre : forme 6">
            <a:extLst>
              <a:ext uri="{FF2B5EF4-FFF2-40B4-BE49-F238E27FC236}">
                <a16:creationId xmlns:a16="http://schemas.microsoft.com/office/drawing/2014/main" id="{7DB3B866-21F2-4906-9194-6203CD325E78}"/>
              </a:ext>
            </a:extLst>
          </p:cNvPr>
          <p:cNvSpPr/>
          <p:nvPr/>
        </p:nvSpPr>
        <p:spPr>
          <a:xfrm rot="259444">
            <a:off x="842360" y="965482"/>
            <a:ext cx="10481630" cy="4203281"/>
          </a:xfrm>
          <a:custGeom>
            <a:avLst/>
            <a:gdLst>
              <a:gd name="connsiteX0" fmla="*/ 7581204 w 7581203"/>
              <a:gd name="connsiteY0" fmla="*/ 0 h 3040169"/>
              <a:gd name="connsiteX1" fmla="*/ 7200023 w 7581203"/>
              <a:gd name="connsiteY1" fmla="*/ 287655 h 3040169"/>
              <a:gd name="connsiteX2" fmla="*/ 7358329 w 7581203"/>
              <a:gd name="connsiteY2" fmla="*/ 307296 h 3040169"/>
              <a:gd name="connsiteX3" fmla="*/ 5350440 w 7581203"/>
              <a:gd name="connsiteY3" fmla="*/ 2193951 h 3040169"/>
              <a:gd name="connsiteX4" fmla="*/ 3009509 w 7581203"/>
              <a:gd name="connsiteY4" fmla="*/ 2902972 h 3040169"/>
              <a:gd name="connsiteX5" fmla="*/ 285711 w 7581203"/>
              <a:gd name="connsiteY5" fmla="*/ 2803179 h 3040169"/>
              <a:gd name="connsiteX6" fmla="*/ 150466 w 7581203"/>
              <a:gd name="connsiteY6" fmla="*/ 2668324 h 3040169"/>
              <a:gd name="connsiteX7" fmla="*/ 199 w 7581203"/>
              <a:gd name="connsiteY7" fmla="*/ 2803617 h 3040169"/>
              <a:gd name="connsiteX8" fmla="*/ 135492 w 7581203"/>
              <a:gd name="connsiteY8" fmla="*/ 2953903 h 3040169"/>
              <a:gd name="connsiteX9" fmla="*/ 268928 w 7581203"/>
              <a:gd name="connsiteY9" fmla="*/ 2878436 h 3040169"/>
              <a:gd name="connsiteX10" fmla="*/ 1488757 w 7581203"/>
              <a:gd name="connsiteY10" fmla="*/ 3027179 h 3040169"/>
              <a:gd name="connsiteX11" fmla="*/ 3016348 w 7581203"/>
              <a:gd name="connsiteY11" fmla="*/ 2979801 h 3040169"/>
              <a:gd name="connsiteX12" fmla="*/ 5385644 w 7581203"/>
              <a:gd name="connsiteY12" fmla="*/ 2262540 h 3040169"/>
              <a:gd name="connsiteX13" fmla="*/ 7425166 w 7581203"/>
              <a:gd name="connsiteY13" fmla="*/ 345815 h 3040169"/>
              <a:gd name="connsiteX14" fmla="*/ 7521216 w 7581203"/>
              <a:gd name="connsiteY14" fmla="*/ 473764 h 3040169"/>
              <a:gd name="connsiteX15" fmla="*/ 7581204 w 7581203"/>
              <a:gd name="connsiteY15" fmla="*/ 0 h 3040169"/>
              <a:gd name="connsiteX16" fmla="*/ 139531 w 7581203"/>
              <a:gd name="connsiteY16" fmla="*/ 2876893 h 3040169"/>
              <a:gd name="connsiteX17" fmla="*/ 77218 w 7581203"/>
              <a:gd name="connsiteY17" fmla="*/ 2807646 h 3040169"/>
              <a:gd name="connsiteX18" fmla="*/ 146437 w 7581203"/>
              <a:gd name="connsiteY18" fmla="*/ 2745324 h 3040169"/>
              <a:gd name="connsiteX19" fmla="*/ 208768 w 7581203"/>
              <a:gd name="connsiteY19" fmla="*/ 2814542 h 3040169"/>
              <a:gd name="connsiteX20" fmla="*/ 139531 w 7581203"/>
              <a:gd name="connsiteY20" fmla="*/ 2876893 h 3040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81203" h="3040169">
                <a:moveTo>
                  <a:pt x="7581204" y="0"/>
                </a:moveTo>
                <a:lnTo>
                  <a:pt x="7200023" y="287655"/>
                </a:lnTo>
                <a:lnTo>
                  <a:pt x="7358329" y="307296"/>
                </a:lnTo>
                <a:cubicBezTo>
                  <a:pt x="6854485" y="1115139"/>
                  <a:pt x="6179353" y="1749685"/>
                  <a:pt x="5350440" y="2193951"/>
                </a:cubicBezTo>
                <a:cubicBezTo>
                  <a:pt x="4668183" y="2559596"/>
                  <a:pt x="3880570" y="2798140"/>
                  <a:pt x="3009509" y="2902972"/>
                </a:cubicBezTo>
                <a:cubicBezTo>
                  <a:pt x="1559832" y="3077461"/>
                  <a:pt x="354586" y="2818438"/>
                  <a:pt x="285711" y="2803179"/>
                </a:cubicBezTo>
                <a:cubicBezTo>
                  <a:pt x="281768" y="2731246"/>
                  <a:pt x="224008" y="2672182"/>
                  <a:pt x="150466" y="2668324"/>
                </a:cubicBezTo>
                <a:cubicBezTo>
                  <a:pt x="71732" y="2664200"/>
                  <a:pt x="4333" y="2724893"/>
                  <a:pt x="199" y="2803617"/>
                </a:cubicBezTo>
                <a:cubicBezTo>
                  <a:pt x="-3935" y="2882360"/>
                  <a:pt x="56759" y="2949778"/>
                  <a:pt x="135492" y="2953903"/>
                </a:cubicBezTo>
                <a:cubicBezTo>
                  <a:pt x="192557" y="2956884"/>
                  <a:pt x="243534" y="2925737"/>
                  <a:pt x="268928" y="2878436"/>
                </a:cubicBezTo>
                <a:cubicBezTo>
                  <a:pt x="315458" y="2888752"/>
                  <a:pt x="790936" y="2990593"/>
                  <a:pt x="1488757" y="3027179"/>
                </a:cubicBezTo>
                <a:cubicBezTo>
                  <a:pt x="1927278" y="3050172"/>
                  <a:pt x="2453658" y="3047362"/>
                  <a:pt x="3016348" y="2979801"/>
                </a:cubicBezTo>
                <a:cubicBezTo>
                  <a:pt x="3897391" y="2874064"/>
                  <a:pt x="4694538" y="2632729"/>
                  <a:pt x="5385644" y="2262540"/>
                </a:cubicBezTo>
                <a:cubicBezTo>
                  <a:pt x="6227940" y="1811379"/>
                  <a:pt x="6913740" y="1166708"/>
                  <a:pt x="7425166" y="345815"/>
                </a:cubicBezTo>
                <a:lnTo>
                  <a:pt x="7521216" y="473764"/>
                </a:lnTo>
                <a:lnTo>
                  <a:pt x="7581204" y="0"/>
                </a:lnTo>
                <a:close/>
                <a:moveTo>
                  <a:pt x="139531" y="2876893"/>
                </a:moveTo>
                <a:cubicBezTo>
                  <a:pt x="103260" y="2874998"/>
                  <a:pt x="75313" y="2843918"/>
                  <a:pt x="77218" y="2807646"/>
                </a:cubicBezTo>
                <a:cubicBezTo>
                  <a:pt x="79123" y="2771375"/>
                  <a:pt x="110165" y="2743419"/>
                  <a:pt x="146437" y="2745324"/>
                </a:cubicBezTo>
                <a:cubicBezTo>
                  <a:pt x="182708" y="2747220"/>
                  <a:pt x="210673" y="2778271"/>
                  <a:pt x="208768" y="2814542"/>
                </a:cubicBezTo>
                <a:cubicBezTo>
                  <a:pt x="206854" y="2850814"/>
                  <a:pt x="175802" y="2878808"/>
                  <a:pt x="139531" y="2876893"/>
                </a:cubicBezTo>
                <a:close/>
              </a:path>
            </a:pathLst>
          </a:custGeom>
          <a:solidFill>
            <a:srgbClr val="4F7BA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41" name="Groupe 40">
            <a:extLst>
              <a:ext uri="{FF2B5EF4-FFF2-40B4-BE49-F238E27FC236}">
                <a16:creationId xmlns:a16="http://schemas.microsoft.com/office/drawing/2014/main" id="{CF5B9ED6-7C36-45BD-9F55-86E3021A9D6B}"/>
              </a:ext>
            </a:extLst>
          </p:cNvPr>
          <p:cNvGrpSpPr/>
          <p:nvPr/>
        </p:nvGrpSpPr>
        <p:grpSpPr>
          <a:xfrm>
            <a:off x="1625826" y="2934188"/>
            <a:ext cx="10381641" cy="3403046"/>
            <a:chOff x="2333113" y="3138275"/>
            <a:chExt cx="11120063" cy="3645096"/>
          </a:xfrm>
        </p:grpSpPr>
        <p:grpSp>
          <p:nvGrpSpPr>
            <p:cNvPr id="17" name="Graphique 3">
              <a:extLst>
                <a:ext uri="{FF2B5EF4-FFF2-40B4-BE49-F238E27FC236}">
                  <a16:creationId xmlns:a16="http://schemas.microsoft.com/office/drawing/2014/main" id="{E53641CA-A67E-4C2B-8530-A13BF29F5A46}"/>
                </a:ext>
              </a:extLst>
            </p:cNvPr>
            <p:cNvGrpSpPr/>
            <p:nvPr/>
          </p:nvGrpSpPr>
          <p:grpSpPr>
            <a:xfrm>
              <a:off x="2333113" y="3138275"/>
              <a:ext cx="3119836" cy="3529605"/>
              <a:chOff x="3224622" y="3489725"/>
              <a:chExt cx="1913357" cy="2164663"/>
            </a:xfrm>
            <a:solidFill>
              <a:srgbClr val="0DDBF1"/>
            </a:solidFill>
          </p:grpSpPr>
          <p:grpSp>
            <p:nvGrpSpPr>
              <p:cNvPr id="18" name="Graphique 3">
                <a:extLst>
                  <a:ext uri="{FF2B5EF4-FFF2-40B4-BE49-F238E27FC236}">
                    <a16:creationId xmlns:a16="http://schemas.microsoft.com/office/drawing/2014/main" id="{E53641CA-A67E-4C2B-8530-A13BF29F5A46}"/>
                  </a:ext>
                </a:extLst>
              </p:cNvPr>
              <p:cNvGrpSpPr/>
              <p:nvPr/>
            </p:nvGrpSpPr>
            <p:grpSpPr>
              <a:xfrm>
                <a:off x="3224622" y="3741062"/>
                <a:ext cx="1913357" cy="1913326"/>
                <a:chOff x="3224622" y="3741062"/>
                <a:chExt cx="1913357" cy="1913326"/>
              </a:xfrm>
              <a:grpFill/>
            </p:grpSpPr>
            <p:sp>
              <p:nvSpPr>
                <p:cNvPr id="19" name="Forme libre : forme 18">
                  <a:extLst>
                    <a:ext uri="{FF2B5EF4-FFF2-40B4-BE49-F238E27FC236}">
                      <a16:creationId xmlns:a16="http://schemas.microsoft.com/office/drawing/2014/main" id="{435BC26F-26E8-42DA-A502-8CBC3B4DADDE}"/>
                    </a:ext>
                  </a:extLst>
                </p:cNvPr>
                <p:cNvSpPr/>
                <p:nvPr/>
              </p:nvSpPr>
              <p:spPr>
                <a:xfrm>
                  <a:off x="3224622" y="3741062"/>
                  <a:ext cx="1913357" cy="1913326"/>
                </a:xfrm>
                <a:custGeom>
                  <a:avLst/>
                  <a:gdLst>
                    <a:gd name="connsiteX0" fmla="*/ 1758476 w 1913357"/>
                    <a:gd name="connsiteY0" fmla="*/ 1478305 h 1913326"/>
                    <a:gd name="connsiteX1" fmla="*/ 434996 w 1913357"/>
                    <a:gd name="connsiteY1" fmla="*/ 1758463 h 1913326"/>
                    <a:gd name="connsiteX2" fmla="*/ 154885 w 1913357"/>
                    <a:gd name="connsiteY2" fmla="*/ 435022 h 1913326"/>
                    <a:gd name="connsiteX3" fmla="*/ 1478336 w 1913357"/>
                    <a:gd name="connsiteY3" fmla="*/ 154872 h 1913326"/>
                    <a:gd name="connsiteX4" fmla="*/ 1758476 w 1913357"/>
                    <a:gd name="connsiteY4" fmla="*/ 1478305 h 19133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357" h="1913326">
                      <a:moveTo>
                        <a:pt x="1758476" y="1478305"/>
                      </a:moveTo>
                      <a:cubicBezTo>
                        <a:pt x="1470354" y="1921141"/>
                        <a:pt x="877833" y="2046547"/>
                        <a:pt x="434996" y="1758463"/>
                      </a:cubicBezTo>
                      <a:cubicBezTo>
                        <a:pt x="-7821" y="1470361"/>
                        <a:pt x="-133227" y="877782"/>
                        <a:pt x="154885" y="435022"/>
                      </a:cubicBezTo>
                      <a:cubicBezTo>
                        <a:pt x="442997" y="-7824"/>
                        <a:pt x="1035519" y="-133221"/>
                        <a:pt x="1478336" y="154872"/>
                      </a:cubicBezTo>
                      <a:cubicBezTo>
                        <a:pt x="1921173" y="442985"/>
                        <a:pt x="2046588" y="1035525"/>
                        <a:pt x="1758476" y="147830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orme libre : forme 19">
                  <a:extLst>
                    <a:ext uri="{FF2B5EF4-FFF2-40B4-BE49-F238E27FC236}">
                      <a16:creationId xmlns:a16="http://schemas.microsoft.com/office/drawing/2014/main" id="{A918DCB4-0712-4E10-A6DE-65636047DE67}"/>
                    </a:ext>
                  </a:extLst>
                </p:cNvPr>
                <p:cNvSpPr/>
                <p:nvPr/>
              </p:nvSpPr>
              <p:spPr>
                <a:xfrm>
                  <a:off x="3316484" y="3832890"/>
                  <a:ext cx="1729646" cy="1729629"/>
                </a:xfrm>
                <a:custGeom>
                  <a:avLst/>
                  <a:gdLst>
                    <a:gd name="connsiteX0" fmla="*/ 1570179 w 1571273"/>
                    <a:gd name="connsiteY0" fmla="*/ 826734 h 1571257"/>
                    <a:gd name="connsiteX1" fmla="*/ 744485 w 1571273"/>
                    <a:gd name="connsiteY1" fmla="*/ 1570161 h 1571257"/>
                    <a:gd name="connsiteX2" fmla="*/ 1097 w 1571273"/>
                    <a:gd name="connsiteY2" fmla="*/ 744496 h 1571257"/>
                    <a:gd name="connsiteX3" fmla="*/ 826753 w 1571273"/>
                    <a:gd name="connsiteY3" fmla="*/ 1098 h 1571257"/>
                    <a:gd name="connsiteX4" fmla="*/ 1570179 w 1571273"/>
                    <a:gd name="connsiteY4" fmla="*/ 826734 h 1571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273" h="1571257">
                      <a:moveTo>
                        <a:pt x="1570179" y="826734"/>
                      </a:moveTo>
                      <a:cubicBezTo>
                        <a:pt x="1547462" y="1260074"/>
                        <a:pt x="1177778" y="1592878"/>
                        <a:pt x="744485" y="1570161"/>
                      </a:cubicBezTo>
                      <a:cubicBezTo>
                        <a:pt x="311203" y="1547434"/>
                        <a:pt x="-21620" y="1177835"/>
                        <a:pt x="1097" y="744496"/>
                      </a:cubicBezTo>
                      <a:cubicBezTo>
                        <a:pt x="23814" y="311222"/>
                        <a:pt x="393470" y="-21629"/>
                        <a:pt x="826753" y="1098"/>
                      </a:cubicBezTo>
                      <a:cubicBezTo>
                        <a:pt x="1260035" y="23806"/>
                        <a:pt x="1592867" y="393461"/>
                        <a:pt x="1570179" y="826734"/>
                      </a:cubicBezTo>
                      <a:close/>
                    </a:path>
                  </a:pathLst>
                </a:custGeom>
                <a:solidFill>
                  <a:srgbClr val="09909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1" name="Forme libre : forme 20">
                <a:extLst>
                  <a:ext uri="{FF2B5EF4-FFF2-40B4-BE49-F238E27FC236}">
                    <a16:creationId xmlns:a16="http://schemas.microsoft.com/office/drawing/2014/main" id="{C9347A88-18A2-4EC3-BDFE-6760A7D7F720}"/>
                  </a:ext>
                </a:extLst>
              </p:cNvPr>
              <p:cNvSpPr/>
              <p:nvPr/>
            </p:nvSpPr>
            <p:spPr>
              <a:xfrm>
                <a:off x="3745868" y="3489725"/>
                <a:ext cx="267890" cy="250265"/>
              </a:xfrm>
              <a:custGeom>
                <a:avLst/>
                <a:gdLst>
                  <a:gd name="connsiteX0" fmla="*/ 105032 w 267890"/>
                  <a:gd name="connsiteY0" fmla="*/ 5845 h 250265"/>
                  <a:gd name="connsiteX1" fmla="*/ 267891 w 267890"/>
                  <a:gd name="connsiteY1" fmla="*/ 183296 h 250265"/>
                  <a:gd name="connsiteX2" fmla="*/ 155886 w 267890"/>
                  <a:gd name="connsiteY2" fmla="*/ 201212 h 250265"/>
                  <a:gd name="connsiteX3" fmla="*/ 0 w 267890"/>
                  <a:gd name="connsiteY3" fmla="*/ 250266 h 250265"/>
                  <a:gd name="connsiteX4" fmla="*/ 74971 w 267890"/>
                  <a:gd name="connsiteY4" fmla="*/ 12522 h 250265"/>
                  <a:gd name="connsiteX5" fmla="*/ 105032 w 267890"/>
                  <a:gd name="connsiteY5" fmla="*/ 5845 h 25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890" h="250265">
                    <a:moveTo>
                      <a:pt x="105032" y="5845"/>
                    </a:moveTo>
                    <a:lnTo>
                      <a:pt x="267891" y="183296"/>
                    </a:lnTo>
                    <a:cubicBezTo>
                      <a:pt x="230648" y="186944"/>
                      <a:pt x="193234" y="192954"/>
                      <a:pt x="155886" y="201212"/>
                    </a:cubicBezTo>
                    <a:cubicBezTo>
                      <a:pt x="101717" y="213252"/>
                      <a:pt x="49482" y="229740"/>
                      <a:pt x="0" y="250266"/>
                    </a:cubicBezTo>
                    <a:lnTo>
                      <a:pt x="74971" y="12522"/>
                    </a:lnTo>
                    <a:cubicBezTo>
                      <a:pt x="79010" y="-651"/>
                      <a:pt x="95574" y="-4337"/>
                      <a:pt x="105032" y="584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4" name="Rectangle 33">
              <a:extLst>
                <a:ext uri="{FF2B5EF4-FFF2-40B4-BE49-F238E27FC236}">
                  <a16:creationId xmlns:a16="http://schemas.microsoft.com/office/drawing/2014/main" id="{688CB79D-E15B-461F-8537-2A2908A8A115}"/>
                </a:ext>
              </a:extLst>
            </p:cNvPr>
            <p:cNvSpPr/>
            <p:nvPr/>
          </p:nvSpPr>
          <p:spPr>
            <a:xfrm>
              <a:off x="2584724" y="4729639"/>
              <a:ext cx="2706700" cy="1260979"/>
            </a:xfrm>
            <a:prstGeom prst="rect">
              <a:avLst/>
            </a:prstGeom>
          </p:spPr>
          <p:txBody>
            <a:bodyPr wrap="square">
              <a:spAutoFit/>
            </a:bodyPr>
            <a:lstStyle/>
            <a:p>
              <a:pPr marL="180000" marR="0" lvl="0" indent="-144000"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Roboto Medium" panose="02000000000000000000" pitchFamily="2" charset="0"/>
                  <a:ea typeface="Roboto Medium" panose="02000000000000000000" pitchFamily="2" charset="0"/>
                  <a:cs typeface="+mn-cs"/>
                </a:rPr>
                <a:t>OGMP companies’ assets data </a:t>
              </a:r>
            </a:p>
            <a:p>
              <a:pPr marL="180000" marR="0" lvl="0" indent="-144000"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Roboto Medium" panose="02000000000000000000" pitchFamily="2" charset="0"/>
                  <a:ea typeface="Roboto Medium" panose="02000000000000000000" pitchFamily="2" charset="0"/>
                  <a:cs typeface="+mn-cs"/>
                </a:rPr>
                <a:t>Science measurements studies</a:t>
              </a:r>
            </a:p>
            <a:p>
              <a:pPr marL="180000" marR="0" lvl="0" indent="-144000"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Roboto Medium" panose="02000000000000000000" pitchFamily="2" charset="0"/>
                  <a:ea typeface="Roboto Medium" panose="02000000000000000000" pitchFamily="2" charset="0"/>
                  <a:cs typeface="+mn-cs"/>
                </a:rPr>
                <a:t>National inventories</a:t>
              </a:r>
              <a:endParaRPr kumimoji="0" lang="en-US" sz="1400" b="0" i="0" u="none" strike="noStrike" kern="1200" cap="none" spc="0" normalizeH="0" baseline="0" noProof="0">
                <a:ln>
                  <a:noFill/>
                </a:ln>
                <a:solidFill>
                  <a:prstClr val="white"/>
                </a:solidFill>
                <a:effectLst/>
                <a:uLnTx/>
                <a:uFillTx/>
                <a:latin typeface="Roboto Medium" panose="02000000000000000000" pitchFamily="2" charset="0"/>
                <a:ea typeface="Roboto Medium" panose="02000000000000000000" pitchFamily="2" charset="0"/>
                <a:cs typeface="+mn-cs"/>
              </a:endParaRPr>
            </a:p>
            <a:p>
              <a:pPr marL="180000" marR="0" lvl="0" indent="-144000"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Roboto Medium" panose="02000000000000000000" pitchFamily="2" charset="0"/>
                  <a:ea typeface="Roboto Medium" panose="02000000000000000000" pitchFamily="2" charset="0"/>
                  <a:cs typeface="+mn-cs"/>
                </a:rPr>
                <a:t>Satellite data</a:t>
              </a:r>
            </a:p>
          </p:txBody>
        </p:sp>
        <p:sp>
          <p:nvSpPr>
            <p:cNvPr id="38" name="Rectangle 37">
              <a:extLst>
                <a:ext uri="{FF2B5EF4-FFF2-40B4-BE49-F238E27FC236}">
                  <a16:creationId xmlns:a16="http://schemas.microsoft.com/office/drawing/2014/main" id="{CADAD4EC-CB95-4ED5-8DC2-1160486A4000}"/>
                </a:ext>
              </a:extLst>
            </p:cNvPr>
            <p:cNvSpPr/>
            <p:nvPr/>
          </p:nvSpPr>
          <p:spPr>
            <a:xfrm>
              <a:off x="2507352" y="4167072"/>
              <a:ext cx="2706700" cy="420628"/>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600" b="1" i="0" u="none" strike="noStrike" kern="1200" cap="all"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Collect data</a:t>
              </a:r>
            </a:p>
          </p:txBody>
        </p:sp>
        <p:sp>
          <p:nvSpPr>
            <p:cNvPr id="123" name="Rectangle 122">
              <a:extLst>
                <a:ext uri="{FF2B5EF4-FFF2-40B4-BE49-F238E27FC236}">
                  <a16:creationId xmlns:a16="http://schemas.microsoft.com/office/drawing/2014/main" id="{C0A11358-EACA-4893-A29C-8C645540136E}"/>
                </a:ext>
              </a:extLst>
            </p:cNvPr>
            <p:cNvSpPr/>
            <p:nvPr/>
          </p:nvSpPr>
          <p:spPr>
            <a:xfrm>
              <a:off x="10592055" y="5324591"/>
              <a:ext cx="2861121" cy="1458780"/>
            </a:xfrm>
            <a:prstGeom prst="rect">
              <a:avLst/>
            </a:prstGeom>
          </p:spPr>
          <p:txBody>
            <a:bodyPr wrap="square">
              <a:spAutoFit/>
            </a:bodyPr>
            <a:lstStyle/>
            <a:p>
              <a:pPr marL="180000" marR="0" lvl="0" indent="-144000"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Roboto Medium" panose="02000000000000000000" pitchFamily="2" charset="0"/>
                  <a:ea typeface="Roboto Medium" panose="02000000000000000000" pitchFamily="2" charset="0"/>
                  <a:cs typeface="+mn-cs"/>
                </a:rPr>
                <a:t>Full methane emissions dataset</a:t>
              </a:r>
            </a:p>
            <a:p>
              <a:pPr marL="180000" marR="0" lvl="0" indent="-144000"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Roboto Medium" panose="02000000000000000000" pitchFamily="2" charset="0"/>
                  <a:ea typeface="Roboto Medium" panose="02000000000000000000" pitchFamily="2" charset="0"/>
                  <a:cs typeface="+mn-cs"/>
                </a:rPr>
                <a:t>Annual methane report</a:t>
              </a:r>
            </a:p>
            <a:p>
              <a:pPr marL="180000" marR="0" lvl="0" indent="-144000"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Roboto Medium" panose="02000000000000000000" pitchFamily="2" charset="0"/>
                  <a:ea typeface="Roboto Medium" panose="02000000000000000000" pitchFamily="2" charset="0"/>
                  <a:cs typeface="+mn-cs"/>
                </a:rPr>
                <a:t>Direct measurement studies</a:t>
              </a:r>
            </a:p>
            <a:p>
              <a:pPr marL="180000" marR="0" lvl="0" indent="-144000"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Roboto Medium" panose="02000000000000000000" pitchFamily="2" charset="0"/>
                  <a:ea typeface="Roboto Medium" panose="02000000000000000000" pitchFamily="2" charset="0"/>
                  <a:cs typeface="+mn-cs"/>
                </a:rPr>
                <a:t>Science-based implementation support</a:t>
              </a:r>
            </a:p>
          </p:txBody>
        </p:sp>
      </p:grpSp>
      <p:grpSp>
        <p:nvGrpSpPr>
          <p:cNvPr id="44" name="Groupe 43">
            <a:extLst>
              <a:ext uri="{FF2B5EF4-FFF2-40B4-BE49-F238E27FC236}">
                <a16:creationId xmlns:a16="http://schemas.microsoft.com/office/drawing/2014/main" id="{F2CCD3FF-1355-4C84-8AB8-09DCD6A97CF4}"/>
              </a:ext>
            </a:extLst>
          </p:cNvPr>
          <p:cNvGrpSpPr/>
          <p:nvPr/>
        </p:nvGrpSpPr>
        <p:grpSpPr>
          <a:xfrm>
            <a:off x="9149048" y="1744827"/>
            <a:ext cx="2121400" cy="2065044"/>
            <a:chOff x="9305761" y="1501477"/>
            <a:chExt cx="2272290" cy="2211926"/>
          </a:xfrm>
        </p:grpSpPr>
        <p:grpSp>
          <p:nvGrpSpPr>
            <p:cNvPr id="27" name="Graphique 3">
              <a:extLst>
                <a:ext uri="{FF2B5EF4-FFF2-40B4-BE49-F238E27FC236}">
                  <a16:creationId xmlns:a16="http://schemas.microsoft.com/office/drawing/2014/main" id="{E53641CA-A67E-4C2B-8530-A13BF29F5A46}"/>
                </a:ext>
              </a:extLst>
            </p:cNvPr>
            <p:cNvGrpSpPr/>
            <p:nvPr/>
          </p:nvGrpSpPr>
          <p:grpSpPr>
            <a:xfrm>
              <a:off x="9305761" y="1501477"/>
              <a:ext cx="2272290" cy="2211926"/>
              <a:chOff x="8524707" y="2367286"/>
              <a:chExt cx="1405371" cy="1368037"/>
            </a:xfrm>
          </p:grpSpPr>
          <p:grpSp>
            <p:nvGrpSpPr>
              <p:cNvPr id="28" name="Graphique 3">
                <a:extLst>
                  <a:ext uri="{FF2B5EF4-FFF2-40B4-BE49-F238E27FC236}">
                    <a16:creationId xmlns:a16="http://schemas.microsoft.com/office/drawing/2014/main" id="{E53641CA-A67E-4C2B-8530-A13BF29F5A46}"/>
                  </a:ext>
                </a:extLst>
              </p:cNvPr>
              <p:cNvGrpSpPr/>
              <p:nvPr/>
            </p:nvGrpSpPr>
            <p:grpSpPr>
              <a:xfrm>
                <a:off x="8562041" y="2367286"/>
                <a:ext cx="1368037" cy="1368037"/>
                <a:chOff x="8562041" y="2367286"/>
                <a:chExt cx="1368037" cy="1368037"/>
              </a:xfrm>
            </p:grpSpPr>
            <p:sp>
              <p:nvSpPr>
                <p:cNvPr id="29" name="Forme libre : forme 28">
                  <a:extLst>
                    <a:ext uri="{FF2B5EF4-FFF2-40B4-BE49-F238E27FC236}">
                      <a16:creationId xmlns:a16="http://schemas.microsoft.com/office/drawing/2014/main" id="{9340BE01-7638-40AA-96CC-8A60661CCFCD}"/>
                    </a:ext>
                  </a:extLst>
                </p:cNvPr>
                <p:cNvSpPr/>
                <p:nvPr/>
              </p:nvSpPr>
              <p:spPr>
                <a:xfrm>
                  <a:off x="8562041" y="2367286"/>
                  <a:ext cx="1368037" cy="1368037"/>
                </a:xfrm>
                <a:custGeom>
                  <a:avLst/>
                  <a:gdLst>
                    <a:gd name="connsiteX0" fmla="*/ 1368038 w 1368037"/>
                    <a:gd name="connsiteY0" fmla="*/ 684019 h 1368037"/>
                    <a:gd name="connsiteX1" fmla="*/ 684019 w 1368037"/>
                    <a:gd name="connsiteY1" fmla="*/ 1368038 h 1368037"/>
                    <a:gd name="connsiteX2" fmla="*/ 0 w 1368037"/>
                    <a:gd name="connsiteY2" fmla="*/ 684019 h 1368037"/>
                    <a:gd name="connsiteX3" fmla="*/ 684019 w 1368037"/>
                    <a:gd name="connsiteY3" fmla="*/ 0 h 1368037"/>
                    <a:gd name="connsiteX4" fmla="*/ 1368038 w 1368037"/>
                    <a:gd name="connsiteY4" fmla="*/ 684019 h 136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8037" h="1368037">
                      <a:moveTo>
                        <a:pt x="1368038" y="684019"/>
                      </a:moveTo>
                      <a:cubicBezTo>
                        <a:pt x="1368038" y="1061792"/>
                        <a:pt x="1061792" y="1368038"/>
                        <a:pt x="684019" y="1368038"/>
                      </a:cubicBezTo>
                      <a:cubicBezTo>
                        <a:pt x="306246" y="1368038"/>
                        <a:pt x="0" y="1061792"/>
                        <a:pt x="0" y="684019"/>
                      </a:cubicBezTo>
                      <a:cubicBezTo>
                        <a:pt x="0" y="306246"/>
                        <a:pt x="306246" y="0"/>
                        <a:pt x="684019" y="0"/>
                      </a:cubicBezTo>
                      <a:cubicBezTo>
                        <a:pt x="1061793" y="0"/>
                        <a:pt x="1368038" y="306246"/>
                        <a:pt x="1368038" y="684019"/>
                      </a:cubicBezTo>
                      <a:close/>
                    </a:path>
                  </a:pathLst>
                </a:custGeom>
                <a:solidFill>
                  <a:srgbClr val="B0F36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orme libre : forme 29">
                  <a:extLst>
                    <a:ext uri="{FF2B5EF4-FFF2-40B4-BE49-F238E27FC236}">
                      <a16:creationId xmlns:a16="http://schemas.microsoft.com/office/drawing/2014/main" id="{337FA5F4-3059-4191-AC51-FE08EE200E9B}"/>
                    </a:ext>
                  </a:extLst>
                </p:cNvPr>
                <p:cNvSpPr/>
                <p:nvPr/>
              </p:nvSpPr>
              <p:spPr>
                <a:xfrm>
                  <a:off x="8684285" y="2489520"/>
                  <a:ext cx="1123549" cy="1123549"/>
                </a:xfrm>
                <a:custGeom>
                  <a:avLst/>
                  <a:gdLst>
                    <a:gd name="connsiteX0" fmla="*/ 1123550 w 1123549"/>
                    <a:gd name="connsiteY0" fmla="*/ 561775 h 1123549"/>
                    <a:gd name="connsiteX1" fmla="*/ 561775 w 1123549"/>
                    <a:gd name="connsiteY1" fmla="*/ 1123550 h 1123549"/>
                    <a:gd name="connsiteX2" fmla="*/ 0 w 1123549"/>
                    <a:gd name="connsiteY2" fmla="*/ 561775 h 1123549"/>
                    <a:gd name="connsiteX3" fmla="*/ 561775 w 1123549"/>
                    <a:gd name="connsiteY3" fmla="*/ 0 h 1123549"/>
                    <a:gd name="connsiteX4" fmla="*/ 1123550 w 1123549"/>
                    <a:gd name="connsiteY4" fmla="*/ 561775 h 1123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3549" h="1123549">
                      <a:moveTo>
                        <a:pt x="1123550" y="561775"/>
                      </a:moveTo>
                      <a:cubicBezTo>
                        <a:pt x="1123550" y="872035"/>
                        <a:pt x="872034" y="1123550"/>
                        <a:pt x="561775" y="1123550"/>
                      </a:cubicBezTo>
                      <a:cubicBezTo>
                        <a:pt x="251515" y="1123550"/>
                        <a:pt x="0" y="872035"/>
                        <a:pt x="0" y="561775"/>
                      </a:cubicBezTo>
                      <a:cubicBezTo>
                        <a:pt x="0" y="251515"/>
                        <a:pt x="251515" y="0"/>
                        <a:pt x="561775" y="0"/>
                      </a:cubicBezTo>
                      <a:cubicBezTo>
                        <a:pt x="872034" y="0"/>
                        <a:pt x="1123550" y="251515"/>
                        <a:pt x="1123550" y="561775"/>
                      </a:cubicBezTo>
                      <a:close/>
                    </a:path>
                  </a:pathLst>
                </a:custGeom>
                <a:solidFill>
                  <a:srgbClr val="71D01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1" name="Forme libre : forme 30">
                <a:extLst>
                  <a:ext uri="{FF2B5EF4-FFF2-40B4-BE49-F238E27FC236}">
                    <a16:creationId xmlns:a16="http://schemas.microsoft.com/office/drawing/2014/main" id="{699808B2-A718-4F0E-AA52-F5076866B8DD}"/>
                  </a:ext>
                </a:extLst>
              </p:cNvPr>
              <p:cNvSpPr/>
              <p:nvPr/>
            </p:nvSpPr>
            <p:spPr>
              <a:xfrm>
                <a:off x="8524707" y="2525645"/>
                <a:ext cx="185209" cy="182292"/>
              </a:xfrm>
              <a:custGeom>
                <a:avLst/>
                <a:gdLst>
                  <a:gd name="connsiteX0" fmla="*/ 14446 w 185209"/>
                  <a:gd name="connsiteY0" fmla="*/ 108 h 182292"/>
                  <a:gd name="connsiteX1" fmla="*/ 185210 w 185209"/>
                  <a:gd name="connsiteY1" fmla="*/ 22492 h 182292"/>
                  <a:gd name="connsiteX2" fmla="*/ 132079 w 185209"/>
                  <a:gd name="connsiteY2" fmla="*/ 83785 h 182292"/>
                  <a:gd name="connsiteX3" fmla="*/ 69195 w 185209"/>
                  <a:gd name="connsiteY3" fmla="*/ 182293 h 182292"/>
                  <a:gd name="connsiteX4" fmla="*/ 1035 w 185209"/>
                  <a:gd name="connsiteY4" fmla="*/ 17586 h 182292"/>
                  <a:gd name="connsiteX5" fmla="*/ 14446 w 185209"/>
                  <a:gd name="connsiteY5" fmla="*/ 108 h 18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5209" h="182292">
                    <a:moveTo>
                      <a:pt x="14446" y="108"/>
                    </a:moveTo>
                    <a:lnTo>
                      <a:pt x="185210" y="22492"/>
                    </a:lnTo>
                    <a:cubicBezTo>
                      <a:pt x="166465" y="41589"/>
                      <a:pt x="148729" y="62068"/>
                      <a:pt x="132079" y="83785"/>
                    </a:cubicBezTo>
                    <a:cubicBezTo>
                      <a:pt x="107934" y="115275"/>
                      <a:pt x="86893" y="148307"/>
                      <a:pt x="69195" y="182293"/>
                    </a:cubicBezTo>
                    <a:lnTo>
                      <a:pt x="1035" y="17586"/>
                    </a:lnTo>
                    <a:cubicBezTo>
                      <a:pt x="-2804" y="8500"/>
                      <a:pt x="4568" y="-1130"/>
                      <a:pt x="14446" y="108"/>
                    </a:cubicBezTo>
                    <a:close/>
                  </a:path>
                </a:pathLst>
              </a:custGeom>
              <a:solidFill>
                <a:srgbClr val="7DE31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0" name="Rectangle 39">
              <a:extLst>
                <a:ext uri="{FF2B5EF4-FFF2-40B4-BE49-F238E27FC236}">
                  <a16:creationId xmlns:a16="http://schemas.microsoft.com/office/drawing/2014/main" id="{E90FD5CB-D244-4CCB-9CAD-BC580165C350}"/>
                </a:ext>
              </a:extLst>
            </p:cNvPr>
            <p:cNvSpPr/>
            <p:nvPr/>
          </p:nvSpPr>
          <p:spPr>
            <a:xfrm>
              <a:off x="9738621" y="2073105"/>
              <a:ext cx="1475077" cy="89010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all"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Generate final products</a:t>
              </a:r>
            </a:p>
          </p:txBody>
        </p:sp>
      </p:grpSp>
      <p:grpSp>
        <p:nvGrpSpPr>
          <p:cNvPr id="50" name="Groupe 49">
            <a:extLst>
              <a:ext uri="{FF2B5EF4-FFF2-40B4-BE49-F238E27FC236}">
                <a16:creationId xmlns:a16="http://schemas.microsoft.com/office/drawing/2014/main" id="{A9D67557-2139-43B4-8304-1E9CC6C57850}"/>
              </a:ext>
            </a:extLst>
          </p:cNvPr>
          <p:cNvGrpSpPr/>
          <p:nvPr/>
        </p:nvGrpSpPr>
        <p:grpSpPr>
          <a:xfrm>
            <a:off x="2638835" y="2355787"/>
            <a:ext cx="955646" cy="691880"/>
            <a:chOff x="1472723" y="3428965"/>
            <a:chExt cx="1023619" cy="741092"/>
          </a:xfrm>
        </p:grpSpPr>
        <p:sp>
          <p:nvSpPr>
            <p:cNvPr id="51" name="bk object 240">
              <a:extLst>
                <a:ext uri="{FF2B5EF4-FFF2-40B4-BE49-F238E27FC236}">
                  <a16:creationId xmlns:a16="http://schemas.microsoft.com/office/drawing/2014/main" id="{2EBDC09B-1B3A-431B-BC12-CEDBE655CF2F}"/>
                </a:ext>
              </a:extLst>
            </p:cNvPr>
            <p:cNvSpPr/>
            <p:nvPr/>
          </p:nvSpPr>
          <p:spPr>
            <a:xfrm>
              <a:off x="1922489" y="3583482"/>
              <a:ext cx="123189" cy="124460"/>
            </a:xfrm>
            <a:custGeom>
              <a:avLst/>
              <a:gdLst/>
              <a:ahLst/>
              <a:cxnLst/>
              <a:rect l="l" t="t" r="r" b="b"/>
              <a:pathLst>
                <a:path w="123189" h="124460">
                  <a:moveTo>
                    <a:pt x="73570" y="0"/>
                  </a:moveTo>
                  <a:lnTo>
                    <a:pt x="28465" y="10652"/>
                  </a:lnTo>
                  <a:lnTo>
                    <a:pt x="3331" y="39808"/>
                  </a:lnTo>
                  <a:lnTo>
                    <a:pt x="0" y="52258"/>
                  </a:lnTo>
                  <a:lnTo>
                    <a:pt x="1176" y="68861"/>
                  </a:lnTo>
                  <a:lnTo>
                    <a:pt x="19740" y="106952"/>
                  </a:lnTo>
                  <a:lnTo>
                    <a:pt x="54388" y="123930"/>
                  </a:lnTo>
                  <a:lnTo>
                    <a:pt x="62028" y="124394"/>
                  </a:lnTo>
                  <a:lnTo>
                    <a:pt x="76441" y="122730"/>
                  </a:lnTo>
                  <a:lnTo>
                    <a:pt x="89669" y="117992"/>
                  </a:lnTo>
                  <a:lnTo>
                    <a:pt x="101332" y="110558"/>
                  </a:lnTo>
                  <a:lnTo>
                    <a:pt x="104412" y="107468"/>
                  </a:lnTo>
                  <a:lnTo>
                    <a:pt x="65425" y="107468"/>
                  </a:lnTo>
                  <a:lnTo>
                    <a:pt x="50138" y="105450"/>
                  </a:lnTo>
                  <a:lnTo>
                    <a:pt x="37080" y="99678"/>
                  </a:lnTo>
                  <a:lnTo>
                    <a:pt x="26745" y="90785"/>
                  </a:lnTo>
                  <a:lnTo>
                    <a:pt x="19624" y="79404"/>
                  </a:lnTo>
                  <a:lnTo>
                    <a:pt x="16208" y="66168"/>
                  </a:lnTo>
                  <a:lnTo>
                    <a:pt x="18120" y="50519"/>
                  </a:lnTo>
                  <a:lnTo>
                    <a:pt x="43460" y="19469"/>
                  </a:lnTo>
                  <a:lnTo>
                    <a:pt x="62028" y="15492"/>
                  </a:lnTo>
                  <a:lnTo>
                    <a:pt x="102423" y="15492"/>
                  </a:lnTo>
                  <a:lnTo>
                    <a:pt x="96382" y="9909"/>
                  </a:lnTo>
                  <a:lnTo>
                    <a:pt x="85559" y="3688"/>
                  </a:lnTo>
                  <a:lnTo>
                    <a:pt x="73570" y="0"/>
                  </a:lnTo>
                  <a:close/>
                </a:path>
                <a:path w="123189" h="124460">
                  <a:moveTo>
                    <a:pt x="102423" y="15492"/>
                  </a:moveTo>
                  <a:lnTo>
                    <a:pt x="62028" y="15492"/>
                  </a:lnTo>
                  <a:lnTo>
                    <a:pt x="76238" y="17727"/>
                  </a:lnTo>
                  <a:lnTo>
                    <a:pt x="88646" y="23964"/>
                  </a:lnTo>
                  <a:lnTo>
                    <a:pt x="98549" y="33500"/>
                  </a:lnTo>
                  <a:lnTo>
                    <a:pt x="105244" y="45632"/>
                  </a:lnTo>
                  <a:lnTo>
                    <a:pt x="108027" y="59657"/>
                  </a:lnTo>
                  <a:lnTo>
                    <a:pt x="105899" y="74478"/>
                  </a:lnTo>
                  <a:lnTo>
                    <a:pt x="99913" y="87252"/>
                  </a:lnTo>
                  <a:lnTo>
                    <a:pt x="90730" y="97397"/>
                  </a:lnTo>
                  <a:lnTo>
                    <a:pt x="79013" y="104330"/>
                  </a:lnTo>
                  <a:lnTo>
                    <a:pt x="65425" y="107468"/>
                  </a:lnTo>
                  <a:lnTo>
                    <a:pt x="104412" y="107468"/>
                  </a:lnTo>
                  <a:lnTo>
                    <a:pt x="111053" y="100807"/>
                  </a:lnTo>
                  <a:lnTo>
                    <a:pt x="118452" y="89120"/>
                  </a:lnTo>
                  <a:lnTo>
                    <a:pt x="123149" y="75876"/>
                  </a:lnTo>
                  <a:lnTo>
                    <a:pt x="122382" y="58331"/>
                  </a:lnTo>
                  <a:lnTo>
                    <a:pt x="119039" y="42873"/>
                  </a:lnTo>
                  <a:lnTo>
                    <a:pt x="113404" y="29590"/>
                  </a:lnTo>
                  <a:lnTo>
                    <a:pt x="105758" y="18573"/>
                  </a:lnTo>
                  <a:lnTo>
                    <a:pt x="102423" y="15492"/>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bk object 241">
              <a:extLst>
                <a:ext uri="{FF2B5EF4-FFF2-40B4-BE49-F238E27FC236}">
                  <a16:creationId xmlns:a16="http://schemas.microsoft.com/office/drawing/2014/main" id="{00907C0D-DF4E-4967-9F01-E213A1E8ED7B}"/>
                </a:ext>
              </a:extLst>
            </p:cNvPr>
            <p:cNvSpPr/>
            <p:nvPr/>
          </p:nvSpPr>
          <p:spPr>
            <a:xfrm>
              <a:off x="1472723" y="3428965"/>
              <a:ext cx="1023619" cy="440690"/>
            </a:xfrm>
            <a:custGeom>
              <a:avLst/>
              <a:gdLst/>
              <a:ahLst/>
              <a:cxnLst/>
              <a:rect l="l" t="t" r="r" b="b"/>
              <a:pathLst>
                <a:path w="1023619" h="440689">
                  <a:moveTo>
                    <a:pt x="160477" y="22580"/>
                  </a:moveTo>
                  <a:lnTo>
                    <a:pt x="144284" y="22580"/>
                  </a:lnTo>
                  <a:lnTo>
                    <a:pt x="144284" y="41275"/>
                  </a:lnTo>
                  <a:lnTo>
                    <a:pt x="130700" y="45005"/>
                  </a:lnTo>
                  <a:lnTo>
                    <a:pt x="101516" y="72411"/>
                  </a:lnTo>
                  <a:lnTo>
                    <a:pt x="95732" y="163728"/>
                  </a:lnTo>
                  <a:lnTo>
                    <a:pt x="348678" y="196596"/>
                  </a:lnTo>
                  <a:lnTo>
                    <a:pt x="348678" y="319709"/>
                  </a:lnTo>
                  <a:lnTo>
                    <a:pt x="435254" y="319709"/>
                  </a:lnTo>
                  <a:lnTo>
                    <a:pt x="424275" y="327464"/>
                  </a:lnTo>
                  <a:lnTo>
                    <a:pt x="414163" y="336123"/>
                  </a:lnTo>
                  <a:lnTo>
                    <a:pt x="389438" y="366779"/>
                  </a:lnTo>
                  <a:lnTo>
                    <a:pt x="373981" y="402902"/>
                  </a:lnTo>
                  <a:lnTo>
                    <a:pt x="369369" y="429035"/>
                  </a:lnTo>
                  <a:lnTo>
                    <a:pt x="391464" y="440410"/>
                  </a:lnTo>
                  <a:lnTo>
                    <a:pt x="392781" y="426038"/>
                  </a:lnTo>
                  <a:lnTo>
                    <a:pt x="395721" y="412222"/>
                  </a:lnTo>
                  <a:lnTo>
                    <a:pt x="413272" y="375058"/>
                  </a:lnTo>
                  <a:lnTo>
                    <a:pt x="441805" y="346299"/>
                  </a:lnTo>
                  <a:lnTo>
                    <a:pt x="478603" y="328490"/>
                  </a:lnTo>
                  <a:lnTo>
                    <a:pt x="506384" y="323958"/>
                  </a:lnTo>
                  <a:lnTo>
                    <a:pt x="593195" y="323958"/>
                  </a:lnTo>
                  <a:lnTo>
                    <a:pt x="588645" y="320832"/>
                  </a:lnTo>
                  <a:lnTo>
                    <a:pt x="674890" y="320319"/>
                  </a:lnTo>
                  <a:lnTo>
                    <a:pt x="674890" y="297230"/>
                  </a:lnTo>
                  <a:lnTo>
                    <a:pt x="371132" y="297230"/>
                  </a:lnTo>
                  <a:lnTo>
                    <a:pt x="371132" y="176784"/>
                  </a:lnTo>
                  <a:lnTo>
                    <a:pt x="118313" y="143916"/>
                  </a:lnTo>
                  <a:lnTo>
                    <a:pt x="118313" y="119824"/>
                  </a:lnTo>
                  <a:lnTo>
                    <a:pt x="927849" y="119824"/>
                  </a:lnTo>
                  <a:lnTo>
                    <a:pt x="927849" y="96735"/>
                  </a:lnTo>
                  <a:lnTo>
                    <a:pt x="112039" y="96735"/>
                  </a:lnTo>
                  <a:lnTo>
                    <a:pt x="114841" y="82749"/>
                  </a:lnTo>
                  <a:lnTo>
                    <a:pt x="122009" y="70977"/>
                  </a:lnTo>
                  <a:lnTo>
                    <a:pt x="132636" y="62312"/>
                  </a:lnTo>
                  <a:lnTo>
                    <a:pt x="145813" y="57645"/>
                  </a:lnTo>
                  <a:lnTo>
                    <a:pt x="152438" y="57086"/>
                  </a:lnTo>
                  <a:lnTo>
                    <a:pt x="191995" y="57086"/>
                  </a:lnTo>
                  <a:lnTo>
                    <a:pt x="183828" y="50124"/>
                  </a:lnTo>
                  <a:lnTo>
                    <a:pt x="171519" y="43975"/>
                  </a:lnTo>
                  <a:lnTo>
                    <a:pt x="160477" y="22580"/>
                  </a:lnTo>
                  <a:close/>
                </a:path>
                <a:path w="1023619" h="440689">
                  <a:moveTo>
                    <a:pt x="593195" y="323958"/>
                  </a:moveTo>
                  <a:lnTo>
                    <a:pt x="506384" y="323958"/>
                  </a:lnTo>
                  <a:lnTo>
                    <a:pt x="522195" y="325193"/>
                  </a:lnTo>
                  <a:lnTo>
                    <a:pt x="537221" y="327951"/>
                  </a:lnTo>
                  <a:lnTo>
                    <a:pt x="576931" y="344474"/>
                  </a:lnTo>
                  <a:lnTo>
                    <a:pt x="607198" y="371505"/>
                  </a:lnTo>
                  <a:lnTo>
                    <a:pt x="626239" y="406643"/>
                  </a:lnTo>
                  <a:lnTo>
                    <a:pt x="631815" y="433389"/>
                  </a:lnTo>
                  <a:lnTo>
                    <a:pt x="654824" y="440410"/>
                  </a:lnTo>
                  <a:lnTo>
                    <a:pt x="649355" y="401721"/>
                  </a:lnTo>
                  <a:lnTo>
                    <a:pt x="633712" y="366248"/>
                  </a:lnTo>
                  <a:lnTo>
                    <a:pt x="606901" y="334704"/>
                  </a:lnTo>
                  <a:lnTo>
                    <a:pt x="597432" y="326869"/>
                  </a:lnTo>
                  <a:lnTo>
                    <a:pt x="593195" y="323958"/>
                  </a:lnTo>
                  <a:close/>
                </a:path>
                <a:path w="1023619" h="440689">
                  <a:moveTo>
                    <a:pt x="927849" y="119824"/>
                  </a:moveTo>
                  <a:lnTo>
                    <a:pt x="905395" y="119824"/>
                  </a:lnTo>
                  <a:lnTo>
                    <a:pt x="905268" y="144043"/>
                  </a:lnTo>
                  <a:lnTo>
                    <a:pt x="651814" y="176911"/>
                  </a:lnTo>
                  <a:lnTo>
                    <a:pt x="651814" y="297230"/>
                  </a:lnTo>
                  <a:lnTo>
                    <a:pt x="674890" y="297230"/>
                  </a:lnTo>
                  <a:lnTo>
                    <a:pt x="674890" y="196596"/>
                  </a:lnTo>
                  <a:lnTo>
                    <a:pt x="927849" y="163728"/>
                  </a:lnTo>
                  <a:lnTo>
                    <a:pt x="927849" y="119824"/>
                  </a:lnTo>
                  <a:close/>
                </a:path>
                <a:path w="1023619" h="440689">
                  <a:moveTo>
                    <a:pt x="191995" y="57086"/>
                  </a:moveTo>
                  <a:lnTo>
                    <a:pt x="152438" y="57086"/>
                  </a:lnTo>
                  <a:lnTo>
                    <a:pt x="166492" y="59592"/>
                  </a:lnTo>
                  <a:lnTo>
                    <a:pt x="178408" y="66528"/>
                  </a:lnTo>
                  <a:lnTo>
                    <a:pt x="187272" y="76995"/>
                  </a:lnTo>
                  <a:lnTo>
                    <a:pt x="192168" y="90095"/>
                  </a:lnTo>
                  <a:lnTo>
                    <a:pt x="112039" y="96735"/>
                  </a:lnTo>
                  <a:lnTo>
                    <a:pt x="830745" y="96735"/>
                  </a:lnTo>
                  <a:lnTo>
                    <a:pt x="209156" y="96608"/>
                  </a:lnTo>
                  <a:lnTo>
                    <a:pt x="207229" y="82634"/>
                  </a:lnTo>
                  <a:lnTo>
                    <a:pt x="202094" y="69921"/>
                  </a:lnTo>
                  <a:lnTo>
                    <a:pt x="194156" y="58928"/>
                  </a:lnTo>
                  <a:lnTo>
                    <a:pt x="191995" y="57086"/>
                  </a:lnTo>
                  <a:close/>
                </a:path>
                <a:path w="1023619" h="440689">
                  <a:moveTo>
                    <a:pt x="910523" y="56974"/>
                  </a:moveTo>
                  <a:lnTo>
                    <a:pt x="863890" y="56974"/>
                  </a:lnTo>
                  <a:lnTo>
                    <a:pt x="880335" y="58753"/>
                  </a:lnTo>
                  <a:lnTo>
                    <a:pt x="893650" y="64400"/>
                  </a:lnTo>
                  <a:lnTo>
                    <a:pt x="903508" y="73197"/>
                  </a:lnTo>
                  <a:lnTo>
                    <a:pt x="909579" y="84427"/>
                  </a:lnTo>
                  <a:lnTo>
                    <a:pt x="911415" y="96735"/>
                  </a:lnTo>
                  <a:lnTo>
                    <a:pt x="927849" y="96735"/>
                  </a:lnTo>
                  <a:lnTo>
                    <a:pt x="925908" y="82634"/>
                  </a:lnTo>
                  <a:lnTo>
                    <a:pt x="920760" y="69921"/>
                  </a:lnTo>
                  <a:lnTo>
                    <a:pt x="912812" y="58928"/>
                  </a:lnTo>
                  <a:lnTo>
                    <a:pt x="910523" y="56974"/>
                  </a:lnTo>
                  <a:close/>
                </a:path>
                <a:path w="1023619" h="440689">
                  <a:moveTo>
                    <a:pt x="879297" y="22580"/>
                  </a:moveTo>
                  <a:lnTo>
                    <a:pt x="863104" y="22580"/>
                  </a:lnTo>
                  <a:lnTo>
                    <a:pt x="863104" y="41275"/>
                  </a:lnTo>
                  <a:lnTo>
                    <a:pt x="849479" y="45005"/>
                  </a:lnTo>
                  <a:lnTo>
                    <a:pt x="837551" y="51747"/>
                  </a:lnTo>
                  <a:lnTo>
                    <a:pt x="827695" y="61037"/>
                  </a:lnTo>
                  <a:lnTo>
                    <a:pt x="820311" y="72411"/>
                  </a:lnTo>
                  <a:lnTo>
                    <a:pt x="815807" y="85400"/>
                  </a:lnTo>
                  <a:lnTo>
                    <a:pt x="209156" y="96608"/>
                  </a:lnTo>
                  <a:lnTo>
                    <a:pt x="830767" y="96608"/>
                  </a:lnTo>
                  <a:lnTo>
                    <a:pt x="833273" y="82634"/>
                  </a:lnTo>
                  <a:lnTo>
                    <a:pt x="840248" y="70698"/>
                  </a:lnTo>
                  <a:lnTo>
                    <a:pt x="850758" y="61839"/>
                  </a:lnTo>
                  <a:lnTo>
                    <a:pt x="863890" y="56974"/>
                  </a:lnTo>
                  <a:lnTo>
                    <a:pt x="910523" y="56974"/>
                  </a:lnTo>
                  <a:lnTo>
                    <a:pt x="902534" y="50153"/>
                  </a:lnTo>
                  <a:lnTo>
                    <a:pt x="890231" y="43975"/>
                  </a:lnTo>
                  <a:lnTo>
                    <a:pt x="879297" y="22580"/>
                  </a:lnTo>
                  <a:close/>
                </a:path>
                <a:path w="1023619" h="440689">
                  <a:moveTo>
                    <a:pt x="304761" y="0"/>
                  </a:moveTo>
                  <a:lnTo>
                    <a:pt x="0" y="0"/>
                  </a:lnTo>
                  <a:lnTo>
                    <a:pt x="0" y="22580"/>
                  </a:lnTo>
                  <a:lnTo>
                    <a:pt x="304761" y="22580"/>
                  </a:lnTo>
                  <a:lnTo>
                    <a:pt x="304761" y="0"/>
                  </a:lnTo>
                  <a:close/>
                </a:path>
                <a:path w="1023619" h="440689">
                  <a:moveTo>
                    <a:pt x="1023594" y="0"/>
                  </a:moveTo>
                  <a:lnTo>
                    <a:pt x="718693" y="0"/>
                  </a:lnTo>
                  <a:lnTo>
                    <a:pt x="718693" y="22580"/>
                  </a:lnTo>
                  <a:lnTo>
                    <a:pt x="1023594" y="22580"/>
                  </a:lnTo>
                  <a:lnTo>
                    <a:pt x="1023594"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bk object 242">
              <a:extLst>
                <a:ext uri="{FF2B5EF4-FFF2-40B4-BE49-F238E27FC236}">
                  <a16:creationId xmlns:a16="http://schemas.microsoft.com/office/drawing/2014/main" id="{D7D3F128-652B-43E1-A8A7-CD8B9FC51923}"/>
                </a:ext>
              </a:extLst>
            </p:cNvPr>
            <p:cNvSpPr/>
            <p:nvPr/>
          </p:nvSpPr>
          <p:spPr>
            <a:xfrm>
              <a:off x="2073349" y="3568229"/>
              <a:ext cx="30480" cy="30480"/>
            </a:xfrm>
            <a:custGeom>
              <a:avLst/>
              <a:gdLst/>
              <a:ahLst/>
              <a:cxnLst/>
              <a:rect l="l" t="t" r="r" b="b"/>
              <a:pathLst>
                <a:path w="30480" h="30479">
                  <a:moveTo>
                    <a:pt x="23368" y="0"/>
                  </a:moveTo>
                  <a:lnTo>
                    <a:pt x="6743" y="0"/>
                  </a:lnTo>
                  <a:lnTo>
                    <a:pt x="0" y="6743"/>
                  </a:lnTo>
                  <a:lnTo>
                    <a:pt x="0" y="23380"/>
                  </a:lnTo>
                  <a:lnTo>
                    <a:pt x="6743" y="30111"/>
                  </a:lnTo>
                  <a:lnTo>
                    <a:pt x="23368" y="30111"/>
                  </a:lnTo>
                  <a:lnTo>
                    <a:pt x="30111" y="23380"/>
                  </a:lnTo>
                  <a:lnTo>
                    <a:pt x="30111" y="6743"/>
                  </a:lnTo>
                  <a:lnTo>
                    <a:pt x="23368"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bk object 243">
              <a:extLst>
                <a:ext uri="{FF2B5EF4-FFF2-40B4-BE49-F238E27FC236}">
                  <a16:creationId xmlns:a16="http://schemas.microsoft.com/office/drawing/2014/main" id="{225DADB0-DA57-4508-A79E-BE1BA0B78399}"/>
                </a:ext>
              </a:extLst>
            </p:cNvPr>
            <p:cNvSpPr/>
            <p:nvPr/>
          </p:nvSpPr>
          <p:spPr>
            <a:xfrm>
              <a:off x="1984518" y="3612965"/>
              <a:ext cx="34925" cy="67945"/>
            </a:xfrm>
            <a:custGeom>
              <a:avLst/>
              <a:gdLst/>
              <a:ahLst/>
              <a:cxnLst/>
              <a:rect l="l" t="t" r="r" b="b"/>
              <a:pathLst>
                <a:path w="34925" h="67945">
                  <a:moveTo>
                    <a:pt x="12429" y="0"/>
                  </a:moveTo>
                  <a:lnTo>
                    <a:pt x="0" y="13987"/>
                  </a:lnTo>
                  <a:lnTo>
                    <a:pt x="12827" y="19036"/>
                  </a:lnTo>
                  <a:lnTo>
                    <a:pt x="18768" y="31395"/>
                  </a:lnTo>
                  <a:lnTo>
                    <a:pt x="14107" y="45030"/>
                  </a:lnTo>
                  <a:lnTo>
                    <a:pt x="2505" y="51451"/>
                  </a:lnTo>
                  <a:lnTo>
                    <a:pt x="0" y="67937"/>
                  </a:lnTo>
                  <a:lnTo>
                    <a:pt x="13951" y="65037"/>
                  </a:lnTo>
                  <a:lnTo>
                    <a:pt x="25226" y="57153"/>
                  </a:lnTo>
                  <a:lnTo>
                    <a:pt x="32599" y="45509"/>
                  </a:lnTo>
                  <a:lnTo>
                    <a:pt x="34886" y="32554"/>
                  </a:lnTo>
                  <a:lnTo>
                    <a:pt x="31948" y="18627"/>
                  </a:lnTo>
                  <a:lnTo>
                    <a:pt x="24059" y="7373"/>
                  </a:lnTo>
                  <a:lnTo>
                    <a:pt x="12429"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bk object 244">
              <a:extLst>
                <a:ext uri="{FF2B5EF4-FFF2-40B4-BE49-F238E27FC236}">
                  <a16:creationId xmlns:a16="http://schemas.microsoft.com/office/drawing/2014/main" id="{3EA38235-339A-423B-82FA-BC8DAE21C88D}"/>
                </a:ext>
              </a:extLst>
            </p:cNvPr>
            <p:cNvSpPr/>
            <p:nvPr/>
          </p:nvSpPr>
          <p:spPr>
            <a:xfrm>
              <a:off x="1952664" y="3840197"/>
              <a:ext cx="67310" cy="68580"/>
            </a:xfrm>
            <a:custGeom>
              <a:avLst/>
              <a:gdLst/>
              <a:ahLst/>
              <a:cxnLst/>
              <a:rect l="l" t="t" r="r" b="b"/>
              <a:pathLst>
                <a:path w="67310" h="68579">
                  <a:moveTo>
                    <a:pt x="24216" y="0"/>
                  </a:moveTo>
                  <a:lnTo>
                    <a:pt x="13792" y="5091"/>
                  </a:lnTo>
                  <a:lnTo>
                    <a:pt x="5736" y="14430"/>
                  </a:lnTo>
                  <a:lnTo>
                    <a:pt x="865" y="28024"/>
                  </a:lnTo>
                  <a:lnTo>
                    <a:pt x="0" y="45886"/>
                  </a:lnTo>
                  <a:lnTo>
                    <a:pt x="7325" y="57568"/>
                  </a:lnTo>
                  <a:lnTo>
                    <a:pt x="18577" y="65493"/>
                  </a:lnTo>
                  <a:lnTo>
                    <a:pt x="32510" y="68412"/>
                  </a:lnTo>
                  <a:lnTo>
                    <a:pt x="35038" y="68321"/>
                  </a:lnTo>
                  <a:lnTo>
                    <a:pt x="47643" y="64816"/>
                  </a:lnTo>
                  <a:lnTo>
                    <a:pt x="57820" y="56639"/>
                  </a:lnTo>
                  <a:lnTo>
                    <a:pt x="64556" y="44347"/>
                  </a:lnTo>
                  <a:lnTo>
                    <a:pt x="66839" y="28502"/>
                  </a:lnTo>
                  <a:lnTo>
                    <a:pt x="62598" y="16874"/>
                  </a:lnTo>
                  <a:lnTo>
                    <a:pt x="53907" y="7636"/>
                  </a:lnTo>
                  <a:lnTo>
                    <a:pt x="41027" y="1706"/>
                  </a:lnTo>
                  <a:lnTo>
                    <a:pt x="24216"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bk object 245">
              <a:extLst>
                <a:ext uri="{FF2B5EF4-FFF2-40B4-BE49-F238E27FC236}">
                  <a16:creationId xmlns:a16="http://schemas.microsoft.com/office/drawing/2014/main" id="{68A73458-6D49-44D7-8092-99195EB0811F}"/>
                </a:ext>
              </a:extLst>
            </p:cNvPr>
            <p:cNvSpPr/>
            <p:nvPr/>
          </p:nvSpPr>
          <p:spPr>
            <a:xfrm>
              <a:off x="1836197" y="3996884"/>
              <a:ext cx="299085" cy="83820"/>
            </a:xfrm>
            <a:custGeom>
              <a:avLst/>
              <a:gdLst/>
              <a:ahLst/>
              <a:cxnLst/>
              <a:rect l="l" t="t" r="r" b="b"/>
              <a:pathLst>
                <a:path w="299085" h="83820">
                  <a:moveTo>
                    <a:pt x="15513" y="622"/>
                  </a:moveTo>
                  <a:lnTo>
                    <a:pt x="8541" y="622"/>
                  </a:lnTo>
                  <a:lnTo>
                    <a:pt x="5391" y="1993"/>
                  </a:lnTo>
                  <a:lnTo>
                    <a:pt x="2368" y="5457"/>
                  </a:lnTo>
                  <a:lnTo>
                    <a:pt x="0" y="14931"/>
                  </a:lnTo>
                  <a:lnTo>
                    <a:pt x="7213" y="26922"/>
                  </a:lnTo>
                  <a:lnTo>
                    <a:pt x="38108" y="51109"/>
                  </a:lnTo>
                  <a:lnTo>
                    <a:pt x="72570" y="68794"/>
                  </a:lnTo>
                  <a:lnTo>
                    <a:pt x="109795" y="79646"/>
                  </a:lnTo>
                  <a:lnTo>
                    <a:pt x="148978" y="83337"/>
                  </a:lnTo>
                  <a:lnTo>
                    <a:pt x="154758" y="83258"/>
                  </a:lnTo>
                  <a:lnTo>
                    <a:pt x="193703" y="78508"/>
                  </a:lnTo>
                  <a:lnTo>
                    <a:pt x="230576" y="66644"/>
                  </a:lnTo>
                  <a:lnTo>
                    <a:pt x="250303" y="56759"/>
                  </a:lnTo>
                  <a:lnTo>
                    <a:pt x="137638" y="56759"/>
                  </a:lnTo>
                  <a:lnTo>
                    <a:pt x="124656" y="55482"/>
                  </a:lnTo>
                  <a:lnTo>
                    <a:pt x="87055" y="46201"/>
                  </a:lnTo>
                  <a:lnTo>
                    <a:pt x="52287" y="29087"/>
                  </a:lnTo>
                  <a:lnTo>
                    <a:pt x="21406" y="4572"/>
                  </a:lnTo>
                  <a:lnTo>
                    <a:pt x="18853" y="2032"/>
                  </a:lnTo>
                  <a:lnTo>
                    <a:pt x="15513" y="622"/>
                  </a:lnTo>
                  <a:close/>
                </a:path>
                <a:path w="299085" h="83820">
                  <a:moveTo>
                    <a:pt x="288995" y="0"/>
                  </a:moveTo>
                  <a:lnTo>
                    <a:pt x="282023" y="0"/>
                  </a:lnTo>
                  <a:lnTo>
                    <a:pt x="278886" y="1371"/>
                  </a:lnTo>
                  <a:lnTo>
                    <a:pt x="270099" y="10110"/>
                  </a:lnTo>
                  <a:lnTo>
                    <a:pt x="260731" y="18049"/>
                  </a:lnTo>
                  <a:lnTo>
                    <a:pt x="218133" y="42695"/>
                  </a:lnTo>
                  <a:lnTo>
                    <a:pt x="180491" y="53314"/>
                  </a:lnTo>
                  <a:lnTo>
                    <a:pt x="137638" y="56759"/>
                  </a:lnTo>
                  <a:lnTo>
                    <a:pt x="250303" y="56759"/>
                  </a:lnTo>
                  <a:lnTo>
                    <a:pt x="285241" y="31961"/>
                  </a:lnTo>
                  <a:lnTo>
                    <a:pt x="298520" y="17411"/>
                  </a:lnTo>
                  <a:lnTo>
                    <a:pt x="298520" y="9448"/>
                  </a:lnTo>
                  <a:lnTo>
                    <a:pt x="297377" y="6426"/>
                  </a:lnTo>
                  <a:lnTo>
                    <a:pt x="292335" y="1397"/>
                  </a:lnTo>
                  <a:lnTo>
                    <a:pt x="288995"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bk object 246">
              <a:extLst>
                <a:ext uri="{FF2B5EF4-FFF2-40B4-BE49-F238E27FC236}">
                  <a16:creationId xmlns:a16="http://schemas.microsoft.com/office/drawing/2014/main" id="{875D6C94-3FEF-44CE-85AB-EF35522EB8D4}"/>
                </a:ext>
              </a:extLst>
            </p:cNvPr>
            <p:cNvSpPr/>
            <p:nvPr/>
          </p:nvSpPr>
          <p:spPr>
            <a:xfrm>
              <a:off x="1771003" y="4060202"/>
              <a:ext cx="427355" cy="109855"/>
            </a:xfrm>
            <a:custGeom>
              <a:avLst/>
              <a:gdLst/>
              <a:ahLst/>
              <a:cxnLst/>
              <a:rect l="l" t="t" r="r" b="b"/>
              <a:pathLst>
                <a:path w="427355" h="109854">
                  <a:moveTo>
                    <a:pt x="15671" y="901"/>
                  </a:moveTo>
                  <a:lnTo>
                    <a:pt x="8978" y="901"/>
                  </a:lnTo>
                  <a:lnTo>
                    <a:pt x="6057" y="2159"/>
                  </a:lnTo>
                  <a:lnTo>
                    <a:pt x="1562" y="7162"/>
                  </a:lnTo>
                  <a:lnTo>
                    <a:pt x="127" y="10744"/>
                  </a:lnTo>
                  <a:lnTo>
                    <a:pt x="0" y="17627"/>
                  </a:lnTo>
                  <a:lnTo>
                    <a:pt x="1168" y="20434"/>
                  </a:lnTo>
                  <a:lnTo>
                    <a:pt x="32232" y="47855"/>
                  </a:lnTo>
                  <a:lnTo>
                    <a:pt x="64571" y="69663"/>
                  </a:lnTo>
                  <a:lnTo>
                    <a:pt x="99262" y="86906"/>
                  </a:lnTo>
                  <a:lnTo>
                    <a:pt x="135919" y="99421"/>
                  </a:lnTo>
                  <a:lnTo>
                    <a:pt x="174153" y="107048"/>
                  </a:lnTo>
                  <a:lnTo>
                    <a:pt x="213575" y="109626"/>
                  </a:lnTo>
                  <a:lnTo>
                    <a:pt x="225391" y="109397"/>
                  </a:lnTo>
                  <a:lnTo>
                    <a:pt x="264503" y="105301"/>
                  </a:lnTo>
                  <a:lnTo>
                    <a:pt x="302310" y="96204"/>
                  </a:lnTo>
                  <a:lnTo>
                    <a:pt x="334674" y="83906"/>
                  </a:lnTo>
                  <a:lnTo>
                    <a:pt x="208850" y="83906"/>
                  </a:lnTo>
                  <a:lnTo>
                    <a:pt x="195741" y="83368"/>
                  </a:lnTo>
                  <a:lnTo>
                    <a:pt x="157121" y="78061"/>
                  </a:lnTo>
                  <a:lnTo>
                    <a:pt x="119920" y="67362"/>
                  </a:lnTo>
                  <a:lnTo>
                    <a:pt x="84603" y="51463"/>
                  </a:lnTo>
                  <a:lnTo>
                    <a:pt x="51634" y="30554"/>
                  </a:lnTo>
                  <a:lnTo>
                    <a:pt x="21475" y="4826"/>
                  </a:lnTo>
                  <a:lnTo>
                    <a:pt x="18961" y="2298"/>
                  </a:lnTo>
                  <a:lnTo>
                    <a:pt x="15671" y="901"/>
                  </a:lnTo>
                  <a:close/>
                </a:path>
                <a:path w="427355" h="109854">
                  <a:moveTo>
                    <a:pt x="417677" y="0"/>
                  </a:moveTo>
                  <a:lnTo>
                    <a:pt x="410908" y="0"/>
                  </a:lnTo>
                  <a:lnTo>
                    <a:pt x="408051" y="1295"/>
                  </a:lnTo>
                  <a:lnTo>
                    <a:pt x="398808" y="10540"/>
                  </a:lnTo>
                  <a:lnTo>
                    <a:pt x="389125" y="19178"/>
                  </a:lnTo>
                  <a:lnTo>
                    <a:pt x="358083" y="42011"/>
                  </a:lnTo>
                  <a:lnTo>
                    <a:pt x="324262" y="60083"/>
                  </a:lnTo>
                  <a:lnTo>
                    <a:pt x="287936" y="73211"/>
                  </a:lnTo>
                  <a:lnTo>
                    <a:pt x="249374" y="81213"/>
                  </a:lnTo>
                  <a:lnTo>
                    <a:pt x="208850" y="83906"/>
                  </a:lnTo>
                  <a:lnTo>
                    <a:pt x="334674" y="83906"/>
                  </a:lnTo>
                  <a:lnTo>
                    <a:pt x="372455" y="63648"/>
                  </a:lnTo>
                  <a:lnTo>
                    <a:pt x="404017" y="40512"/>
                  </a:lnTo>
                  <a:lnTo>
                    <a:pt x="426974" y="9169"/>
                  </a:lnTo>
                  <a:lnTo>
                    <a:pt x="425932" y="6362"/>
                  </a:lnTo>
                  <a:lnTo>
                    <a:pt x="420979" y="1397"/>
                  </a:lnTo>
                  <a:lnTo>
                    <a:pt x="417677"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bk object 247">
              <a:extLst>
                <a:ext uri="{FF2B5EF4-FFF2-40B4-BE49-F238E27FC236}">
                  <a16:creationId xmlns:a16="http://schemas.microsoft.com/office/drawing/2014/main" id="{2390557C-E5BE-4608-A315-0CE0424BC263}"/>
                </a:ext>
              </a:extLst>
            </p:cNvPr>
            <p:cNvSpPr/>
            <p:nvPr/>
          </p:nvSpPr>
          <p:spPr>
            <a:xfrm>
              <a:off x="1896965" y="3935147"/>
              <a:ext cx="177165" cy="58419"/>
            </a:xfrm>
            <a:custGeom>
              <a:avLst/>
              <a:gdLst/>
              <a:ahLst/>
              <a:cxnLst/>
              <a:rect l="l" t="t" r="r" b="b"/>
              <a:pathLst>
                <a:path w="177164" h="58420">
                  <a:moveTo>
                    <a:pt x="16865" y="546"/>
                  </a:moveTo>
                  <a:lnTo>
                    <a:pt x="9690" y="546"/>
                  </a:lnTo>
                  <a:lnTo>
                    <a:pt x="6413" y="1955"/>
                  </a:lnTo>
                  <a:lnTo>
                    <a:pt x="4038" y="4571"/>
                  </a:lnTo>
                  <a:lnTo>
                    <a:pt x="1435" y="7175"/>
                  </a:lnTo>
                  <a:lnTo>
                    <a:pt x="0" y="10718"/>
                  </a:lnTo>
                  <a:lnTo>
                    <a:pt x="177" y="17627"/>
                  </a:lnTo>
                  <a:lnTo>
                    <a:pt x="1549" y="20662"/>
                  </a:lnTo>
                  <a:lnTo>
                    <a:pt x="38035" y="46763"/>
                  </a:lnTo>
                  <a:lnTo>
                    <a:pt x="75341" y="57161"/>
                  </a:lnTo>
                  <a:lnTo>
                    <a:pt x="88518" y="57873"/>
                  </a:lnTo>
                  <a:lnTo>
                    <a:pt x="91169" y="57845"/>
                  </a:lnTo>
                  <a:lnTo>
                    <a:pt x="129458" y="50715"/>
                  </a:lnTo>
                  <a:lnTo>
                    <a:pt x="163184" y="31703"/>
                  </a:lnTo>
                  <a:lnTo>
                    <a:pt x="164292" y="30709"/>
                  </a:lnTo>
                  <a:lnTo>
                    <a:pt x="81004" y="30709"/>
                  </a:lnTo>
                  <a:lnTo>
                    <a:pt x="68018" y="28743"/>
                  </a:lnTo>
                  <a:lnTo>
                    <a:pt x="55587" y="25035"/>
                  </a:lnTo>
                  <a:lnTo>
                    <a:pt x="43864" y="19651"/>
                  </a:lnTo>
                  <a:lnTo>
                    <a:pt x="33006" y="12660"/>
                  </a:lnTo>
                  <a:lnTo>
                    <a:pt x="23164" y="4127"/>
                  </a:lnTo>
                  <a:lnTo>
                    <a:pt x="20345" y="1816"/>
                  </a:lnTo>
                  <a:lnTo>
                    <a:pt x="16865" y="546"/>
                  </a:lnTo>
                  <a:close/>
                </a:path>
                <a:path w="177164" h="58420">
                  <a:moveTo>
                    <a:pt x="167106" y="0"/>
                  </a:moveTo>
                  <a:lnTo>
                    <a:pt x="160147" y="0"/>
                  </a:lnTo>
                  <a:lnTo>
                    <a:pt x="156997" y="1384"/>
                  </a:lnTo>
                  <a:lnTo>
                    <a:pt x="153061" y="5534"/>
                  </a:lnTo>
                  <a:lnTo>
                    <a:pt x="143933" y="13133"/>
                  </a:lnTo>
                  <a:lnTo>
                    <a:pt x="96192" y="30094"/>
                  </a:lnTo>
                  <a:lnTo>
                    <a:pt x="81004" y="30709"/>
                  </a:lnTo>
                  <a:lnTo>
                    <a:pt x="164292" y="30709"/>
                  </a:lnTo>
                  <a:lnTo>
                    <a:pt x="172999" y="22898"/>
                  </a:lnTo>
                  <a:lnTo>
                    <a:pt x="175488" y="20421"/>
                  </a:lnTo>
                  <a:lnTo>
                    <a:pt x="176556" y="17627"/>
                  </a:lnTo>
                  <a:lnTo>
                    <a:pt x="176644" y="9448"/>
                  </a:lnTo>
                  <a:lnTo>
                    <a:pt x="175488" y="6451"/>
                  </a:lnTo>
                  <a:lnTo>
                    <a:pt x="170459" y="1422"/>
                  </a:lnTo>
                  <a:lnTo>
                    <a:pt x="167106"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0" name="Groupe 59">
            <a:extLst>
              <a:ext uri="{FF2B5EF4-FFF2-40B4-BE49-F238E27FC236}">
                <a16:creationId xmlns:a16="http://schemas.microsoft.com/office/drawing/2014/main" id="{23B3071E-D249-4CFA-9C08-87B1D0152D78}"/>
              </a:ext>
            </a:extLst>
          </p:cNvPr>
          <p:cNvGrpSpPr/>
          <p:nvPr/>
        </p:nvGrpSpPr>
        <p:grpSpPr>
          <a:xfrm>
            <a:off x="3860146" y="2583814"/>
            <a:ext cx="504501" cy="696581"/>
            <a:chOff x="1714343" y="2513927"/>
            <a:chExt cx="540385" cy="746125"/>
          </a:xfrm>
        </p:grpSpPr>
        <p:sp>
          <p:nvSpPr>
            <p:cNvPr id="61" name="bk object 249">
              <a:extLst>
                <a:ext uri="{FF2B5EF4-FFF2-40B4-BE49-F238E27FC236}">
                  <a16:creationId xmlns:a16="http://schemas.microsoft.com/office/drawing/2014/main" id="{6E97483D-178F-4D27-B862-7CB12DF5F06C}"/>
                </a:ext>
              </a:extLst>
            </p:cNvPr>
            <p:cNvSpPr/>
            <p:nvPr/>
          </p:nvSpPr>
          <p:spPr>
            <a:xfrm>
              <a:off x="1714343" y="2513927"/>
              <a:ext cx="540385" cy="746125"/>
            </a:xfrm>
            <a:custGeom>
              <a:avLst/>
              <a:gdLst/>
              <a:ahLst/>
              <a:cxnLst/>
              <a:rect l="l" t="t" r="r" b="b"/>
              <a:pathLst>
                <a:path w="540385" h="746125">
                  <a:moveTo>
                    <a:pt x="5232" y="0"/>
                  </a:moveTo>
                  <a:lnTo>
                    <a:pt x="0" y="5232"/>
                  </a:lnTo>
                  <a:lnTo>
                    <a:pt x="0" y="740575"/>
                  </a:lnTo>
                  <a:lnTo>
                    <a:pt x="5232" y="745794"/>
                  </a:lnTo>
                  <a:lnTo>
                    <a:pt x="535127" y="745794"/>
                  </a:lnTo>
                  <a:lnTo>
                    <a:pt x="540346" y="740575"/>
                  </a:lnTo>
                  <a:lnTo>
                    <a:pt x="540344" y="722502"/>
                  </a:lnTo>
                  <a:lnTo>
                    <a:pt x="23291" y="722502"/>
                  </a:lnTo>
                  <a:lnTo>
                    <a:pt x="23291" y="23291"/>
                  </a:lnTo>
                  <a:lnTo>
                    <a:pt x="436966" y="23291"/>
                  </a:lnTo>
                  <a:lnTo>
                    <a:pt x="417194" y="3517"/>
                  </a:lnTo>
                  <a:lnTo>
                    <a:pt x="410514" y="139"/>
                  </a:lnTo>
                  <a:lnTo>
                    <a:pt x="5232" y="0"/>
                  </a:lnTo>
                  <a:close/>
                </a:path>
                <a:path w="540385" h="746125">
                  <a:moveTo>
                    <a:pt x="436966" y="23291"/>
                  </a:moveTo>
                  <a:lnTo>
                    <a:pt x="397217" y="23291"/>
                  </a:lnTo>
                  <a:lnTo>
                    <a:pt x="397217" y="137921"/>
                  </a:lnTo>
                  <a:lnTo>
                    <a:pt x="402437" y="143141"/>
                  </a:lnTo>
                  <a:lnTo>
                    <a:pt x="517067" y="143141"/>
                  </a:lnTo>
                  <a:lnTo>
                    <a:pt x="517067" y="722502"/>
                  </a:lnTo>
                  <a:lnTo>
                    <a:pt x="540344" y="722502"/>
                  </a:lnTo>
                  <a:lnTo>
                    <a:pt x="540257" y="130086"/>
                  </a:lnTo>
                  <a:lnTo>
                    <a:pt x="533527" y="119862"/>
                  </a:lnTo>
                  <a:lnTo>
                    <a:pt x="420496" y="119862"/>
                  </a:lnTo>
                  <a:lnTo>
                    <a:pt x="420496" y="39750"/>
                  </a:lnTo>
                  <a:lnTo>
                    <a:pt x="453424" y="39750"/>
                  </a:lnTo>
                  <a:lnTo>
                    <a:pt x="436966" y="23291"/>
                  </a:lnTo>
                  <a:close/>
                </a:path>
                <a:path w="540385" h="746125">
                  <a:moveTo>
                    <a:pt x="453424" y="39750"/>
                  </a:moveTo>
                  <a:lnTo>
                    <a:pt x="420496" y="39750"/>
                  </a:lnTo>
                  <a:lnTo>
                    <a:pt x="500583" y="119862"/>
                  </a:lnTo>
                  <a:lnTo>
                    <a:pt x="533527" y="119862"/>
                  </a:lnTo>
                  <a:lnTo>
                    <a:pt x="453424" y="3975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bk object 250">
              <a:extLst>
                <a:ext uri="{FF2B5EF4-FFF2-40B4-BE49-F238E27FC236}">
                  <a16:creationId xmlns:a16="http://schemas.microsoft.com/office/drawing/2014/main" id="{C016CDBA-D873-4566-8752-3D344542876B}"/>
                </a:ext>
              </a:extLst>
            </p:cNvPr>
            <p:cNvSpPr/>
            <p:nvPr/>
          </p:nvSpPr>
          <p:spPr>
            <a:xfrm>
              <a:off x="1826738" y="3024785"/>
              <a:ext cx="139065" cy="27305"/>
            </a:xfrm>
            <a:custGeom>
              <a:avLst/>
              <a:gdLst/>
              <a:ahLst/>
              <a:cxnLst/>
              <a:rect l="l" t="t" r="r" b="b"/>
              <a:pathLst>
                <a:path w="139064" h="27305">
                  <a:moveTo>
                    <a:pt x="133349" y="0"/>
                  </a:moveTo>
                  <a:lnTo>
                    <a:pt x="5473" y="0"/>
                  </a:lnTo>
                  <a:lnTo>
                    <a:pt x="0" y="5816"/>
                  </a:lnTo>
                  <a:lnTo>
                    <a:pt x="0" y="21628"/>
                  </a:lnTo>
                  <a:lnTo>
                    <a:pt x="5245" y="26873"/>
                  </a:lnTo>
                  <a:lnTo>
                    <a:pt x="133591" y="26873"/>
                  </a:lnTo>
                  <a:lnTo>
                    <a:pt x="138836" y="21628"/>
                  </a:lnTo>
                  <a:lnTo>
                    <a:pt x="138836" y="5816"/>
                  </a:lnTo>
                  <a:lnTo>
                    <a:pt x="133349"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bk object 251">
              <a:extLst>
                <a:ext uri="{FF2B5EF4-FFF2-40B4-BE49-F238E27FC236}">
                  <a16:creationId xmlns:a16="http://schemas.microsoft.com/office/drawing/2014/main" id="{F0FC5553-A522-4357-A50A-993F2F8780A3}"/>
                </a:ext>
              </a:extLst>
            </p:cNvPr>
            <p:cNvSpPr/>
            <p:nvPr/>
          </p:nvSpPr>
          <p:spPr>
            <a:xfrm>
              <a:off x="1826738" y="3100465"/>
              <a:ext cx="139065" cy="27305"/>
            </a:xfrm>
            <a:custGeom>
              <a:avLst/>
              <a:gdLst/>
              <a:ahLst/>
              <a:cxnLst/>
              <a:rect l="l" t="t" r="r" b="b"/>
              <a:pathLst>
                <a:path w="139064" h="27305">
                  <a:moveTo>
                    <a:pt x="133349" y="0"/>
                  </a:moveTo>
                  <a:lnTo>
                    <a:pt x="5473" y="0"/>
                  </a:lnTo>
                  <a:lnTo>
                    <a:pt x="0" y="5803"/>
                  </a:lnTo>
                  <a:lnTo>
                    <a:pt x="0" y="21628"/>
                  </a:lnTo>
                  <a:lnTo>
                    <a:pt x="5245" y="26873"/>
                  </a:lnTo>
                  <a:lnTo>
                    <a:pt x="133591" y="26873"/>
                  </a:lnTo>
                  <a:lnTo>
                    <a:pt x="138836" y="21628"/>
                  </a:lnTo>
                  <a:lnTo>
                    <a:pt x="138836" y="5803"/>
                  </a:lnTo>
                  <a:lnTo>
                    <a:pt x="133349"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bk object 252">
              <a:extLst>
                <a:ext uri="{FF2B5EF4-FFF2-40B4-BE49-F238E27FC236}">
                  <a16:creationId xmlns:a16="http://schemas.microsoft.com/office/drawing/2014/main" id="{69886CDB-60EF-41D0-A094-26CB5D90901A}"/>
                </a:ext>
              </a:extLst>
            </p:cNvPr>
            <p:cNvSpPr/>
            <p:nvPr/>
          </p:nvSpPr>
          <p:spPr>
            <a:xfrm>
              <a:off x="1826738" y="2962543"/>
              <a:ext cx="313055" cy="0"/>
            </a:xfrm>
            <a:custGeom>
              <a:avLst/>
              <a:gdLst/>
              <a:ahLst/>
              <a:cxnLst/>
              <a:rect l="l" t="t" r="r" b="b"/>
              <a:pathLst>
                <a:path w="313055">
                  <a:moveTo>
                    <a:pt x="0" y="0"/>
                  </a:moveTo>
                  <a:lnTo>
                    <a:pt x="312889" y="0"/>
                  </a:lnTo>
                </a:path>
              </a:pathLst>
            </a:custGeom>
            <a:ln w="2815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bk object 253">
              <a:extLst>
                <a:ext uri="{FF2B5EF4-FFF2-40B4-BE49-F238E27FC236}">
                  <a16:creationId xmlns:a16="http://schemas.microsoft.com/office/drawing/2014/main" id="{4C27145C-916C-4EA3-BE99-ED990D362DE3}"/>
                </a:ext>
              </a:extLst>
            </p:cNvPr>
            <p:cNvSpPr/>
            <p:nvPr/>
          </p:nvSpPr>
          <p:spPr>
            <a:xfrm>
              <a:off x="2000780" y="3024785"/>
              <a:ext cx="139065" cy="27305"/>
            </a:xfrm>
            <a:custGeom>
              <a:avLst/>
              <a:gdLst/>
              <a:ahLst/>
              <a:cxnLst/>
              <a:rect l="l" t="t" r="r" b="b"/>
              <a:pathLst>
                <a:path w="139064" h="27305">
                  <a:moveTo>
                    <a:pt x="133362" y="0"/>
                  </a:moveTo>
                  <a:lnTo>
                    <a:pt x="5486" y="0"/>
                  </a:lnTo>
                  <a:lnTo>
                    <a:pt x="0" y="5816"/>
                  </a:lnTo>
                  <a:lnTo>
                    <a:pt x="0" y="21628"/>
                  </a:lnTo>
                  <a:lnTo>
                    <a:pt x="5245" y="26873"/>
                  </a:lnTo>
                  <a:lnTo>
                    <a:pt x="133603" y="26873"/>
                  </a:lnTo>
                  <a:lnTo>
                    <a:pt x="138849" y="21628"/>
                  </a:lnTo>
                  <a:lnTo>
                    <a:pt x="138849" y="5816"/>
                  </a:lnTo>
                  <a:lnTo>
                    <a:pt x="133362"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bk object 254">
              <a:extLst>
                <a:ext uri="{FF2B5EF4-FFF2-40B4-BE49-F238E27FC236}">
                  <a16:creationId xmlns:a16="http://schemas.microsoft.com/office/drawing/2014/main" id="{92E1E97C-16BE-46BF-A52A-A4486D2C987D}"/>
                </a:ext>
              </a:extLst>
            </p:cNvPr>
            <p:cNvSpPr/>
            <p:nvPr/>
          </p:nvSpPr>
          <p:spPr>
            <a:xfrm>
              <a:off x="2000780" y="3100465"/>
              <a:ext cx="139065" cy="27305"/>
            </a:xfrm>
            <a:custGeom>
              <a:avLst/>
              <a:gdLst/>
              <a:ahLst/>
              <a:cxnLst/>
              <a:rect l="l" t="t" r="r" b="b"/>
              <a:pathLst>
                <a:path w="139064" h="27305">
                  <a:moveTo>
                    <a:pt x="133362" y="0"/>
                  </a:moveTo>
                  <a:lnTo>
                    <a:pt x="5486" y="0"/>
                  </a:lnTo>
                  <a:lnTo>
                    <a:pt x="0" y="5803"/>
                  </a:lnTo>
                  <a:lnTo>
                    <a:pt x="0" y="21628"/>
                  </a:lnTo>
                  <a:lnTo>
                    <a:pt x="5245" y="26873"/>
                  </a:lnTo>
                  <a:lnTo>
                    <a:pt x="133603" y="26873"/>
                  </a:lnTo>
                  <a:lnTo>
                    <a:pt x="138849" y="21628"/>
                  </a:lnTo>
                  <a:lnTo>
                    <a:pt x="138849" y="5803"/>
                  </a:lnTo>
                  <a:lnTo>
                    <a:pt x="133362"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bk object 255">
              <a:extLst>
                <a:ext uri="{FF2B5EF4-FFF2-40B4-BE49-F238E27FC236}">
                  <a16:creationId xmlns:a16="http://schemas.microsoft.com/office/drawing/2014/main" id="{A3A4C5B9-CCC7-44F2-A33C-F6A01AA8E7A3}"/>
                </a:ext>
              </a:extLst>
            </p:cNvPr>
            <p:cNvSpPr/>
            <p:nvPr/>
          </p:nvSpPr>
          <p:spPr>
            <a:xfrm>
              <a:off x="1813520" y="2633369"/>
              <a:ext cx="338455" cy="257810"/>
            </a:xfrm>
            <a:custGeom>
              <a:avLst/>
              <a:gdLst/>
              <a:ahLst/>
              <a:cxnLst/>
              <a:rect l="l" t="t" r="r" b="b"/>
              <a:pathLst>
                <a:path w="338455" h="257810">
                  <a:moveTo>
                    <a:pt x="74218" y="182740"/>
                  </a:moveTo>
                  <a:lnTo>
                    <a:pt x="0" y="182740"/>
                  </a:lnTo>
                  <a:lnTo>
                    <a:pt x="0" y="257263"/>
                  </a:lnTo>
                  <a:lnTo>
                    <a:pt x="74218" y="257263"/>
                  </a:lnTo>
                  <a:lnTo>
                    <a:pt x="74218" y="182740"/>
                  </a:lnTo>
                  <a:close/>
                </a:path>
                <a:path w="338455" h="257810">
                  <a:moveTo>
                    <a:pt x="206336" y="182740"/>
                  </a:moveTo>
                  <a:lnTo>
                    <a:pt x="132118" y="182740"/>
                  </a:lnTo>
                  <a:lnTo>
                    <a:pt x="132118" y="257263"/>
                  </a:lnTo>
                  <a:lnTo>
                    <a:pt x="206336" y="257263"/>
                  </a:lnTo>
                  <a:lnTo>
                    <a:pt x="206336" y="182740"/>
                  </a:lnTo>
                  <a:close/>
                </a:path>
                <a:path w="338455" h="257810">
                  <a:moveTo>
                    <a:pt x="338442" y="182740"/>
                  </a:moveTo>
                  <a:lnTo>
                    <a:pt x="264248" y="182740"/>
                  </a:lnTo>
                  <a:lnTo>
                    <a:pt x="264248" y="257263"/>
                  </a:lnTo>
                  <a:lnTo>
                    <a:pt x="338442" y="257263"/>
                  </a:lnTo>
                  <a:lnTo>
                    <a:pt x="338442" y="182740"/>
                  </a:lnTo>
                  <a:close/>
                </a:path>
                <a:path w="338455" h="257810">
                  <a:moveTo>
                    <a:pt x="305841" y="120484"/>
                  </a:moveTo>
                  <a:lnTo>
                    <a:pt x="32626" y="120484"/>
                  </a:lnTo>
                  <a:lnTo>
                    <a:pt x="28968" y="124167"/>
                  </a:lnTo>
                  <a:lnTo>
                    <a:pt x="28968" y="182740"/>
                  </a:lnTo>
                  <a:lnTo>
                    <a:pt x="45300" y="182740"/>
                  </a:lnTo>
                  <a:lnTo>
                    <a:pt x="45300" y="136880"/>
                  </a:lnTo>
                  <a:lnTo>
                    <a:pt x="309501" y="136880"/>
                  </a:lnTo>
                  <a:lnTo>
                    <a:pt x="309499" y="124167"/>
                  </a:lnTo>
                  <a:lnTo>
                    <a:pt x="305841" y="120484"/>
                  </a:lnTo>
                  <a:close/>
                </a:path>
                <a:path w="338455" h="257810">
                  <a:moveTo>
                    <a:pt x="177406" y="136880"/>
                  </a:moveTo>
                  <a:lnTo>
                    <a:pt x="161061" y="136880"/>
                  </a:lnTo>
                  <a:lnTo>
                    <a:pt x="161061" y="182740"/>
                  </a:lnTo>
                  <a:lnTo>
                    <a:pt x="177406" y="182740"/>
                  </a:lnTo>
                  <a:lnTo>
                    <a:pt x="177406" y="136880"/>
                  </a:lnTo>
                  <a:close/>
                </a:path>
                <a:path w="338455" h="257810">
                  <a:moveTo>
                    <a:pt x="309501" y="136880"/>
                  </a:moveTo>
                  <a:lnTo>
                    <a:pt x="293166" y="136880"/>
                  </a:lnTo>
                  <a:lnTo>
                    <a:pt x="293166" y="182740"/>
                  </a:lnTo>
                  <a:lnTo>
                    <a:pt x="309511" y="182740"/>
                  </a:lnTo>
                  <a:lnTo>
                    <a:pt x="309501" y="136880"/>
                  </a:lnTo>
                  <a:close/>
                </a:path>
                <a:path w="338455" h="257810">
                  <a:moveTo>
                    <a:pt x="177406" y="74498"/>
                  </a:moveTo>
                  <a:lnTo>
                    <a:pt x="161061" y="74498"/>
                  </a:lnTo>
                  <a:lnTo>
                    <a:pt x="161061" y="120484"/>
                  </a:lnTo>
                  <a:lnTo>
                    <a:pt x="177406" y="120484"/>
                  </a:lnTo>
                  <a:lnTo>
                    <a:pt x="177406" y="74498"/>
                  </a:lnTo>
                  <a:close/>
                </a:path>
                <a:path w="338455" h="257810">
                  <a:moveTo>
                    <a:pt x="206336" y="0"/>
                  </a:moveTo>
                  <a:lnTo>
                    <a:pt x="132118" y="0"/>
                  </a:lnTo>
                  <a:lnTo>
                    <a:pt x="132118" y="74498"/>
                  </a:lnTo>
                  <a:lnTo>
                    <a:pt x="206336" y="74498"/>
                  </a:lnTo>
                  <a:lnTo>
                    <a:pt x="206336"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71" name="Graphique 70">
            <a:extLst>
              <a:ext uri="{FF2B5EF4-FFF2-40B4-BE49-F238E27FC236}">
                <a16:creationId xmlns:a16="http://schemas.microsoft.com/office/drawing/2014/main" id="{C36D436D-6C94-4190-A7E6-B02FFF14745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8072" y="3369664"/>
            <a:ext cx="778538" cy="778538"/>
          </a:xfrm>
          <a:prstGeom prst="rect">
            <a:avLst/>
          </a:prstGeom>
        </p:spPr>
      </p:pic>
      <p:pic>
        <p:nvPicPr>
          <p:cNvPr id="72" name="Graphique 71">
            <a:extLst>
              <a:ext uri="{FF2B5EF4-FFF2-40B4-BE49-F238E27FC236}">
                <a16:creationId xmlns:a16="http://schemas.microsoft.com/office/drawing/2014/main" id="{A6242D98-B60E-4996-B423-6BF373FA447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1620915" y="2537218"/>
            <a:ext cx="618861" cy="704644"/>
          </a:xfrm>
          <a:prstGeom prst="rect">
            <a:avLst/>
          </a:prstGeom>
        </p:spPr>
      </p:pic>
      <p:pic>
        <p:nvPicPr>
          <p:cNvPr id="1613" name="Graphique 1612">
            <a:extLst>
              <a:ext uri="{FF2B5EF4-FFF2-40B4-BE49-F238E27FC236}">
                <a16:creationId xmlns:a16="http://schemas.microsoft.com/office/drawing/2014/main" id="{7F0FC21A-42D9-4A83-981B-0CA8C5FF4DA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497672" y="5058307"/>
            <a:ext cx="1573166" cy="1609192"/>
          </a:xfrm>
          <a:prstGeom prst="rect">
            <a:avLst/>
          </a:prstGeom>
        </p:spPr>
      </p:pic>
      <p:grpSp>
        <p:nvGrpSpPr>
          <p:cNvPr id="1614" name="Image 6">
            <a:extLst>
              <a:ext uri="{FF2B5EF4-FFF2-40B4-BE49-F238E27FC236}">
                <a16:creationId xmlns:a16="http://schemas.microsoft.com/office/drawing/2014/main" id="{63B2189B-F160-4FE8-893C-7F475FF904F9}"/>
              </a:ext>
            </a:extLst>
          </p:cNvPr>
          <p:cNvGrpSpPr/>
          <p:nvPr/>
        </p:nvGrpSpPr>
        <p:grpSpPr>
          <a:xfrm>
            <a:off x="3842127" y="5336290"/>
            <a:ext cx="731784" cy="722554"/>
            <a:chOff x="3049395" y="3134538"/>
            <a:chExt cx="943527" cy="931627"/>
          </a:xfrm>
          <a:solidFill>
            <a:srgbClr val="000000"/>
          </a:solidFill>
        </p:grpSpPr>
        <p:sp>
          <p:nvSpPr>
            <p:cNvPr id="1615" name="Forme libre : forme 1614">
              <a:extLst>
                <a:ext uri="{FF2B5EF4-FFF2-40B4-BE49-F238E27FC236}">
                  <a16:creationId xmlns:a16="http://schemas.microsoft.com/office/drawing/2014/main" id="{B9F25A05-47B4-4295-A315-307B5C2E6A3B}"/>
                </a:ext>
              </a:extLst>
            </p:cNvPr>
            <p:cNvSpPr/>
            <p:nvPr/>
          </p:nvSpPr>
          <p:spPr>
            <a:xfrm>
              <a:off x="3049395" y="3134538"/>
              <a:ext cx="514496" cy="432828"/>
            </a:xfrm>
            <a:custGeom>
              <a:avLst/>
              <a:gdLst>
                <a:gd name="connsiteX0" fmla="*/ 37281 w 514496"/>
                <a:gd name="connsiteY0" fmla="*/ 432829 h 432828"/>
                <a:gd name="connsiteX1" fmla="*/ 0 w 514496"/>
                <a:gd name="connsiteY1" fmla="*/ 395554 h 432828"/>
                <a:gd name="connsiteX2" fmla="*/ 0 w 514496"/>
                <a:gd name="connsiteY2" fmla="*/ 37287 h 432828"/>
                <a:gd name="connsiteX3" fmla="*/ 39256 w 514496"/>
                <a:gd name="connsiteY3" fmla="*/ 0 h 432828"/>
                <a:gd name="connsiteX4" fmla="*/ 197612 w 514496"/>
                <a:gd name="connsiteY4" fmla="*/ 0 h 432828"/>
                <a:gd name="connsiteX5" fmla="*/ 231648 w 514496"/>
                <a:gd name="connsiteY5" fmla="*/ 22816 h 432828"/>
                <a:gd name="connsiteX6" fmla="*/ 236360 w 514496"/>
                <a:gd name="connsiteY6" fmla="*/ 32271 h 432828"/>
                <a:gd name="connsiteX7" fmla="*/ 237306 w 514496"/>
                <a:gd name="connsiteY7" fmla="*/ 33217 h 432828"/>
                <a:gd name="connsiteX8" fmla="*/ 249079 w 514496"/>
                <a:gd name="connsiteY8" fmla="*/ 39586 h 432828"/>
                <a:gd name="connsiteX9" fmla="*/ 441084 w 514496"/>
                <a:gd name="connsiteY9" fmla="*/ 39586 h 432828"/>
                <a:gd name="connsiteX10" fmla="*/ 480339 w 514496"/>
                <a:gd name="connsiteY10" fmla="*/ 76860 h 432828"/>
                <a:gd name="connsiteX11" fmla="*/ 480339 w 514496"/>
                <a:gd name="connsiteY11" fmla="*/ 172695 h 432828"/>
                <a:gd name="connsiteX12" fmla="*/ 486969 w 514496"/>
                <a:gd name="connsiteY12" fmla="*/ 174015 h 432828"/>
                <a:gd name="connsiteX13" fmla="*/ 506501 w 514496"/>
                <a:gd name="connsiteY13" fmla="*/ 185636 h 432828"/>
                <a:gd name="connsiteX14" fmla="*/ 514103 w 514496"/>
                <a:gd name="connsiteY14" fmla="*/ 212090 h 432828"/>
                <a:gd name="connsiteX15" fmla="*/ 513988 w 514496"/>
                <a:gd name="connsiteY15" fmla="*/ 212770 h 432828"/>
                <a:gd name="connsiteX16" fmla="*/ 513988 w 514496"/>
                <a:gd name="connsiteY16" fmla="*/ 214719 h 432828"/>
                <a:gd name="connsiteX17" fmla="*/ 482441 w 514496"/>
                <a:gd name="connsiteY17" fmla="*/ 396126 h 432828"/>
                <a:gd name="connsiteX18" fmla="*/ 441078 w 514496"/>
                <a:gd name="connsiteY18" fmla="*/ 432829 h 432828"/>
                <a:gd name="connsiteX19" fmla="*/ 37281 w 514496"/>
                <a:gd name="connsiteY19" fmla="*/ 432829 h 432828"/>
                <a:gd name="connsiteX20" fmla="*/ 27953 w 514496"/>
                <a:gd name="connsiteY20" fmla="*/ 403822 h 432828"/>
                <a:gd name="connsiteX21" fmla="*/ 37287 w 514496"/>
                <a:gd name="connsiteY21" fmla="*/ 409734 h 432828"/>
                <a:gd name="connsiteX22" fmla="*/ 441090 w 514496"/>
                <a:gd name="connsiteY22" fmla="*/ 409734 h 432828"/>
                <a:gd name="connsiteX23" fmla="*/ 459200 w 514496"/>
                <a:gd name="connsiteY23" fmla="*/ 394488 h 432828"/>
                <a:gd name="connsiteX24" fmla="*/ 490899 w 514496"/>
                <a:gd name="connsiteY24" fmla="*/ 212173 h 432828"/>
                <a:gd name="connsiteX25" fmla="*/ 490899 w 514496"/>
                <a:gd name="connsiteY25" fmla="*/ 204108 h 432828"/>
                <a:gd name="connsiteX26" fmla="*/ 488499 w 514496"/>
                <a:gd name="connsiteY26" fmla="*/ 201682 h 432828"/>
                <a:gd name="connsiteX27" fmla="*/ 478701 w 514496"/>
                <a:gd name="connsiteY27" fmla="*/ 197288 h 432828"/>
                <a:gd name="connsiteX28" fmla="*/ 74905 w 514496"/>
                <a:gd name="connsiteY28" fmla="*/ 197288 h 432828"/>
                <a:gd name="connsiteX29" fmla="*/ 56794 w 514496"/>
                <a:gd name="connsiteY29" fmla="*/ 212547 h 432828"/>
                <a:gd name="connsiteX30" fmla="*/ 24486 w 514496"/>
                <a:gd name="connsiteY30" fmla="*/ 400342 h 432828"/>
                <a:gd name="connsiteX31" fmla="*/ 27953 w 514496"/>
                <a:gd name="connsiteY31" fmla="*/ 403822 h 432828"/>
                <a:gd name="connsiteX32" fmla="*/ 37281 w 514496"/>
                <a:gd name="connsiteY32" fmla="*/ 23095 h 432828"/>
                <a:gd name="connsiteX33" fmla="*/ 23552 w 514496"/>
                <a:gd name="connsiteY33" fmla="*/ 31426 h 432828"/>
                <a:gd name="connsiteX34" fmla="*/ 21133 w 514496"/>
                <a:gd name="connsiteY34" fmla="*/ 33839 h 432828"/>
                <a:gd name="connsiteX35" fmla="*/ 21114 w 514496"/>
                <a:gd name="connsiteY35" fmla="*/ 37281 h 432828"/>
                <a:gd name="connsiteX36" fmla="*/ 21114 w 514496"/>
                <a:gd name="connsiteY36" fmla="*/ 218389 h 432828"/>
                <a:gd name="connsiteX37" fmla="*/ 35960 w 514496"/>
                <a:gd name="connsiteY37" fmla="*/ 198603 h 432828"/>
                <a:gd name="connsiteX38" fmla="*/ 52838 w 514496"/>
                <a:gd name="connsiteY38" fmla="*/ 181235 h 432828"/>
                <a:gd name="connsiteX39" fmla="*/ 57404 w 514496"/>
                <a:gd name="connsiteY39" fmla="*/ 178962 h 432828"/>
                <a:gd name="connsiteX40" fmla="*/ 57404 w 514496"/>
                <a:gd name="connsiteY40" fmla="*/ 122396 h 432828"/>
                <a:gd name="connsiteX41" fmla="*/ 82804 w 514496"/>
                <a:gd name="connsiteY41" fmla="*/ 96996 h 432828"/>
                <a:gd name="connsiteX42" fmla="*/ 393573 w 514496"/>
                <a:gd name="connsiteY42" fmla="*/ 96996 h 432828"/>
                <a:gd name="connsiteX43" fmla="*/ 418973 w 514496"/>
                <a:gd name="connsiteY43" fmla="*/ 122396 h 432828"/>
                <a:gd name="connsiteX44" fmla="*/ 418973 w 514496"/>
                <a:gd name="connsiteY44" fmla="*/ 174187 h 432828"/>
                <a:gd name="connsiteX45" fmla="*/ 455270 w 514496"/>
                <a:gd name="connsiteY45" fmla="*/ 174187 h 432828"/>
                <a:gd name="connsiteX46" fmla="*/ 455270 w 514496"/>
                <a:gd name="connsiteY46" fmla="*/ 76867 h 432828"/>
                <a:gd name="connsiteX47" fmla="*/ 441084 w 514496"/>
                <a:gd name="connsiteY47" fmla="*/ 62687 h 432828"/>
                <a:gd name="connsiteX48" fmla="*/ 249079 w 514496"/>
                <a:gd name="connsiteY48" fmla="*/ 62687 h 432828"/>
                <a:gd name="connsiteX49" fmla="*/ 212909 w 514496"/>
                <a:gd name="connsiteY49" fmla="*/ 39541 h 432828"/>
                <a:gd name="connsiteX50" fmla="*/ 212001 w 514496"/>
                <a:gd name="connsiteY50" fmla="*/ 37465 h 432828"/>
                <a:gd name="connsiteX51" fmla="*/ 195637 w 514496"/>
                <a:gd name="connsiteY51" fmla="*/ 23095 h 432828"/>
                <a:gd name="connsiteX52" fmla="*/ 37281 w 514496"/>
                <a:gd name="connsiteY52" fmla="*/ 23095 h 432828"/>
                <a:gd name="connsiteX53" fmla="*/ 82480 w 514496"/>
                <a:gd name="connsiteY53" fmla="*/ 174187 h 432828"/>
                <a:gd name="connsiteX54" fmla="*/ 397859 w 514496"/>
                <a:gd name="connsiteY54" fmla="*/ 174187 h 432828"/>
                <a:gd name="connsiteX55" fmla="*/ 397859 w 514496"/>
                <a:gd name="connsiteY55" fmla="*/ 118110 h 432828"/>
                <a:gd name="connsiteX56" fmla="*/ 82480 w 514496"/>
                <a:gd name="connsiteY56" fmla="*/ 118110 h 432828"/>
                <a:gd name="connsiteX57" fmla="*/ 82480 w 514496"/>
                <a:gd name="connsiteY57" fmla="*/ 174187 h 432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14496" h="432828">
                  <a:moveTo>
                    <a:pt x="37281" y="432829"/>
                  </a:moveTo>
                  <a:cubicBezTo>
                    <a:pt x="17075" y="432829"/>
                    <a:pt x="0" y="415760"/>
                    <a:pt x="0" y="395554"/>
                  </a:cubicBezTo>
                  <a:lnTo>
                    <a:pt x="0" y="37287"/>
                  </a:lnTo>
                  <a:cubicBezTo>
                    <a:pt x="0" y="17774"/>
                    <a:pt x="18713" y="0"/>
                    <a:pt x="39256" y="0"/>
                  </a:cubicBezTo>
                  <a:lnTo>
                    <a:pt x="197612" y="0"/>
                  </a:lnTo>
                  <a:cubicBezTo>
                    <a:pt x="212572" y="0"/>
                    <a:pt x="225298" y="8534"/>
                    <a:pt x="231648" y="22816"/>
                  </a:cubicBezTo>
                  <a:lnTo>
                    <a:pt x="236360" y="32271"/>
                  </a:lnTo>
                  <a:lnTo>
                    <a:pt x="237306" y="33217"/>
                  </a:lnTo>
                  <a:cubicBezTo>
                    <a:pt x="239992" y="35903"/>
                    <a:pt x="243675" y="39586"/>
                    <a:pt x="249079" y="39586"/>
                  </a:cubicBezTo>
                  <a:lnTo>
                    <a:pt x="441084" y="39586"/>
                  </a:lnTo>
                  <a:cubicBezTo>
                    <a:pt x="462725" y="39586"/>
                    <a:pt x="480339" y="56305"/>
                    <a:pt x="480339" y="76860"/>
                  </a:cubicBezTo>
                  <a:lnTo>
                    <a:pt x="480339" y="172695"/>
                  </a:lnTo>
                  <a:lnTo>
                    <a:pt x="486969" y="174015"/>
                  </a:lnTo>
                  <a:cubicBezTo>
                    <a:pt x="493643" y="175355"/>
                    <a:pt x="500031" y="179153"/>
                    <a:pt x="506501" y="185636"/>
                  </a:cubicBezTo>
                  <a:cubicBezTo>
                    <a:pt x="512464" y="191592"/>
                    <a:pt x="515664" y="202717"/>
                    <a:pt x="514103" y="212090"/>
                  </a:cubicBezTo>
                  <a:lnTo>
                    <a:pt x="513988" y="212770"/>
                  </a:lnTo>
                  <a:lnTo>
                    <a:pt x="513988" y="214719"/>
                  </a:lnTo>
                  <a:lnTo>
                    <a:pt x="482441" y="396126"/>
                  </a:lnTo>
                  <a:cubicBezTo>
                    <a:pt x="478879" y="417424"/>
                    <a:pt x="461499" y="432829"/>
                    <a:pt x="441078" y="432829"/>
                  </a:cubicBezTo>
                  <a:lnTo>
                    <a:pt x="37281" y="432829"/>
                  </a:lnTo>
                  <a:close/>
                  <a:moveTo>
                    <a:pt x="27953" y="403822"/>
                  </a:moveTo>
                  <a:cubicBezTo>
                    <a:pt x="29661" y="407594"/>
                    <a:pt x="33522" y="409734"/>
                    <a:pt x="37287" y="409734"/>
                  </a:cubicBezTo>
                  <a:lnTo>
                    <a:pt x="441090" y="409734"/>
                  </a:lnTo>
                  <a:cubicBezTo>
                    <a:pt x="449027" y="409734"/>
                    <a:pt x="458552" y="403003"/>
                    <a:pt x="459200" y="394488"/>
                  </a:cubicBezTo>
                  <a:lnTo>
                    <a:pt x="490899" y="212173"/>
                  </a:lnTo>
                  <a:lnTo>
                    <a:pt x="490899" y="204108"/>
                  </a:lnTo>
                  <a:lnTo>
                    <a:pt x="488499" y="201682"/>
                  </a:lnTo>
                  <a:cubicBezTo>
                    <a:pt x="485508" y="198691"/>
                    <a:pt x="483571" y="197288"/>
                    <a:pt x="478701" y="197288"/>
                  </a:cubicBezTo>
                  <a:lnTo>
                    <a:pt x="74905" y="197288"/>
                  </a:lnTo>
                  <a:cubicBezTo>
                    <a:pt x="66961" y="197288"/>
                    <a:pt x="57423" y="204019"/>
                    <a:pt x="56794" y="212547"/>
                  </a:cubicBezTo>
                  <a:lnTo>
                    <a:pt x="24486" y="400342"/>
                  </a:lnTo>
                  <a:lnTo>
                    <a:pt x="27953" y="403822"/>
                  </a:lnTo>
                  <a:close/>
                  <a:moveTo>
                    <a:pt x="37281" y="23095"/>
                  </a:moveTo>
                  <a:cubicBezTo>
                    <a:pt x="32296" y="23095"/>
                    <a:pt x="28118" y="26867"/>
                    <a:pt x="23552" y="31426"/>
                  </a:cubicBezTo>
                  <a:lnTo>
                    <a:pt x="21133" y="33839"/>
                  </a:lnTo>
                  <a:lnTo>
                    <a:pt x="21114" y="37281"/>
                  </a:lnTo>
                  <a:lnTo>
                    <a:pt x="21114" y="218389"/>
                  </a:lnTo>
                  <a:lnTo>
                    <a:pt x="35960" y="198603"/>
                  </a:lnTo>
                  <a:cubicBezTo>
                    <a:pt x="41478" y="191249"/>
                    <a:pt x="46673" y="184315"/>
                    <a:pt x="52838" y="181235"/>
                  </a:cubicBezTo>
                  <a:lnTo>
                    <a:pt x="57404" y="178962"/>
                  </a:lnTo>
                  <a:lnTo>
                    <a:pt x="57404" y="122396"/>
                  </a:lnTo>
                  <a:cubicBezTo>
                    <a:pt x="57404" y="109106"/>
                    <a:pt x="69513" y="96996"/>
                    <a:pt x="82804" y="96996"/>
                  </a:cubicBezTo>
                  <a:lnTo>
                    <a:pt x="393573" y="96996"/>
                  </a:lnTo>
                  <a:cubicBezTo>
                    <a:pt x="406864" y="96996"/>
                    <a:pt x="418973" y="109106"/>
                    <a:pt x="418973" y="122396"/>
                  </a:cubicBezTo>
                  <a:lnTo>
                    <a:pt x="418973" y="174187"/>
                  </a:lnTo>
                  <a:lnTo>
                    <a:pt x="455270" y="174187"/>
                  </a:lnTo>
                  <a:lnTo>
                    <a:pt x="455270" y="76867"/>
                  </a:lnTo>
                  <a:cubicBezTo>
                    <a:pt x="455270" y="68383"/>
                    <a:pt x="449567" y="62687"/>
                    <a:pt x="441084" y="62687"/>
                  </a:cubicBezTo>
                  <a:lnTo>
                    <a:pt x="249079" y="62687"/>
                  </a:lnTo>
                  <a:cubicBezTo>
                    <a:pt x="234823" y="62687"/>
                    <a:pt x="219615" y="52959"/>
                    <a:pt x="212909" y="39541"/>
                  </a:cubicBezTo>
                  <a:cubicBezTo>
                    <a:pt x="212611" y="38938"/>
                    <a:pt x="212319" y="38221"/>
                    <a:pt x="212001" y="37465"/>
                  </a:cubicBezTo>
                  <a:cubicBezTo>
                    <a:pt x="210033" y="32810"/>
                    <a:pt x="205937" y="23095"/>
                    <a:pt x="195637" y="23095"/>
                  </a:cubicBezTo>
                  <a:lnTo>
                    <a:pt x="37281" y="23095"/>
                  </a:lnTo>
                  <a:close/>
                  <a:moveTo>
                    <a:pt x="82480" y="174187"/>
                  </a:moveTo>
                  <a:lnTo>
                    <a:pt x="397859" y="174187"/>
                  </a:lnTo>
                  <a:lnTo>
                    <a:pt x="397859" y="118110"/>
                  </a:lnTo>
                  <a:lnTo>
                    <a:pt x="82480" y="118110"/>
                  </a:lnTo>
                  <a:lnTo>
                    <a:pt x="82480" y="174187"/>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16" name="Forme libre : forme 1615">
              <a:extLst>
                <a:ext uri="{FF2B5EF4-FFF2-40B4-BE49-F238E27FC236}">
                  <a16:creationId xmlns:a16="http://schemas.microsoft.com/office/drawing/2014/main" id="{9EB9049C-051F-4D54-BFFA-A1E5F43A2F4A}"/>
                </a:ext>
              </a:extLst>
            </p:cNvPr>
            <p:cNvSpPr/>
            <p:nvPr/>
          </p:nvSpPr>
          <p:spPr>
            <a:xfrm>
              <a:off x="3478922" y="3633344"/>
              <a:ext cx="514000" cy="432822"/>
            </a:xfrm>
            <a:custGeom>
              <a:avLst/>
              <a:gdLst>
                <a:gd name="connsiteX0" fmla="*/ 37281 w 514000"/>
                <a:gd name="connsiteY0" fmla="*/ 432822 h 432822"/>
                <a:gd name="connsiteX1" fmla="*/ 0 w 514000"/>
                <a:gd name="connsiteY1" fmla="*/ 395548 h 432822"/>
                <a:gd name="connsiteX2" fmla="*/ 0 w 514000"/>
                <a:gd name="connsiteY2" fmla="*/ 37274 h 432822"/>
                <a:gd name="connsiteX3" fmla="*/ 37281 w 514000"/>
                <a:gd name="connsiteY3" fmla="*/ 0 h 432822"/>
                <a:gd name="connsiteX4" fmla="*/ 195637 w 514000"/>
                <a:gd name="connsiteY4" fmla="*/ 0 h 432822"/>
                <a:gd name="connsiteX5" fmla="*/ 229826 w 514000"/>
                <a:gd name="connsiteY5" fmla="*/ 23152 h 432822"/>
                <a:gd name="connsiteX6" fmla="*/ 234391 w 514000"/>
                <a:gd name="connsiteY6" fmla="*/ 32277 h 432822"/>
                <a:gd name="connsiteX7" fmla="*/ 235338 w 514000"/>
                <a:gd name="connsiteY7" fmla="*/ 33230 h 432822"/>
                <a:gd name="connsiteX8" fmla="*/ 247104 w 514000"/>
                <a:gd name="connsiteY8" fmla="*/ 39592 h 432822"/>
                <a:gd name="connsiteX9" fmla="*/ 439109 w 514000"/>
                <a:gd name="connsiteY9" fmla="*/ 39592 h 432822"/>
                <a:gd name="connsiteX10" fmla="*/ 476383 w 514000"/>
                <a:gd name="connsiteY10" fmla="*/ 76879 h 432822"/>
                <a:gd name="connsiteX11" fmla="*/ 476383 w 514000"/>
                <a:gd name="connsiteY11" fmla="*/ 174682 h 432822"/>
                <a:gd name="connsiteX12" fmla="*/ 483019 w 514000"/>
                <a:gd name="connsiteY12" fmla="*/ 176009 h 432822"/>
                <a:gd name="connsiteX13" fmla="*/ 502228 w 514000"/>
                <a:gd name="connsiteY13" fmla="*/ 187280 h 432822"/>
                <a:gd name="connsiteX14" fmla="*/ 514001 w 514000"/>
                <a:gd name="connsiteY14" fmla="*/ 214281 h 432822"/>
                <a:gd name="connsiteX15" fmla="*/ 514001 w 514000"/>
                <a:gd name="connsiteY15" fmla="*/ 214712 h 432822"/>
                <a:gd name="connsiteX16" fmla="*/ 482454 w 514000"/>
                <a:gd name="connsiteY16" fmla="*/ 396113 h 432822"/>
                <a:gd name="connsiteX17" fmla="*/ 441090 w 514000"/>
                <a:gd name="connsiteY17" fmla="*/ 432816 h 432822"/>
                <a:gd name="connsiteX18" fmla="*/ 37281 w 514000"/>
                <a:gd name="connsiteY18" fmla="*/ 432816 h 432822"/>
                <a:gd name="connsiteX19" fmla="*/ 20517 w 514000"/>
                <a:gd name="connsiteY19" fmla="*/ 402317 h 432822"/>
                <a:gd name="connsiteX20" fmla="*/ 25514 w 514000"/>
                <a:gd name="connsiteY20" fmla="*/ 407314 h 432822"/>
                <a:gd name="connsiteX21" fmla="*/ 35306 w 514000"/>
                <a:gd name="connsiteY21" fmla="*/ 411715 h 432822"/>
                <a:gd name="connsiteX22" fmla="*/ 439103 w 514000"/>
                <a:gd name="connsiteY22" fmla="*/ 411715 h 432822"/>
                <a:gd name="connsiteX23" fmla="*/ 457213 w 514000"/>
                <a:gd name="connsiteY23" fmla="*/ 396462 h 432822"/>
                <a:gd name="connsiteX24" fmla="*/ 488918 w 514000"/>
                <a:gd name="connsiteY24" fmla="*/ 214160 h 432822"/>
                <a:gd name="connsiteX25" fmla="*/ 488918 w 514000"/>
                <a:gd name="connsiteY25" fmla="*/ 206089 h 432822"/>
                <a:gd name="connsiteX26" fmla="*/ 486505 w 514000"/>
                <a:gd name="connsiteY26" fmla="*/ 203657 h 432822"/>
                <a:gd name="connsiteX27" fmla="*/ 476714 w 514000"/>
                <a:gd name="connsiteY27" fmla="*/ 199269 h 432822"/>
                <a:gd name="connsiteX28" fmla="*/ 70942 w 514000"/>
                <a:gd name="connsiteY28" fmla="*/ 199269 h 432822"/>
                <a:gd name="connsiteX29" fmla="*/ 52826 w 514000"/>
                <a:gd name="connsiteY29" fmla="*/ 214535 h 432822"/>
                <a:gd name="connsiteX30" fmla="*/ 20517 w 514000"/>
                <a:gd name="connsiteY30" fmla="*/ 402317 h 432822"/>
                <a:gd name="connsiteX31" fmla="*/ 37281 w 514000"/>
                <a:gd name="connsiteY31" fmla="*/ 25070 h 432822"/>
                <a:gd name="connsiteX32" fmla="*/ 21114 w 514000"/>
                <a:gd name="connsiteY32" fmla="*/ 39256 h 432822"/>
                <a:gd name="connsiteX33" fmla="*/ 21114 w 514000"/>
                <a:gd name="connsiteY33" fmla="*/ 218396 h 432822"/>
                <a:gd name="connsiteX34" fmla="*/ 35966 w 514000"/>
                <a:gd name="connsiteY34" fmla="*/ 198603 h 432822"/>
                <a:gd name="connsiteX35" fmla="*/ 52851 w 514000"/>
                <a:gd name="connsiteY35" fmla="*/ 181235 h 432822"/>
                <a:gd name="connsiteX36" fmla="*/ 57410 w 514000"/>
                <a:gd name="connsiteY36" fmla="*/ 178956 h 432822"/>
                <a:gd name="connsiteX37" fmla="*/ 57410 w 514000"/>
                <a:gd name="connsiteY37" fmla="*/ 122396 h 432822"/>
                <a:gd name="connsiteX38" fmla="*/ 82810 w 514000"/>
                <a:gd name="connsiteY38" fmla="*/ 96990 h 432822"/>
                <a:gd name="connsiteX39" fmla="*/ 391592 w 514000"/>
                <a:gd name="connsiteY39" fmla="*/ 96990 h 432822"/>
                <a:gd name="connsiteX40" fmla="*/ 416992 w 514000"/>
                <a:gd name="connsiteY40" fmla="*/ 122396 h 432822"/>
                <a:gd name="connsiteX41" fmla="*/ 416992 w 514000"/>
                <a:gd name="connsiteY41" fmla="*/ 176168 h 432822"/>
                <a:gd name="connsiteX42" fmla="*/ 453282 w 514000"/>
                <a:gd name="connsiteY42" fmla="*/ 176168 h 432822"/>
                <a:gd name="connsiteX43" fmla="*/ 453282 w 514000"/>
                <a:gd name="connsiteY43" fmla="*/ 78848 h 432822"/>
                <a:gd name="connsiteX44" fmla="*/ 439096 w 514000"/>
                <a:gd name="connsiteY44" fmla="*/ 64662 h 432822"/>
                <a:gd name="connsiteX45" fmla="*/ 247091 w 514000"/>
                <a:gd name="connsiteY45" fmla="*/ 64662 h 432822"/>
                <a:gd name="connsiteX46" fmla="*/ 212909 w 514000"/>
                <a:gd name="connsiteY46" fmla="*/ 41510 h 432822"/>
                <a:gd name="connsiteX47" fmla="*/ 209429 w 514000"/>
                <a:gd name="connsiteY47" fmla="*/ 34550 h 432822"/>
                <a:gd name="connsiteX48" fmla="*/ 195631 w 514000"/>
                <a:gd name="connsiteY48" fmla="*/ 25070 h 432822"/>
                <a:gd name="connsiteX49" fmla="*/ 37281 w 514000"/>
                <a:gd name="connsiteY49" fmla="*/ 25070 h 432822"/>
                <a:gd name="connsiteX50" fmla="*/ 80505 w 514000"/>
                <a:gd name="connsiteY50" fmla="*/ 176162 h 432822"/>
                <a:gd name="connsiteX51" fmla="*/ 395891 w 514000"/>
                <a:gd name="connsiteY51" fmla="*/ 176162 h 432822"/>
                <a:gd name="connsiteX52" fmla="*/ 395891 w 514000"/>
                <a:gd name="connsiteY52" fmla="*/ 120085 h 432822"/>
                <a:gd name="connsiteX53" fmla="*/ 80505 w 514000"/>
                <a:gd name="connsiteY53" fmla="*/ 120085 h 432822"/>
                <a:gd name="connsiteX54" fmla="*/ 80505 w 514000"/>
                <a:gd name="connsiteY54" fmla="*/ 176162 h 432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514000" h="432822">
                  <a:moveTo>
                    <a:pt x="37281" y="432822"/>
                  </a:moveTo>
                  <a:cubicBezTo>
                    <a:pt x="17075" y="432822"/>
                    <a:pt x="0" y="415754"/>
                    <a:pt x="0" y="395548"/>
                  </a:cubicBezTo>
                  <a:lnTo>
                    <a:pt x="0" y="37274"/>
                  </a:lnTo>
                  <a:cubicBezTo>
                    <a:pt x="0" y="17069"/>
                    <a:pt x="17069" y="0"/>
                    <a:pt x="37281" y="0"/>
                  </a:cubicBezTo>
                  <a:lnTo>
                    <a:pt x="195637" y="0"/>
                  </a:lnTo>
                  <a:cubicBezTo>
                    <a:pt x="209385" y="0"/>
                    <a:pt x="222803" y="9093"/>
                    <a:pt x="229826" y="23152"/>
                  </a:cubicBezTo>
                  <a:lnTo>
                    <a:pt x="234391" y="32277"/>
                  </a:lnTo>
                  <a:lnTo>
                    <a:pt x="235338" y="33230"/>
                  </a:lnTo>
                  <a:cubicBezTo>
                    <a:pt x="238049" y="35928"/>
                    <a:pt x="241726" y="39592"/>
                    <a:pt x="247104" y="39592"/>
                  </a:cubicBezTo>
                  <a:lnTo>
                    <a:pt x="439109" y="39592"/>
                  </a:lnTo>
                  <a:cubicBezTo>
                    <a:pt x="459315" y="39592"/>
                    <a:pt x="476383" y="56667"/>
                    <a:pt x="476383" y="76879"/>
                  </a:cubicBezTo>
                  <a:lnTo>
                    <a:pt x="476383" y="174682"/>
                  </a:lnTo>
                  <a:lnTo>
                    <a:pt x="483019" y="176009"/>
                  </a:lnTo>
                  <a:cubicBezTo>
                    <a:pt x="489591" y="177324"/>
                    <a:pt x="495878" y="181013"/>
                    <a:pt x="502228" y="187280"/>
                  </a:cubicBezTo>
                  <a:cubicBezTo>
                    <a:pt x="507771" y="194348"/>
                    <a:pt x="511728" y="203416"/>
                    <a:pt x="514001" y="214281"/>
                  </a:cubicBezTo>
                  <a:lnTo>
                    <a:pt x="514001" y="214712"/>
                  </a:lnTo>
                  <a:lnTo>
                    <a:pt x="482454" y="396113"/>
                  </a:lnTo>
                  <a:cubicBezTo>
                    <a:pt x="479076" y="416382"/>
                    <a:pt x="460521" y="432816"/>
                    <a:pt x="441090" y="432816"/>
                  </a:cubicBezTo>
                  <a:lnTo>
                    <a:pt x="37281" y="432816"/>
                  </a:lnTo>
                  <a:close/>
                  <a:moveTo>
                    <a:pt x="20517" y="402317"/>
                  </a:moveTo>
                  <a:lnTo>
                    <a:pt x="25514" y="407314"/>
                  </a:lnTo>
                  <a:cubicBezTo>
                    <a:pt x="28505" y="410305"/>
                    <a:pt x="30442" y="411715"/>
                    <a:pt x="35306" y="411715"/>
                  </a:cubicBezTo>
                  <a:lnTo>
                    <a:pt x="439103" y="411715"/>
                  </a:lnTo>
                  <a:cubicBezTo>
                    <a:pt x="447040" y="411715"/>
                    <a:pt x="456578" y="404984"/>
                    <a:pt x="457213" y="396462"/>
                  </a:cubicBezTo>
                  <a:lnTo>
                    <a:pt x="488918" y="214160"/>
                  </a:lnTo>
                  <a:lnTo>
                    <a:pt x="488918" y="206089"/>
                  </a:lnTo>
                  <a:lnTo>
                    <a:pt x="486505" y="203657"/>
                  </a:lnTo>
                  <a:cubicBezTo>
                    <a:pt x="483521" y="200673"/>
                    <a:pt x="481578" y="199269"/>
                    <a:pt x="476714" y="199269"/>
                  </a:cubicBezTo>
                  <a:lnTo>
                    <a:pt x="70942" y="199269"/>
                  </a:lnTo>
                  <a:cubicBezTo>
                    <a:pt x="62998" y="199269"/>
                    <a:pt x="53461" y="206007"/>
                    <a:pt x="52826" y="214535"/>
                  </a:cubicBezTo>
                  <a:lnTo>
                    <a:pt x="20517" y="402317"/>
                  </a:lnTo>
                  <a:close/>
                  <a:moveTo>
                    <a:pt x="37281" y="25070"/>
                  </a:moveTo>
                  <a:cubicBezTo>
                    <a:pt x="28067" y="25070"/>
                    <a:pt x="21114" y="31172"/>
                    <a:pt x="21114" y="39256"/>
                  </a:cubicBezTo>
                  <a:lnTo>
                    <a:pt x="21114" y="218396"/>
                  </a:lnTo>
                  <a:lnTo>
                    <a:pt x="35966" y="198603"/>
                  </a:lnTo>
                  <a:cubicBezTo>
                    <a:pt x="41472" y="191262"/>
                    <a:pt x="46666" y="184328"/>
                    <a:pt x="52851" y="181235"/>
                  </a:cubicBezTo>
                  <a:lnTo>
                    <a:pt x="57410" y="178956"/>
                  </a:lnTo>
                  <a:lnTo>
                    <a:pt x="57410" y="122396"/>
                  </a:lnTo>
                  <a:cubicBezTo>
                    <a:pt x="57410" y="109093"/>
                    <a:pt x="69520" y="96990"/>
                    <a:pt x="82810" y="96990"/>
                  </a:cubicBezTo>
                  <a:lnTo>
                    <a:pt x="391592" y="96990"/>
                  </a:lnTo>
                  <a:cubicBezTo>
                    <a:pt x="404889" y="96990"/>
                    <a:pt x="416992" y="109093"/>
                    <a:pt x="416992" y="122396"/>
                  </a:cubicBezTo>
                  <a:lnTo>
                    <a:pt x="416992" y="176168"/>
                  </a:lnTo>
                  <a:lnTo>
                    <a:pt x="453282" y="176168"/>
                  </a:lnTo>
                  <a:lnTo>
                    <a:pt x="453282" y="78848"/>
                  </a:lnTo>
                  <a:cubicBezTo>
                    <a:pt x="453282" y="70358"/>
                    <a:pt x="447580" y="64662"/>
                    <a:pt x="439096" y="64662"/>
                  </a:cubicBezTo>
                  <a:lnTo>
                    <a:pt x="247091" y="64662"/>
                  </a:lnTo>
                  <a:cubicBezTo>
                    <a:pt x="233356" y="64662"/>
                    <a:pt x="219939" y="55581"/>
                    <a:pt x="212909" y="41510"/>
                  </a:cubicBezTo>
                  <a:lnTo>
                    <a:pt x="209429" y="34550"/>
                  </a:lnTo>
                  <a:cubicBezTo>
                    <a:pt x="207702" y="28689"/>
                    <a:pt x="200673" y="25070"/>
                    <a:pt x="195631" y="25070"/>
                  </a:cubicBezTo>
                  <a:lnTo>
                    <a:pt x="37281" y="25070"/>
                  </a:lnTo>
                  <a:close/>
                  <a:moveTo>
                    <a:pt x="80505" y="176162"/>
                  </a:moveTo>
                  <a:lnTo>
                    <a:pt x="395891" y="176162"/>
                  </a:lnTo>
                  <a:lnTo>
                    <a:pt x="395891" y="120085"/>
                  </a:lnTo>
                  <a:lnTo>
                    <a:pt x="80505" y="120085"/>
                  </a:lnTo>
                  <a:lnTo>
                    <a:pt x="80505" y="176162"/>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17" name="Forme libre : forme 1616">
              <a:extLst>
                <a:ext uri="{FF2B5EF4-FFF2-40B4-BE49-F238E27FC236}">
                  <a16:creationId xmlns:a16="http://schemas.microsoft.com/office/drawing/2014/main" id="{DFA42AB8-EB0F-4409-91BA-CF3A901B2721}"/>
                </a:ext>
              </a:extLst>
            </p:cNvPr>
            <p:cNvSpPr/>
            <p:nvPr/>
          </p:nvSpPr>
          <p:spPr>
            <a:xfrm>
              <a:off x="3613536" y="3293409"/>
              <a:ext cx="238848" cy="341255"/>
            </a:xfrm>
            <a:custGeom>
              <a:avLst/>
              <a:gdLst>
                <a:gd name="connsiteX0" fmla="*/ 227292 w 238848"/>
                <a:gd name="connsiteY0" fmla="*/ 341256 h 341255"/>
                <a:gd name="connsiteX1" fmla="*/ 215747 w 238848"/>
                <a:gd name="connsiteY1" fmla="*/ 329711 h 341255"/>
                <a:gd name="connsiteX2" fmla="*/ 215747 w 238848"/>
                <a:gd name="connsiteY2" fmla="*/ 98120 h 341255"/>
                <a:gd name="connsiteX3" fmla="*/ 187706 w 238848"/>
                <a:gd name="connsiteY3" fmla="*/ 70079 h 341255"/>
                <a:gd name="connsiteX4" fmla="*/ 46183 w 238848"/>
                <a:gd name="connsiteY4" fmla="*/ 70079 h 341255"/>
                <a:gd name="connsiteX5" fmla="*/ 82156 w 238848"/>
                <a:gd name="connsiteY5" fmla="*/ 97066 h 341255"/>
                <a:gd name="connsiteX6" fmla="*/ 82524 w 238848"/>
                <a:gd name="connsiteY6" fmla="*/ 97282 h 341255"/>
                <a:gd name="connsiteX7" fmla="*/ 86309 w 238848"/>
                <a:gd name="connsiteY7" fmla="*/ 102965 h 341255"/>
                <a:gd name="connsiteX8" fmla="*/ 84125 w 238848"/>
                <a:gd name="connsiteY8" fmla="*/ 112960 h 341255"/>
                <a:gd name="connsiteX9" fmla="*/ 83864 w 238848"/>
                <a:gd name="connsiteY9" fmla="*/ 113309 h 341255"/>
                <a:gd name="connsiteX10" fmla="*/ 83655 w 238848"/>
                <a:gd name="connsiteY10" fmla="*/ 113678 h 341255"/>
                <a:gd name="connsiteX11" fmla="*/ 75616 w 238848"/>
                <a:gd name="connsiteY11" fmla="*/ 117685 h 341255"/>
                <a:gd name="connsiteX12" fmla="*/ 75616 w 238848"/>
                <a:gd name="connsiteY12" fmla="*/ 117685 h 341255"/>
                <a:gd name="connsiteX13" fmla="*/ 67957 w 238848"/>
                <a:gd name="connsiteY13" fmla="*/ 115278 h 341255"/>
                <a:gd name="connsiteX14" fmla="*/ 4438 w 238848"/>
                <a:gd name="connsiteY14" fmla="*/ 67640 h 341255"/>
                <a:gd name="connsiteX15" fmla="*/ 4248 w 238848"/>
                <a:gd name="connsiteY15" fmla="*/ 67513 h 341255"/>
                <a:gd name="connsiteX16" fmla="*/ 0 w 238848"/>
                <a:gd name="connsiteY16" fmla="*/ 58547 h 341255"/>
                <a:gd name="connsiteX17" fmla="*/ 5118 w 238848"/>
                <a:gd name="connsiteY17" fmla="*/ 48927 h 341255"/>
                <a:gd name="connsiteX18" fmla="*/ 67957 w 238848"/>
                <a:gd name="connsiteY18" fmla="*/ 1803 h 341255"/>
                <a:gd name="connsiteX19" fmla="*/ 74307 w 238848"/>
                <a:gd name="connsiteY19" fmla="*/ 0 h 341255"/>
                <a:gd name="connsiteX20" fmla="*/ 84125 w 238848"/>
                <a:gd name="connsiteY20" fmla="*/ 4102 h 341255"/>
                <a:gd name="connsiteX21" fmla="*/ 81813 w 238848"/>
                <a:gd name="connsiteY21" fmla="*/ 20276 h 341255"/>
                <a:gd name="connsiteX22" fmla="*/ 46183 w 238848"/>
                <a:gd name="connsiteY22" fmla="*/ 46996 h 341255"/>
                <a:gd name="connsiteX23" fmla="*/ 187712 w 238848"/>
                <a:gd name="connsiteY23" fmla="*/ 46996 h 341255"/>
                <a:gd name="connsiteX24" fmla="*/ 238849 w 238848"/>
                <a:gd name="connsiteY24" fmla="*/ 98127 h 341255"/>
                <a:gd name="connsiteX25" fmla="*/ 238849 w 238848"/>
                <a:gd name="connsiteY25" fmla="*/ 329717 h 341255"/>
                <a:gd name="connsiteX26" fmla="*/ 227292 w 238848"/>
                <a:gd name="connsiteY26" fmla="*/ 341256 h 34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38848" h="341255">
                  <a:moveTo>
                    <a:pt x="227292" y="341256"/>
                  </a:moveTo>
                  <a:cubicBezTo>
                    <a:pt x="219951" y="341256"/>
                    <a:pt x="215747" y="337052"/>
                    <a:pt x="215747" y="329711"/>
                  </a:cubicBezTo>
                  <a:lnTo>
                    <a:pt x="215747" y="98120"/>
                  </a:lnTo>
                  <a:cubicBezTo>
                    <a:pt x="215747" y="84639"/>
                    <a:pt x="205029" y="70079"/>
                    <a:pt x="187706" y="70079"/>
                  </a:cubicBezTo>
                  <a:lnTo>
                    <a:pt x="46183" y="70079"/>
                  </a:lnTo>
                  <a:lnTo>
                    <a:pt x="82156" y="97066"/>
                  </a:lnTo>
                  <a:lnTo>
                    <a:pt x="82524" y="97282"/>
                  </a:lnTo>
                  <a:cubicBezTo>
                    <a:pt x="84525" y="98476"/>
                    <a:pt x="85801" y="100400"/>
                    <a:pt x="86309" y="102965"/>
                  </a:cubicBezTo>
                  <a:cubicBezTo>
                    <a:pt x="86970" y="106325"/>
                    <a:pt x="86093" y="110351"/>
                    <a:pt x="84125" y="112960"/>
                  </a:cubicBezTo>
                  <a:lnTo>
                    <a:pt x="83864" y="113309"/>
                  </a:lnTo>
                  <a:lnTo>
                    <a:pt x="83655" y="113678"/>
                  </a:lnTo>
                  <a:cubicBezTo>
                    <a:pt x="81559" y="117164"/>
                    <a:pt x="77724" y="117685"/>
                    <a:pt x="75616" y="117685"/>
                  </a:cubicBezTo>
                  <a:lnTo>
                    <a:pt x="75616" y="117685"/>
                  </a:lnTo>
                  <a:cubicBezTo>
                    <a:pt x="72834" y="117685"/>
                    <a:pt x="69958" y="116789"/>
                    <a:pt x="67957" y="115278"/>
                  </a:cubicBezTo>
                  <a:lnTo>
                    <a:pt x="4438" y="67640"/>
                  </a:lnTo>
                  <a:lnTo>
                    <a:pt x="4248" y="67513"/>
                  </a:lnTo>
                  <a:cubicBezTo>
                    <a:pt x="2419" y="66294"/>
                    <a:pt x="0" y="64053"/>
                    <a:pt x="0" y="58547"/>
                  </a:cubicBezTo>
                  <a:cubicBezTo>
                    <a:pt x="0" y="55918"/>
                    <a:pt x="2000" y="52178"/>
                    <a:pt x="5118" y="48927"/>
                  </a:cubicBezTo>
                  <a:lnTo>
                    <a:pt x="67957" y="1803"/>
                  </a:lnTo>
                  <a:cubicBezTo>
                    <a:pt x="69507" y="641"/>
                    <a:pt x="71767" y="0"/>
                    <a:pt x="74307" y="0"/>
                  </a:cubicBezTo>
                  <a:cubicBezTo>
                    <a:pt x="78334" y="0"/>
                    <a:pt x="82283" y="1645"/>
                    <a:pt x="84125" y="4102"/>
                  </a:cubicBezTo>
                  <a:cubicBezTo>
                    <a:pt x="87357" y="8427"/>
                    <a:pt x="86131" y="17037"/>
                    <a:pt x="81813" y="20276"/>
                  </a:cubicBezTo>
                  <a:lnTo>
                    <a:pt x="46183" y="46996"/>
                  </a:lnTo>
                  <a:lnTo>
                    <a:pt x="187712" y="46996"/>
                  </a:lnTo>
                  <a:cubicBezTo>
                    <a:pt x="215906" y="46996"/>
                    <a:pt x="238849" y="69939"/>
                    <a:pt x="238849" y="98127"/>
                  </a:cubicBezTo>
                  <a:lnTo>
                    <a:pt x="238849" y="329717"/>
                  </a:lnTo>
                  <a:cubicBezTo>
                    <a:pt x="238842" y="337052"/>
                    <a:pt x="234632" y="341256"/>
                    <a:pt x="227292" y="341256"/>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18" name="Forme libre : forme 1617">
              <a:extLst>
                <a:ext uri="{FF2B5EF4-FFF2-40B4-BE49-F238E27FC236}">
                  <a16:creationId xmlns:a16="http://schemas.microsoft.com/office/drawing/2014/main" id="{282F114C-EF20-4A80-A6B2-B0FB1DDDE4AA}"/>
                </a:ext>
              </a:extLst>
            </p:cNvPr>
            <p:cNvSpPr/>
            <p:nvPr/>
          </p:nvSpPr>
          <p:spPr>
            <a:xfrm>
              <a:off x="3199833" y="3635325"/>
              <a:ext cx="238848" cy="341267"/>
            </a:xfrm>
            <a:custGeom>
              <a:avLst/>
              <a:gdLst>
                <a:gd name="connsiteX0" fmla="*/ 164548 w 238848"/>
                <a:gd name="connsiteY0" fmla="*/ 341268 h 341267"/>
                <a:gd name="connsiteX1" fmla="*/ 154730 w 238848"/>
                <a:gd name="connsiteY1" fmla="*/ 337160 h 341267"/>
                <a:gd name="connsiteX2" fmla="*/ 157042 w 238848"/>
                <a:gd name="connsiteY2" fmla="*/ 320999 h 341267"/>
                <a:gd name="connsiteX3" fmla="*/ 192665 w 238848"/>
                <a:gd name="connsiteY3" fmla="*/ 294272 h 341267"/>
                <a:gd name="connsiteX4" fmla="*/ 51143 w 238848"/>
                <a:gd name="connsiteY4" fmla="*/ 294272 h 341267"/>
                <a:gd name="connsiteX5" fmla="*/ 0 w 238848"/>
                <a:gd name="connsiteY5" fmla="*/ 243135 h 341267"/>
                <a:gd name="connsiteX6" fmla="*/ 0 w 238848"/>
                <a:gd name="connsiteY6" fmla="*/ 11544 h 341267"/>
                <a:gd name="connsiteX7" fmla="*/ 11551 w 238848"/>
                <a:gd name="connsiteY7" fmla="*/ 0 h 341267"/>
                <a:gd name="connsiteX8" fmla="*/ 23095 w 238848"/>
                <a:gd name="connsiteY8" fmla="*/ 11544 h 341267"/>
                <a:gd name="connsiteX9" fmla="*/ 23095 w 238848"/>
                <a:gd name="connsiteY9" fmla="*/ 243135 h 341267"/>
                <a:gd name="connsiteX10" fmla="*/ 51137 w 238848"/>
                <a:gd name="connsiteY10" fmla="*/ 271177 h 341267"/>
                <a:gd name="connsiteX11" fmla="*/ 192665 w 238848"/>
                <a:gd name="connsiteY11" fmla="*/ 271177 h 341267"/>
                <a:gd name="connsiteX12" fmla="*/ 156692 w 238848"/>
                <a:gd name="connsiteY12" fmla="*/ 244202 h 341267"/>
                <a:gd name="connsiteX13" fmla="*/ 156331 w 238848"/>
                <a:gd name="connsiteY13" fmla="*/ 243980 h 341267"/>
                <a:gd name="connsiteX14" fmla="*/ 152540 w 238848"/>
                <a:gd name="connsiteY14" fmla="*/ 238296 h 341267"/>
                <a:gd name="connsiteX15" fmla="*/ 154724 w 238848"/>
                <a:gd name="connsiteY15" fmla="*/ 228289 h 341267"/>
                <a:gd name="connsiteX16" fmla="*/ 154978 w 238848"/>
                <a:gd name="connsiteY16" fmla="*/ 227952 h 341267"/>
                <a:gd name="connsiteX17" fmla="*/ 155194 w 238848"/>
                <a:gd name="connsiteY17" fmla="*/ 227578 h 341267"/>
                <a:gd name="connsiteX18" fmla="*/ 163227 w 238848"/>
                <a:gd name="connsiteY18" fmla="*/ 223571 h 341267"/>
                <a:gd name="connsiteX19" fmla="*/ 170891 w 238848"/>
                <a:gd name="connsiteY19" fmla="*/ 225977 h 341267"/>
                <a:gd name="connsiteX20" fmla="*/ 234607 w 238848"/>
                <a:gd name="connsiteY20" fmla="*/ 273748 h 341267"/>
                <a:gd name="connsiteX21" fmla="*/ 238849 w 238848"/>
                <a:gd name="connsiteY21" fmla="*/ 282727 h 341267"/>
                <a:gd name="connsiteX22" fmla="*/ 233731 w 238848"/>
                <a:gd name="connsiteY22" fmla="*/ 292335 h 341267"/>
                <a:gd name="connsiteX23" fmla="*/ 170891 w 238848"/>
                <a:gd name="connsiteY23" fmla="*/ 339452 h 341267"/>
                <a:gd name="connsiteX24" fmla="*/ 164548 w 238848"/>
                <a:gd name="connsiteY24" fmla="*/ 341268 h 341267"/>
                <a:gd name="connsiteX25" fmla="*/ 164548 w 238848"/>
                <a:gd name="connsiteY25" fmla="*/ 341268 h 341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38848" h="341267">
                  <a:moveTo>
                    <a:pt x="164548" y="341268"/>
                  </a:moveTo>
                  <a:cubicBezTo>
                    <a:pt x="160522" y="341268"/>
                    <a:pt x="156566" y="339617"/>
                    <a:pt x="154730" y="337160"/>
                  </a:cubicBezTo>
                  <a:cubicBezTo>
                    <a:pt x="151498" y="332842"/>
                    <a:pt x="152724" y="324237"/>
                    <a:pt x="157042" y="320999"/>
                  </a:cubicBezTo>
                  <a:lnTo>
                    <a:pt x="192665" y="294272"/>
                  </a:lnTo>
                  <a:lnTo>
                    <a:pt x="51143" y="294272"/>
                  </a:lnTo>
                  <a:cubicBezTo>
                    <a:pt x="22949" y="294272"/>
                    <a:pt x="0" y="271342"/>
                    <a:pt x="0" y="243135"/>
                  </a:cubicBezTo>
                  <a:lnTo>
                    <a:pt x="0" y="11544"/>
                  </a:lnTo>
                  <a:cubicBezTo>
                    <a:pt x="0" y="4216"/>
                    <a:pt x="4223" y="0"/>
                    <a:pt x="11551" y="0"/>
                  </a:cubicBezTo>
                  <a:cubicBezTo>
                    <a:pt x="18891" y="0"/>
                    <a:pt x="23095" y="4216"/>
                    <a:pt x="23095" y="11544"/>
                  </a:cubicBezTo>
                  <a:lnTo>
                    <a:pt x="23095" y="243135"/>
                  </a:lnTo>
                  <a:cubicBezTo>
                    <a:pt x="23095" y="256629"/>
                    <a:pt x="33814" y="271177"/>
                    <a:pt x="51137" y="271177"/>
                  </a:cubicBezTo>
                  <a:lnTo>
                    <a:pt x="192665" y="271177"/>
                  </a:lnTo>
                  <a:lnTo>
                    <a:pt x="156692" y="244202"/>
                  </a:lnTo>
                  <a:lnTo>
                    <a:pt x="156331" y="243980"/>
                  </a:lnTo>
                  <a:cubicBezTo>
                    <a:pt x="154324" y="242779"/>
                    <a:pt x="153048" y="240868"/>
                    <a:pt x="152540" y="238296"/>
                  </a:cubicBezTo>
                  <a:cubicBezTo>
                    <a:pt x="151879" y="234937"/>
                    <a:pt x="152755" y="230905"/>
                    <a:pt x="154724" y="228289"/>
                  </a:cubicBezTo>
                  <a:lnTo>
                    <a:pt x="154978" y="227952"/>
                  </a:lnTo>
                  <a:lnTo>
                    <a:pt x="155194" y="227578"/>
                  </a:lnTo>
                  <a:cubicBezTo>
                    <a:pt x="157283" y="224091"/>
                    <a:pt x="161125" y="223571"/>
                    <a:pt x="163227" y="223571"/>
                  </a:cubicBezTo>
                  <a:cubicBezTo>
                    <a:pt x="166014" y="223571"/>
                    <a:pt x="168885" y="224479"/>
                    <a:pt x="170891" y="225977"/>
                  </a:cubicBezTo>
                  <a:lnTo>
                    <a:pt x="234607" y="273748"/>
                  </a:lnTo>
                  <a:cubicBezTo>
                    <a:pt x="236429" y="274961"/>
                    <a:pt x="238849" y="277209"/>
                    <a:pt x="238849" y="282727"/>
                  </a:cubicBezTo>
                  <a:cubicBezTo>
                    <a:pt x="238849" y="285343"/>
                    <a:pt x="236861" y="289071"/>
                    <a:pt x="233731" y="292335"/>
                  </a:cubicBezTo>
                  <a:lnTo>
                    <a:pt x="170891" y="339452"/>
                  </a:lnTo>
                  <a:cubicBezTo>
                    <a:pt x="169335" y="340627"/>
                    <a:pt x="167087" y="341268"/>
                    <a:pt x="164548" y="341268"/>
                  </a:cubicBezTo>
                  <a:lnTo>
                    <a:pt x="164548" y="341268"/>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2" name="Groupe 41">
            <a:extLst>
              <a:ext uri="{FF2B5EF4-FFF2-40B4-BE49-F238E27FC236}">
                <a16:creationId xmlns:a16="http://schemas.microsoft.com/office/drawing/2014/main" id="{FAF3497C-2E10-4775-8A08-F94917E1DC86}"/>
              </a:ext>
            </a:extLst>
          </p:cNvPr>
          <p:cNvGrpSpPr/>
          <p:nvPr/>
        </p:nvGrpSpPr>
        <p:grpSpPr>
          <a:xfrm>
            <a:off x="7165246" y="3049061"/>
            <a:ext cx="2065016" cy="2097615"/>
            <a:chOff x="7632240" y="3006907"/>
            <a:chExt cx="2211896" cy="2246813"/>
          </a:xfrm>
        </p:grpSpPr>
        <p:grpSp>
          <p:nvGrpSpPr>
            <p:cNvPr id="22" name="Graphique 3">
              <a:extLst>
                <a:ext uri="{FF2B5EF4-FFF2-40B4-BE49-F238E27FC236}">
                  <a16:creationId xmlns:a16="http://schemas.microsoft.com/office/drawing/2014/main" id="{E53641CA-A67E-4C2B-8530-A13BF29F5A46}"/>
                </a:ext>
              </a:extLst>
            </p:cNvPr>
            <p:cNvGrpSpPr/>
            <p:nvPr/>
          </p:nvGrpSpPr>
          <p:grpSpPr>
            <a:xfrm>
              <a:off x="7632240" y="3006907"/>
              <a:ext cx="2211896" cy="2246813"/>
              <a:chOff x="7157446" y="3318452"/>
              <a:chExt cx="1368018" cy="1389614"/>
            </a:xfrm>
          </p:grpSpPr>
          <p:grpSp>
            <p:nvGrpSpPr>
              <p:cNvPr id="23" name="Graphique 3">
                <a:extLst>
                  <a:ext uri="{FF2B5EF4-FFF2-40B4-BE49-F238E27FC236}">
                    <a16:creationId xmlns:a16="http://schemas.microsoft.com/office/drawing/2014/main" id="{E53641CA-A67E-4C2B-8530-A13BF29F5A46}"/>
                  </a:ext>
                </a:extLst>
              </p:cNvPr>
              <p:cNvGrpSpPr/>
              <p:nvPr/>
            </p:nvGrpSpPr>
            <p:grpSpPr>
              <a:xfrm>
                <a:off x="7157446" y="3318452"/>
                <a:ext cx="1368018" cy="1368018"/>
                <a:chOff x="7157446" y="3318452"/>
                <a:chExt cx="1368018" cy="1368018"/>
              </a:xfrm>
            </p:grpSpPr>
            <p:sp>
              <p:nvSpPr>
                <p:cNvPr id="24" name="Forme libre : forme 23">
                  <a:extLst>
                    <a:ext uri="{FF2B5EF4-FFF2-40B4-BE49-F238E27FC236}">
                      <a16:creationId xmlns:a16="http://schemas.microsoft.com/office/drawing/2014/main" id="{F2699CF2-2632-4BBB-ADFB-9EA49A6F7003}"/>
                    </a:ext>
                  </a:extLst>
                </p:cNvPr>
                <p:cNvSpPr/>
                <p:nvPr/>
              </p:nvSpPr>
              <p:spPr>
                <a:xfrm>
                  <a:off x="7157446" y="3318452"/>
                  <a:ext cx="1368018" cy="1368018"/>
                </a:xfrm>
                <a:custGeom>
                  <a:avLst/>
                  <a:gdLst>
                    <a:gd name="connsiteX0" fmla="*/ 1368019 w 1368018"/>
                    <a:gd name="connsiteY0" fmla="*/ 684009 h 1368018"/>
                    <a:gd name="connsiteX1" fmla="*/ 684009 w 1368018"/>
                    <a:gd name="connsiteY1" fmla="*/ 1368019 h 1368018"/>
                    <a:gd name="connsiteX2" fmla="*/ 0 w 1368018"/>
                    <a:gd name="connsiteY2" fmla="*/ 684009 h 1368018"/>
                    <a:gd name="connsiteX3" fmla="*/ 684009 w 1368018"/>
                    <a:gd name="connsiteY3" fmla="*/ 0 h 1368018"/>
                    <a:gd name="connsiteX4" fmla="*/ 1368019 w 1368018"/>
                    <a:gd name="connsiteY4" fmla="*/ 684009 h 13680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8018" h="1368018">
                      <a:moveTo>
                        <a:pt x="1368019" y="684009"/>
                      </a:moveTo>
                      <a:cubicBezTo>
                        <a:pt x="1368019" y="1061777"/>
                        <a:pt x="1061778" y="1368019"/>
                        <a:pt x="684009" y="1368019"/>
                      </a:cubicBezTo>
                      <a:cubicBezTo>
                        <a:pt x="306242" y="1368019"/>
                        <a:pt x="0" y="1061777"/>
                        <a:pt x="0" y="684009"/>
                      </a:cubicBezTo>
                      <a:cubicBezTo>
                        <a:pt x="0" y="306241"/>
                        <a:pt x="306241" y="0"/>
                        <a:pt x="684009" y="0"/>
                      </a:cubicBezTo>
                      <a:cubicBezTo>
                        <a:pt x="1061777" y="0"/>
                        <a:pt x="1368019" y="306241"/>
                        <a:pt x="1368019" y="684009"/>
                      </a:cubicBezTo>
                      <a:close/>
                    </a:path>
                  </a:pathLst>
                </a:custGeom>
                <a:solidFill>
                  <a:srgbClr val="1EFEC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orme libre : forme 24">
                  <a:extLst>
                    <a:ext uri="{FF2B5EF4-FFF2-40B4-BE49-F238E27FC236}">
                      <a16:creationId xmlns:a16="http://schemas.microsoft.com/office/drawing/2014/main" id="{ED4DEB45-8445-4E4E-8170-E931C5A4C180}"/>
                    </a:ext>
                  </a:extLst>
                </p:cNvPr>
                <p:cNvSpPr/>
                <p:nvPr/>
              </p:nvSpPr>
              <p:spPr>
                <a:xfrm>
                  <a:off x="7279667" y="3440692"/>
                  <a:ext cx="1123567" cy="1123566"/>
                </a:xfrm>
                <a:custGeom>
                  <a:avLst/>
                  <a:gdLst>
                    <a:gd name="connsiteX0" fmla="*/ 1122782 w 1123567"/>
                    <a:gd name="connsiteY0" fmla="*/ 591183 h 1123566"/>
                    <a:gd name="connsiteX1" fmla="*/ 532375 w 1123567"/>
                    <a:gd name="connsiteY1" fmla="*/ 1122782 h 1123566"/>
                    <a:gd name="connsiteX2" fmla="*/ 785 w 1123567"/>
                    <a:gd name="connsiteY2" fmla="*/ 532366 h 1123566"/>
                    <a:gd name="connsiteX3" fmla="*/ 591202 w 1123567"/>
                    <a:gd name="connsiteY3" fmla="*/ 785 h 1123566"/>
                    <a:gd name="connsiteX4" fmla="*/ 1122782 w 1123567"/>
                    <a:gd name="connsiteY4" fmla="*/ 591183 h 1123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3567" h="1123566">
                      <a:moveTo>
                        <a:pt x="1122782" y="591183"/>
                      </a:moveTo>
                      <a:cubicBezTo>
                        <a:pt x="1106542" y="901040"/>
                        <a:pt x="842205" y="1139022"/>
                        <a:pt x="532375" y="1122782"/>
                      </a:cubicBezTo>
                      <a:cubicBezTo>
                        <a:pt x="222556" y="1106542"/>
                        <a:pt x="-15465" y="842223"/>
                        <a:pt x="785" y="532366"/>
                      </a:cubicBezTo>
                      <a:cubicBezTo>
                        <a:pt x="17016" y="222555"/>
                        <a:pt x="281382" y="-15465"/>
                        <a:pt x="591202" y="785"/>
                      </a:cubicBezTo>
                      <a:cubicBezTo>
                        <a:pt x="901031" y="17025"/>
                        <a:pt x="1139042" y="281382"/>
                        <a:pt x="1122782" y="591183"/>
                      </a:cubicBezTo>
                      <a:close/>
                    </a:path>
                  </a:pathLst>
                </a:custGeom>
                <a:solidFill>
                  <a:srgbClr val="01CC9B"/>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6" name="Forme libre : forme 25">
                <a:extLst>
                  <a:ext uri="{FF2B5EF4-FFF2-40B4-BE49-F238E27FC236}">
                    <a16:creationId xmlns:a16="http://schemas.microsoft.com/office/drawing/2014/main" id="{2886892B-F784-4106-8BEE-57A6CB78B7AB}"/>
                  </a:ext>
                </a:extLst>
              </p:cNvPr>
              <p:cNvSpPr/>
              <p:nvPr/>
            </p:nvSpPr>
            <p:spPr>
              <a:xfrm>
                <a:off x="8212874" y="4516707"/>
                <a:ext cx="175315" cy="191359"/>
              </a:xfrm>
              <a:custGeom>
                <a:avLst/>
                <a:gdLst>
                  <a:gd name="connsiteX0" fmla="*/ 157410 w 175315"/>
                  <a:gd name="connsiteY0" fmla="*/ 190233 h 191359"/>
                  <a:gd name="connsiteX1" fmla="*/ 0 w 175315"/>
                  <a:gd name="connsiteY1" fmla="*/ 120358 h 191359"/>
                  <a:gd name="connsiteX2" fmla="*/ 68332 w 175315"/>
                  <a:gd name="connsiteY2" fmla="*/ 76638 h 191359"/>
                  <a:gd name="connsiteX3" fmla="*/ 156581 w 175315"/>
                  <a:gd name="connsiteY3" fmla="*/ 0 h 191359"/>
                  <a:gd name="connsiteX4" fmla="*/ 175231 w 175315"/>
                  <a:gd name="connsiteY4" fmla="*/ 177279 h 191359"/>
                  <a:gd name="connsiteX5" fmla="*/ 157410 w 175315"/>
                  <a:gd name="connsiteY5" fmla="*/ 190233 h 19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315" h="191359">
                    <a:moveTo>
                      <a:pt x="157410" y="190233"/>
                    </a:moveTo>
                    <a:lnTo>
                      <a:pt x="0" y="120358"/>
                    </a:lnTo>
                    <a:cubicBezTo>
                      <a:pt x="23393" y="107356"/>
                      <a:pt x="46205" y="92755"/>
                      <a:pt x="68332" y="76638"/>
                    </a:cubicBezTo>
                    <a:cubicBezTo>
                      <a:pt x="100412" y="53273"/>
                      <a:pt x="129968" y="27603"/>
                      <a:pt x="156581" y="0"/>
                    </a:cubicBezTo>
                    <a:lnTo>
                      <a:pt x="175231" y="177279"/>
                    </a:lnTo>
                    <a:cubicBezTo>
                      <a:pt x="176326" y="187071"/>
                      <a:pt x="166525" y="194224"/>
                      <a:pt x="157410" y="190233"/>
                    </a:cubicBezTo>
                    <a:close/>
                  </a:path>
                </a:pathLst>
              </a:custGeom>
              <a:solidFill>
                <a:srgbClr val="01CC9B"/>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9" name="Rectangle 38">
              <a:extLst>
                <a:ext uri="{FF2B5EF4-FFF2-40B4-BE49-F238E27FC236}">
                  <a16:creationId xmlns:a16="http://schemas.microsoft.com/office/drawing/2014/main" id="{C2D53408-6C2B-4A35-B939-2F7F71CB6E92}"/>
                </a:ext>
              </a:extLst>
            </p:cNvPr>
            <p:cNvSpPr/>
            <p:nvPr/>
          </p:nvSpPr>
          <p:spPr>
            <a:xfrm>
              <a:off x="7743794" y="3468428"/>
              <a:ext cx="1960094" cy="115383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Reconcile inconsistencies and identify gaps</a:t>
              </a:r>
            </a:p>
          </p:txBody>
        </p:sp>
      </p:grpSp>
      <p:pic>
        <p:nvPicPr>
          <p:cNvPr id="1665" name="Graphique 1664">
            <a:extLst>
              <a:ext uri="{FF2B5EF4-FFF2-40B4-BE49-F238E27FC236}">
                <a16:creationId xmlns:a16="http://schemas.microsoft.com/office/drawing/2014/main" id="{75055A28-6DD2-4A44-AC25-6B9C3EAF98C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090450" y="4333537"/>
            <a:ext cx="1914071" cy="1925821"/>
          </a:xfrm>
          <a:prstGeom prst="rect">
            <a:avLst/>
          </a:prstGeom>
        </p:spPr>
      </p:pic>
      <p:grpSp>
        <p:nvGrpSpPr>
          <p:cNvPr id="1685" name="Image 6">
            <a:extLst>
              <a:ext uri="{FF2B5EF4-FFF2-40B4-BE49-F238E27FC236}">
                <a16:creationId xmlns:a16="http://schemas.microsoft.com/office/drawing/2014/main" id="{0EE97DE0-B13E-4D7D-9C64-1F45214E5942}"/>
              </a:ext>
            </a:extLst>
          </p:cNvPr>
          <p:cNvGrpSpPr/>
          <p:nvPr/>
        </p:nvGrpSpPr>
        <p:grpSpPr>
          <a:xfrm>
            <a:off x="7705183" y="4859382"/>
            <a:ext cx="564317" cy="694550"/>
            <a:chOff x="6967111" y="3171435"/>
            <a:chExt cx="643635" cy="792173"/>
          </a:xfrm>
          <a:solidFill>
            <a:srgbClr val="000000"/>
          </a:solidFill>
        </p:grpSpPr>
        <p:sp>
          <p:nvSpPr>
            <p:cNvPr id="1686" name="Forme libre : forme 1685">
              <a:extLst>
                <a:ext uri="{FF2B5EF4-FFF2-40B4-BE49-F238E27FC236}">
                  <a16:creationId xmlns:a16="http://schemas.microsoft.com/office/drawing/2014/main" id="{5A9DAECE-E117-4347-83C0-40BFD9F68966}"/>
                </a:ext>
              </a:extLst>
            </p:cNvPr>
            <p:cNvSpPr/>
            <p:nvPr/>
          </p:nvSpPr>
          <p:spPr>
            <a:xfrm>
              <a:off x="6967111" y="3171435"/>
              <a:ext cx="643635" cy="792173"/>
            </a:xfrm>
            <a:custGeom>
              <a:avLst/>
              <a:gdLst>
                <a:gd name="connsiteX0" fmla="*/ 643191 w 643635"/>
                <a:gd name="connsiteY0" fmla="*/ 133176 h 792173"/>
                <a:gd name="connsiteX1" fmla="*/ 639445 w 643635"/>
                <a:gd name="connsiteY1" fmla="*/ 126876 h 792173"/>
                <a:gd name="connsiteX2" fmla="*/ 498792 w 643635"/>
                <a:gd name="connsiteY2" fmla="*/ 3109 h 792173"/>
                <a:gd name="connsiteX3" fmla="*/ 490601 w 643635"/>
                <a:gd name="connsiteY3" fmla="*/ 22 h 792173"/>
                <a:gd name="connsiteX4" fmla="*/ 40513 w 643635"/>
                <a:gd name="connsiteY4" fmla="*/ 22 h 792173"/>
                <a:gd name="connsiteX5" fmla="*/ 64 w 643635"/>
                <a:gd name="connsiteY5" fmla="*/ 37887 h 792173"/>
                <a:gd name="connsiteX6" fmla="*/ 0 w 643635"/>
                <a:gd name="connsiteY6" fmla="*/ 38694 h 792173"/>
                <a:gd name="connsiteX7" fmla="*/ 0 w 643635"/>
                <a:gd name="connsiteY7" fmla="*/ 756555 h 792173"/>
                <a:gd name="connsiteX8" fmla="*/ 40513 w 643635"/>
                <a:gd name="connsiteY8" fmla="*/ 792140 h 792173"/>
                <a:gd name="connsiteX9" fmla="*/ 603123 w 643635"/>
                <a:gd name="connsiteY9" fmla="*/ 792140 h 792173"/>
                <a:gd name="connsiteX10" fmla="*/ 643636 w 643635"/>
                <a:gd name="connsiteY10" fmla="*/ 755012 h 792173"/>
                <a:gd name="connsiteX11" fmla="*/ 643636 w 643635"/>
                <a:gd name="connsiteY11" fmla="*/ 136160 h 792173"/>
                <a:gd name="connsiteX12" fmla="*/ 643191 w 643635"/>
                <a:gd name="connsiteY12" fmla="*/ 133176 h 792173"/>
                <a:gd name="connsiteX13" fmla="*/ 597027 w 643635"/>
                <a:gd name="connsiteY13" fmla="*/ 123797 h 792173"/>
                <a:gd name="connsiteX14" fmla="*/ 512445 w 643635"/>
                <a:gd name="connsiteY14" fmla="*/ 123797 h 792173"/>
                <a:gd name="connsiteX15" fmla="*/ 495109 w 643635"/>
                <a:gd name="connsiteY15" fmla="*/ 111420 h 792173"/>
                <a:gd name="connsiteX16" fmla="*/ 495109 w 643635"/>
                <a:gd name="connsiteY16" fmla="*/ 38827 h 792173"/>
                <a:gd name="connsiteX17" fmla="*/ 597027 w 643635"/>
                <a:gd name="connsiteY17" fmla="*/ 123797 h 792173"/>
                <a:gd name="connsiteX18" fmla="*/ 603123 w 643635"/>
                <a:gd name="connsiteY18" fmla="*/ 767401 h 792173"/>
                <a:gd name="connsiteX19" fmla="*/ 40513 w 643635"/>
                <a:gd name="connsiteY19" fmla="*/ 767401 h 792173"/>
                <a:gd name="connsiteX20" fmla="*/ 24764 w 643635"/>
                <a:gd name="connsiteY20" fmla="*/ 756568 h 792173"/>
                <a:gd name="connsiteX21" fmla="*/ 24764 w 643635"/>
                <a:gd name="connsiteY21" fmla="*/ 38700 h 792173"/>
                <a:gd name="connsiteX22" fmla="*/ 40005 w 643635"/>
                <a:gd name="connsiteY22" fmla="*/ 24743 h 792173"/>
                <a:gd name="connsiteX23" fmla="*/ 40513 w 643635"/>
                <a:gd name="connsiteY23" fmla="*/ 24775 h 792173"/>
                <a:gd name="connsiteX24" fmla="*/ 470344 w 643635"/>
                <a:gd name="connsiteY24" fmla="*/ 24775 h 792173"/>
                <a:gd name="connsiteX25" fmla="*/ 470344 w 643635"/>
                <a:gd name="connsiteY25" fmla="*/ 111414 h 792173"/>
                <a:gd name="connsiteX26" fmla="*/ 512445 w 643635"/>
                <a:gd name="connsiteY26" fmla="*/ 148543 h 792173"/>
                <a:gd name="connsiteX27" fmla="*/ 618871 w 643635"/>
                <a:gd name="connsiteY27" fmla="*/ 148543 h 792173"/>
                <a:gd name="connsiteX28" fmla="*/ 618871 w 643635"/>
                <a:gd name="connsiteY28" fmla="*/ 755018 h 792173"/>
                <a:gd name="connsiteX29" fmla="*/ 603123 w 643635"/>
                <a:gd name="connsiteY29" fmla="*/ 767401 h 792173"/>
                <a:gd name="connsiteX30" fmla="*/ 603123 w 643635"/>
                <a:gd name="connsiteY30" fmla="*/ 767401 h 792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43635" h="792173">
                  <a:moveTo>
                    <a:pt x="643191" y="133176"/>
                  </a:moveTo>
                  <a:cubicBezTo>
                    <a:pt x="642620" y="130750"/>
                    <a:pt x="641286" y="128565"/>
                    <a:pt x="639445" y="126876"/>
                  </a:cubicBezTo>
                  <a:lnTo>
                    <a:pt x="498792" y="3109"/>
                  </a:lnTo>
                  <a:cubicBezTo>
                    <a:pt x="496506" y="1121"/>
                    <a:pt x="493585" y="22"/>
                    <a:pt x="490601" y="22"/>
                  </a:cubicBezTo>
                  <a:lnTo>
                    <a:pt x="40513" y="22"/>
                  </a:lnTo>
                  <a:cubicBezTo>
                    <a:pt x="18923" y="-701"/>
                    <a:pt x="762" y="16253"/>
                    <a:pt x="64" y="37887"/>
                  </a:cubicBezTo>
                  <a:cubicBezTo>
                    <a:pt x="64" y="38154"/>
                    <a:pt x="0" y="38421"/>
                    <a:pt x="0" y="38694"/>
                  </a:cubicBezTo>
                  <a:lnTo>
                    <a:pt x="0" y="756555"/>
                  </a:lnTo>
                  <a:cubicBezTo>
                    <a:pt x="0" y="775847"/>
                    <a:pt x="18605" y="792140"/>
                    <a:pt x="40513" y="792140"/>
                  </a:cubicBezTo>
                  <a:lnTo>
                    <a:pt x="603123" y="792140"/>
                  </a:lnTo>
                  <a:cubicBezTo>
                    <a:pt x="624522" y="793011"/>
                    <a:pt x="642620" y="776418"/>
                    <a:pt x="643636" y="755012"/>
                  </a:cubicBezTo>
                  <a:lnTo>
                    <a:pt x="643636" y="136160"/>
                  </a:lnTo>
                  <a:cubicBezTo>
                    <a:pt x="643636" y="135163"/>
                    <a:pt x="643509" y="134154"/>
                    <a:pt x="643191" y="133176"/>
                  </a:cubicBezTo>
                  <a:close/>
                  <a:moveTo>
                    <a:pt x="597027" y="123797"/>
                  </a:moveTo>
                  <a:lnTo>
                    <a:pt x="512445" y="123797"/>
                  </a:lnTo>
                  <a:cubicBezTo>
                    <a:pt x="503047" y="123797"/>
                    <a:pt x="495109" y="118126"/>
                    <a:pt x="495109" y="111420"/>
                  </a:cubicBezTo>
                  <a:lnTo>
                    <a:pt x="495109" y="38827"/>
                  </a:lnTo>
                  <a:lnTo>
                    <a:pt x="597027" y="123797"/>
                  </a:lnTo>
                  <a:close/>
                  <a:moveTo>
                    <a:pt x="603123" y="767401"/>
                  </a:moveTo>
                  <a:lnTo>
                    <a:pt x="40513" y="767401"/>
                  </a:lnTo>
                  <a:cubicBezTo>
                    <a:pt x="31814" y="767401"/>
                    <a:pt x="24764" y="761470"/>
                    <a:pt x="24764" y="756568"/>
                  </a:cubicBezTo>
                  <a:lnTo>
                    <a:pt x="24764" y="38700"/>
                  </a:lnTo>
                  <a:cubicBezTo>
                    <a:pt x="25146" y="30648"/>
                    <a:pt x="31940" y="24400"/>
                    <a:pt x="40005" y="24743"/>
                  </a:cubicBezTo>
                  <a:cubicBezTo>
                    <a:pt x="40195" y="24749"/>
                    <a:pt x="40386" y="24762"/>
                    <a:pt x="40513" y="24775"/>
                  </a:cubicBezTo>
                  <a:lnTo>
                    <a:pt x="470344" y="24775"/>
                  </a:lnTo>
                  <a:lnTo>
                    <a:pt x="470344" y="111414"/>
                  </a:lnTo>
                  <a:cubicBezTo>
                    <a:pt x="470344" y="131893"/>
                    <a:pt x="489267" y="148543"/>
                    <a:pt x="512445" y="148543"/>
                  </a:cubicBezTo>
                  <a:lnTo>
                    <a:pt x="618871" y="148543"/>
                  </a:lnTo>
                  <a:lnTo>
                    <a:pt x="618871" y="755018"/>
                  </a:lnTo>
                  <a:cubicBezTo>
                    <a:pt x="617727" y="762676"/>
                    <a:pt x="610806" y="768106"/>
                    <a:pt x="603123" y="767401"/>
                  </a:cubicBezTo>
                  <a:lnTo>
                    <a:pt x="603123" y="767401"/>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87" name="Forme libre : forme 1686">
              <a:extLst>
                <a:ext uri="{FF2B5EF4-FFF2-40B4-BE49-F238E27FC236}">
                  <a16:creationId xmlns:a16="http://schemas.microsoft.com/office/drawing/2014/main" id="{FF6FDEF7-9EC8-4BEB-8549-ED1A3227C79D}"/>
                </a:ext>
              </a:extLst>
            </p:cNvPr>
            <p:cNvSpPr/>
            <p:nvPr/>
          </p:nvSpPr>
          <p:spPr>
            <a:xfrm>
              <a:off x="7041405" y="3251912"/>
              <a:ext cx="297053" cy="24752"/>
            </a:xfrm>
            <a:custGeom>
              <a:avLst/>
              <a:gdLst>
                <a:gd name="connsiteX0" fmla="*/ 12382 w 297053"/>
                <a:gd name="connsiteY0" fmla="*/ 24752 h 24752"/>
                <a:gd name="connsiteX1" fmla="*/ 284670 w 297053"/>
                <a:gd name="connsiteY1" fmla="*/ 24752 h 24752"/>
                <a:gd name="connsiteX2" fmla="*/ 297053 w 297053"/>
                <a:gd name="connsiteY2" fmla="*/ 12376 h 24752"/>
                <a:gd name="connsiteX3" fmla="*/ 284670 w 297053"/>
                <a:gd name="connsiteY3" fmla="*/ 0 h 24752"/>
                <a:gd name="connsiteX4" fmla="*/ 12382 w 297053"/>
                <a:gd name="connsiteY4" fmla="*/ 0 h 24752"/>
                <a:gd name="connsiteX5" fmla="*/ 0 w 297053"/>
                <a:gd name="connsiteY5" fmla="*/ 12376 h 24752"/>
                <a:gd name="connsiteX6" fmla="*/ 12382 w 297053"/>
                <a:gd name="connsiteY6" fmla="*/ 24752 h 24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053" h="24752">
                  <a:moveTo>
                    <a:pt x="12382" y="24752"/>
                  </a:moveTo>
                  <a:lnTo>
                    <a:pt x="284670" y="24752"/>
                  </a:lnTo>
                  <a:cubicBezTo>
                    <a:pt x="291529" y="24752"/>
                    <a:pt x="297053" y="19215"/>
                    <a:pt x="297053" y="12376"/>
                  </a:cubicBezTo>
                  <a:cubicBezTo>
                    <a:pt x="297053" y="5537"/>
                    <a:pt x="291529" y="0"/>
                    <a:pt x="284670" y="0"/>
                  </a:cubicBezTo>
                  <a:lnTo>
                    <a:pt x="12382" y="0"/>
                  </a:lnTo>
                  <a:cubicBezTo>
                    <a:pt x="5524" y="0"/>
                    <a:pt x="0" y="5537"/>
                    <a:pt x="0" y="12376"/>
                  </a:cubicBezTo>
                  <a:cubicBezTo>
                    <a:pt x="0" y="19215"/>
                    <a:pt x="5524" y="24752"/>
                    <a:pt x="12382" y="24752"/>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88" name="Forme libre : forme 1687">
              <a:extLst>
                <a:ext uri="{FF2B5EF4-FFF2-40B4-BE49-F238E27FC236}">
                  <a16:creationId xmlns:a16="http://schemas.microsoft.com/office/drawing/2014/main" id="{1F25838C-8857-4443-AAB6-F48734A6B911}"/>
                </a:ext>
              </a:extLst>
            </p:cNvPr>
            <p:cNvSpPr/>
            <p:nvPr/>
          </p:nvSpPr>
          <p:spPr>
            <a:xfrm>
              <a:off x="7041406" y="3623214"/>
              <a:ext cx="86612" cy="61770"/>
            </a:xfrm>
            <a:custGeom>
              <a:avLst/>
              <a:gdLst>
                <a:gd name="connsiteX0" fmla="*/ 66420 w 86612"/>
                <a:gd name="connsiteY0" fmla="*/ 2783 h 61770"/>
                <a:gd name="connsiteX1" fmla="*/ 30607 w 86612"/>
                <a:gd name="connsiteY1" fmla="*/ 31980 h 61770"/>
                <a:gd name="connsiteX2" fmla="*/ 22034 w 86612"/>
                <a:gd name="connsiteY2" fmla="*/ 21210 h 61770"/>
                <a:gd name="connsiteX3" fmla="*/ 4698 w 86612"/>
                <a:gd name="connsiteY3" fmla="*/ 19185 h 61770"/>
                <a:gd name="connsiteX4" fmla="*/ 2667 w 86612"/>
                <a:gd name="connsiteY4" fmla="*/ 36565 h 61770"/>
                <a:gd name="connsiteX5" fmla="*/ 18986 w 86612"/>
                <a:gd name="connsiteY5" fmla="*/ 57196 h 61770"/>
                <a:gd name="connsiteX6" fmla="*/ 36512 w 86612"/>
                <a:gd name="connsiteY6" fmla="*/ 59107 h 61770"/>
                <a:gd name="connsiteX7" fmla="*/ 82042 w 86612"/>
                <a:gd name="connsiteY7" fmla="*/ 21972 h 61770"/>
                <a:gd name="connsiteX8" fmla="*/ 83819 w 86612"/>
                <a:gd name="connsiteY8" fmla="*/ 4561 h 61770"/>
                <a:gd name="connsiteX9" fmla="*/ 66420 w 86612"/>
                <a:gd name="connsiteY9" fmla="*/ 2783 h 61770"/>
                <a:gd name="connsiteX10" fmla="*/ 66420 w 86612"/>
                <a:gd name="connsiteY10" fmla="*/ 2783 h 61770"/>
                <a:gd name="connsiteX11" fmla="*/ 66420 w 86612"/>
                <a:gd name="connsiteY11" fmla="*/ 2783 h 61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612" h="61770">
                  <a:moveTo>
                    <a:pt x="66420" y="2783"/>
                  </a:moveTo>
                  <a:lnTo>
                    <a:pt x="30607" y="31980"/>
                  </a:lnTo>
                  <a:lnTo>
                    <a:pt x="22034" y="21210"/>
                  </a:lnTo>
                  <a:cubicBezTo>
                    <a:pt x="17843" y="15845"/>
                    <a:pt x="10032" y="14943"/>
                    <a:pt x="4698" y="19185"/>
                  </a:cubicBezTo>
                  <a:cubicBezTo>
                    <a:pt x="-636" y="23427"/>
                    <a:pt x="-1588" y="31206"/>
                    <a:pt x="2667" y="36565"/>
                  </a:cubicBezTo>
                  <a:lnTo>
                    <a:pt x="18986" y="57196"/>
                  </a:lnTo>
                  <a:cubicBezTo>
                    <a:pt x="23368" y="62447"/>
                    <a:pt x="31114" y="63305"/>
                    <a:pt x="36512" y="59107"/>
                  </a:cubicBezTo>
                  <a:lnTo>
                    <a:pt x="82042" y="21972"/>
                  </a:lnTo>
                  <a:cubicBezTo>
                    <a:pt x="87375" y="17654"/>
                    <a:pt x="88137" y="9869"/>
                    <a:pt x="83819" y="4561"/>
                  </a:cubicBezTo>
                  <a:cubicBezTo>
                    <a:pt x="79501" y="-741"/>
                    <a:pt x="71755" y="-1535"/>
                    <a:pt x="66420" y="2783"/>
                  </a:cubicBezTo>
                  <a:lnTo>
                    <a:pt x="66420" y="2783"/>
                  </a:lnTo>
                  <a:lnTo>
                    <a:pt x="66420" y="2783"/>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89" name="Forme libre : forme 1688">
              <a:extLst>
                <a:ext uri="{FF2B5EF4-FFF2-40B4-BE49-F238E27FC236}">
                  <a16:creationId xmlns:a16="http://schemas.microsoft.com/office/drawing/2014/main" id="{00F141D3-5C18-4B16-B49A-C78F8A1BAD6E}"/>
                </a:ext>
              </a:extLst>
            </p:cNvPr>
            <p:cNvSpPr/>
            <p:nvPr/>
          </p:nvSpPr>
          <p:spPr>
            <a:xfrm>
              <a:off x="7041406" y="3722236"/>
              <a:ext cx="86612" cy="61799"/>
            </a:xfrm>
            <a:custGeom>
              <a:avLst/>
              <a:gdLst>
                <a:gd name="connsiteX0" fmla="*/ 66420 w 86612"/>
                <a:gd name="connsiteY0" fmla="*/ 2783 h 61799"/>
                <a:gd name="connsiteX1" fmla="*/ 30607 w 86612"/>
                <a:gd name="connsiteY1" fmla="*/ 31980 h 61799"/>
                <a:gd name="connsiteX2" fmla="*/ 22034 w 86612"/>
                <a:gd name="connsiteY2" fmla="*/ 21204 h 61799"/>
                <a:gd name="connsiteX3" fmla="*/ 4698 w 86612"/>
                <a:gd name="connsiteY3" fmla="*/ 19178 h 61799"/>
                <a:gd name="connsiteX4" fmla="*/ 2667 w 86612"/>
                <a:gd name="connsiteY4" fmla="*/ 36558 h 61799"/>
                <a:gd name="connsiteX5" fmla="*/ 2667 w 86612"/>
                <a:gd name="connsiteY5" fmla="*/ 36558 h 61799"/>
                <a:gd name="connsiteX6" fmla="*/ 18986 w 86612"/>
                <a:gd name="connsiteY6" fmla="*/ 57183 h 61799"/>
                <a:gd name="connsiteX7" fmla="*/ 36512 w 86612"/>
                <a:gd name="connsiteY7" fmla="*/ 59107 h 61799"/>
                <a:gd name="connsiteX8" fmla="*/ 82042 w 86612"/>
                <a:gd name="connsiteY8" fmla="*/ 21972 h 61799"/>
                <a:gd name="connsiteX9" fmla="*/ 83819 w 86612"/>
                <a:gd name="connsiteY9" fmla="*/ 4561 h 61799"/>
                <a:gd name="connsiteX10" fmla="*/ 66420 w 86612"/>
                <a:gd name="connsiteY10" fmla="*/ 2783 h 61799"/>
                <a:gd name="connsiteX11" fmla="*/ 66420 w 86612"/>
                <a:gd name="connsiteY11" fmla="*/ 2783 h 61799"/>
                <a:gd name="connsiteX12" fmla="*/ 66420 w 86612"/>
                <a:gd name="connsiteY12" fmla="*/ 2783 h 61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6612" h="61799">
                  <a:moveTo>
                    <a:pt x="66420" y="2783"/>
                  </a:moveTo>
                  <a:lnTo>
                    <a:pt x="30607" y="31980"/>
                  </a:lnTo>
                  <a:lnTo>
                    <a:pt x="22034" y="21204"/>
                  </a:lnTo>
                  <a:cubicBezTo>
                    <a:pt x="17843" y="15845"/>
                    <a:pt x="10032" y="14943"/>
                    <a:pt x="4698" y="19178"/>
                  </a:cubicBezTo>
                  <a:cubicBezTo>
                    <a:pt x="-636" y="23414"/>
                    <a:pt x="-1588" y="31206"/>
                    <a:pt x="2667" y="36558"/>
                  </a:cubicBezTo>
                  <a:lnTo>
                    <a:pt x="2667" y="36558"/>
                  </a:lnTo>
                  <a:lnTo>
                    <a:pt x="18986" y="57183"/>
                  </a:lnTo>
                  <a:cubicBezTo>
                    <a:pt x="23304" y="62492"/>
                    <a:pt x="31114" y="63343"/>
                    <a:pt x="36512" y="59107"/>
                  </a:cubicBezTo>
                  <a:lnTo>
                    <a:pt x="82042" y="21972"/>
                  </a:lnTo>
                  <a:cubicBezTo>
                    <a:pt x="87375" y="17654"/>
                    <a:pt x="88137" y="9863"/>
                    <a:pt x="83819" y="4561"/>
                  </a:cubicBezTo>
                  <a:cubicBezTo>
                    <a:pt x="79501" y="-741"/>
                    <a:pt x="71755" y="-1535"/>
                    <a:pt x="66420" y="2783"/>
                  </a:cubicBezTo>
                  <a:lnTo>
                    <a:pt x="66420" y="2783"/>
                  </a:lnTo>
                  <a:lnTo>
                    <a:pt x="66420" y="2783"/>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0" name="Forme libre : forme 1689">
              <a:extLst>
                <a:ext uri="{FF2B5EF4-FFF2-40B4-BE49-F238E27FC236}">
                  <a16:creationId xmlns:a16="http://schemas.microsoft.com/office/drawing/2014/main" id="{0282251D-0791-4797-922A-B903084141CA}"/>
                </a:ext>
              </a:extLst>
            </p:cNvPr>
            <p:cNvSpPr/>
            <p:nvPr/>
          </p:nvSpPr>
          <p:spPr>
            <a:xfrm>
              <a:off x="7165167" y="3821246"/>
              <a:ext cx="371284" cy="24752"/>
            </a:xfrm>
            <a:custGeom>
              <a:avLst/>
              <a:gdLst>
                <a:gd name="connsiteX0" fmla="*/ 358966 w 371284"/>
                <a:gd name="connsiteY0" fmla="*/ 0 h 24752"/>
                <a:gd name="connsiteX1" fmla="*/ 12383 w 371284"/>
                <a:gd name="connsiteY1" fmla="*/ 0 h 24752"/>
                <a:gd name="connsiteX2" fmla="*/ 0 w 371284"/>
                <a:gd name="connsiteY2" fmla="*/ 12376 h 24752"/>
                <a:gd name="connsiteX3" fmla="*/ 12383 w 371284"/>
                <a:gd name="connsiteY3" fmla="*/ 24752 h 24752"/>
                <a:gd name="connsiteX4" fmla="*/ 358966 w 371284"/>
                <a:gd name="connsiteY4" fmla="*/ 24752 h 24752"/>
                <a:gd name="connsiteX5" fmla="*/ 371284 w 371284"/>
                <a:gd name="connsiteY5" fmla="*/ 12376 h 24752"/>
                <a:gd name="connsiteX6" fmla="*/ 358966 w 371284"/>
                <a:gd name="connsiteY6" fmla="*/ 0 h 24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1284" h="24752">
                  <a:moveTo>
                    <a:pt x="358966" y="0"/>
                  </a:moveTo>
                  <a:lnTo>
                    <a:pt x="12383" y="0"/>
                  </a:lnTo>
                  <a:cubicBezTo>
                    <a:pt x="5524" y="0"/>
                    <a:pt x="0" y="5543"/>
                    <a:pt x="0" y="12376"/>
                  </a:cubicBezTo>
                  <a:cubicBezTo>
                    <a:pt x="0" y="19209"/>
                    <a:pt x="5524" y="24752"/>
                    <a:pt x="12383" y="24752"/>
                  </a:cubicBezTo>
                  <a:lnTo>
                    <a:pt x="358966" y="24752"/>
                  </a:lnTo>
                  <a:cubicBezTo>
                    <a:pt x="365760" y="24752"/>
                    <a:pt x="371284" y="19209"/>
                    <a:pt x="371284" y="12376"/>
                  </a:cubicBezTo>
                  <a:cubicBezTo>
                    <a:pt x="371284" y="5543"/>
                    <a:pt x="365760" y="0"/>
                    <a:pt x="358966" y="0"/>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1" name="Forme libre : forme 1690">
              <a:extLst>
                <a:ext uri="{FF2B5EF4-FFF2-40B4-BE49-F238E27FC236}">
                  <a16:creationId xmlns:a16="http://schemas.microsoft.com/office/drawing/2014/main" id="{DFBC9D9E-5653-48F0-ACA2-52CE041EEC79}"/>
                </a:ext>
              </a:extLst>
            </p:cNvPr>
            <p:cNvSpPr/>
            <p:nvPr/>
          </p:nvSpPr>
          <p:spPr>
            <a:xfrm>
              <a:off x="7041406" y="3821253"/>
              <a:ext cx="86612" cy="61850"/>
            </a:xfrm>
            <a:custGeom>
              <a:avLst/>
              <a:gdLst>
                <a:gd name="connsiteX0" fmla="*/ 66420 w 86612"/>
                <a:gd name="connsiteY0" fmla="*/ 2787 h 61850"/>
                <a:gd name="connsiteX1" fmla="*/ 30607 w 86612"/>
                <a:gd name="connsiteY1" fmla="*/ 31978 h 61850"/>
                <a:gd name="connsiteX2" fmla="*/ 22034 w 86612"/>
                <a:gd name="connsiteY2" fmla="*/ 21208 h 61850"/>
                <a:gd name="connsiteX3" fmla="*/ 4698 w 86612"/>
                <a:gd name="connsiteY3" fmla="*/ 19176 h 61850"/>
                <a:gd name="connsiteX4" fmla="*/ 2667 w 86612"/>
                <a:gd name="connsiteY4" fmla="*/ 36556 h 61850"/>
                <a:gd name="connsiteX5" fmla="*/ 2667 w 86612"/>
                <a:gd name="connsiteY5" fmla="*/ 36556 h 61850"/>
                <a:gd name="connsiteX6" fmla="*/ 18986 w 86612"/>
                <a:gd name="connsiteY6" fmla="*/ 57187 h 61850"/>
                <a:gd name="connsiteX7" fmla="*/ 36512 w 86612"/>
                <a:gd name="connsiteY7" fmla="*/ 59111 h 61850"/>
                <a:gd name="connsiteX8" fmla="*/ 82042 w 86612"/>
                <a:gd name="connsiteY8" fmla="*/ 21976 h 61850"/>
                <a:gd name="connsiteX9" fmla="*/ 83819 w 86612"/>
                <a:gd name="connsiteY9" fmla="*/ 4565 h 61850"/>
                <a:gd name="connsiteX10" fmla="*/ 66420 w 86612"/>
                <a:gd name="connsiteY10" fmla="*/ 2787 h 61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612" h="61850">
                  <a:moveTo>
                    <a:pt x="66420" y="2787"/>
                  </a:moveTo>
                  <a:lnTo>
                    <a:pt x="30607" y="31978"/>
                  </a:lnTo>
                  <a:lnTo>
                    <a:pt x="22034" y="21208"/>
                  </a:lnTo>
                  <a:cubicBezTo>
                    <a:pt x="17843" y="15849"/>
                    <a:pt x="10032" y="14935"/>
                    <a:pt x="4698" y="19176"/>
                  </a:cubicBezTo>
                  <a:cubicBezTo>
                    <a:pt x="-636" y="23418"/>
                    <a:pt x="-1588" y="31197"/>
                    <a:pt x="2667" y="36556"/>
                  </a:cubicBezTo>
                  <a:lnTo>
                    <a:pt x="2667" y="36556"/>
                  </a:lnTo>
                  <a:lnTo>
                    <a:pt x="18986" y="57187"/>
                  </a:lnTo>
                  <a:cubicBezTo>
                    <a:pt x="23304" y="62560"/>
                    <a:pt x="31114" y="63410"/>
                    <a:pt x="36512" y="59111"/>
                  </a:cubicBezTo>
                  <a:lnTo>
                    <a:pt x="82042" y="21976"/>
                  </a:lnTo>
                  <a:cubicBezTo>
                    <a:pt x="87375" y="17659"/>
                    <a:pt x="88137" y="9861"/>
                    <a:pt x="83819" y="4565"/>
                  </a:cubicBezTo>
                  <a:cubicBezTo>
                    <a:pt x="79501" y="-750"/>
                    <a:pt x="71755" y="-1531"/>
                    <a:pt x="66420" y="2787"/>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2" name="Forme libre : forme 1691">
              <a:extLst>
                <a:ext uri="{FF2B5EF4-FFF2-40B4-BE49-F238E27FC236}">
                  <a16:creationId xmlns:a16="http://schemas.microsoft.com/office/drawing/2014/main" id="{286BC035-5C20-4DBB-AF71-7ACB57636A37}"/>
                </a:ext>
              </a:extLst>
            </p:cNvPr>
            <p:cNvSpPr/>
            <p:nvPr/>
          </p:nvSpPr>
          <p:spPr>
            <a:xfrm>
              <a:off x="7165167" y="3722244"/>
              <a:ext cx="190309" cy="24739"/>
            </a:xfrm>
            <a:custGeom>
              <a:avLst/>
              <a:gdLst>
                <a:gd name="connsiteX0" fmla="*/ 12383 w 190309"/>
                <a:gd name="connsiteY0" fmla="*/ 24740 h 24739"/>
                <a:gd name="connsiteX1" fmla="*/ 190309 w 190309"/>
                <a:gd name="connsiteY1" fmla="*/ 24740 h 24739"/>
                <a:gd name="connsiteX2" fmla="*/ 165545 w 190309"/>
                <a:gd name="connsiteY2" fmla="*/ 0 h 24739"/>
                <a:gd name="connsiteX3" fmla="*/ 12383 w 190309"/>
                <a:gd name="connsiteY3" fmla="*/ 0 h 24739"/>
                <a:gd name="connsiteX4" fmla="*/ 0 w 190309"/>
                <a:gd name="connsiteY4" fmla="*/ 12376 h 24739"/>
                <a:gd name="connsiteX5" fmla="*/ 12383 w 190309"/>
                <a:gd name="connsiteY5" fmla="*/ 24740 h 2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309" h="24739">
                  <a:moveTo>
                    <a:pt x="12383" y="24740"/>
                  </a:moveTo>
                  <a:lnTo>
                    <a:pt x="190309" y="24740"/>
                  </a:lnTo>
                  <a:lnTo>
                    <a:pt x="165545" y="0"/>
                  </a:lnTo>
                  <a:lnTo>
                    <a:pt x="12383" y="0"/>
                  </a:lnTo>
                  <a:cubicBezTo>
                    <a:pt x="5524" y="0"/>
                    <a:pt x="0" y="5531"/>
                    <a:pt x="0" y="12376"/>
                  </a:cubicBezTo>
                  <a:cubicBezTo>
                    <a:pt x="0" y="19196"/>
                    <a:pt x="5524" y="24740"/>
                    <a:pt x="12383" y="24740"/>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3" name="Forme libre : forme 1692">
              <a:extLst>
                <a:ext uri="{FF2B5EF4-FFF2-40B4-BE49-F238E27FC236}">
                  <a16:creationId xmlns:a16="http://schemas.microsoft.com/office/drawing/2014/main" id="{16FE01A4-5912-44DA-A5E5-0B0B295B38DA}"/>
                </a:ext>
              </a:extLst>
            </p:cNvPr>
            <p:cNvSpPr/>
            <p:nvPr/>
          </p:nvSpPr>
          <p:spPr>
            <a:xfrm>
              <a:off x="7497589" y="3722237"/>
              <a:ext cx="38861" cy="24739"/>
            </a:xfrm>
            <a:custGeom>
              <a:avLst/>
              <a:gdLst>
                <a:gd name="connsiteX0" fmla="*/ 26543 w 38861"/>
                <a:gd name="connsiteY0" fmla="*/ 0 h 24739"/>
                <a:gd name="connsiteX1" fmla="*/ 0 w 38861"/>
                <a:gd name="connsiteY1" fmla="*/ 0 h 24739"/>
                <a:gd name="connsiteX2" fmla="*/ 254 w 38861"/>
                <a:gd name="connsiteY2" fmla="*/ 24740 h 24739"/>
                <a:gd name="connsiteX3" fmla="*/ 26543 w 38861"/>
                <a:gd name="connsiteY3" fmla="*/ 24740 h 24739"/>
                <a:gd name="connsiteX4" fmla="*/ 38862 w 38861"/>
                <a:gd name="connsiteY4" fmla="*/ 12376 h 24739"/>
                <a:gd name="connsiteX5" fmla="*/ 26543 w 38861"/>
                <a:gd name="connsiteY5" fmla="*/ 0 h 2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861" h="24739">
                  <a:moveTo>
                    <a:pt x="26543" y="0"/>
                  </a:moveTo>
                  <a:lnTo>
                    <a:pt x="0" y="0"/>
                  </a:lnTo>
                  <a:cubicBezTo>
                    <a:pt x="2223" y="8083"/>
                    <a:pt x="2349" y="16605"/>
                    <a:pt x="254" y="24740"/>
                  </a:cubicBezTo>
                  <a:lnTo>
                    <a:pt x="26543" y="24740"/>
                  </a:lnTo>
                  <a:cubicBezTo>
                    <a:pt x="33338" y="24740"/>
                    <a:pt x="38862" y="19196"/>
                    <a:pt x="38862" y="12376"/>
                  </a:cubicBezTo>
                  <a:cubicBezTo>
                    <a:pt x="38862" y="5531"/>
                    <a:pt x="33338" y="0"/>
                    <a:pt x="26543" y="0"/>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4" name="Forme libre : forme 1693">
              <a:extLst>
                <a:ext uri="{FF2B5EF4-FFF2-40B4-BE49-F238E27FC236}">
                  <a16:creationId xmlns:a16="http://schemas.microsoft.com/office/drawing/2014/main" id="{45FF76A0-51D5-4CC7-B90F-D9A6AAD85467}"/>
                </a:ext>
              </a:extLst>
            </p:cNvPr>
            <p:cNvSpPr/>
            <p:nvPr/>
          </p:nvSpPr>
          <p:spPr>
            <a:xfrm>
              <a:off x="7408054" y="3623222"/>
              <a:ext cx="128396" cy="24752"/>
            </a:xfrm>
            <a:custGeom>
              <a:avLst/>
              <a:gdLst>
                <a:gd name="connsiteX0" fmla="*/ 116078 w 128396"/>
                <a:gd name="connsiteY0" fmla="*/ 0 h 24752"/>
                <a:gd name="connsiteX1" fmla="*/ 0 w 128396"/>
                <a:gd name="connsiteY1" fmla="*/ 0 h 24752"/>
                <a:gd name="connsiteX2" fmla="*/ 24765 w 128396"/>
                <a:gd name="connsiteY2" fmla="*/ 24752 h 24752"/>
                <a:gd name="connsiteX3" fmla="*/ 116078 w 128396"/>
                <a:gd name="connsiteY3" fmla="*/ 24752 h 24752"/>
                <a:gd name="connsiteX4" fmla="*/ 128397 w 128396"/>
                <a:gd name="connsiteY4" fmla="*/ 12376 h 24752"/>
                <a:gd name="connsiteX5" fmla="*/ 116078 w 128396"/>
                <a:gd name="connsiteY5" fmla="*/ 0 h 24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396" h="24752">
                  <a:moveTo>
                    <a:pt x="116078" y="0"/>
                  </a:moveTo>
                  <a:lnTo>
                    <a:pt x="0" y="0"/>
                  </a:lnTo>
                  <a:lnTo>
                    <a:pt x="24765" y="24752"/>
                  </a:lnTo>
                  <a:lnTo>
                    <a:pt x="116078" y="24752"/>
                  </a:lnTo>
                  <a:cubicBezTo>
                    <a:pt x="122872" y="24752"/>
                    <a:pt x="128397" y="19209"/>
                    <a:pt x="128397" y="12376"/>
                  </a:cubicBezTo>
                  <a:cubicBezTo>
                    <a:pt x="128397" y="5537"/>
                    <a:pt x="122872" y="0"/>
                    <a:pt x="116078" y="0"/>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5" name="Forme libre : forme 1694">
              <a:extLst>
                <a:ext uri="{FF2B5EF4-FFF2-40B4-BE49-F238E27FC236}">
                  <a16:creationId xmlns:a16="http://schemas.microsoft.com/office/drawing/2014/main" id="{8C3D6FFA-2E31-4A5E-B76F-ABFAFCDDFB12}"/>
                </a:ext>
              </a:extLst>
            </p:cNvPr>
            <p:cNvSpPr/>
            <p:nvPr/>
          </p:nvSpPr>
          <p:spPr>
            <a:xfrm>
              <a:off x="7165167" y="3623183"/>
              <a:ext cx="91313" cy="24790"/>
            </a:xfrm>
            <a:custGeom>
              <a:avLst/>
              <a:gdLst>
                <a:gd name="connsiteX0" fmla="*/ 12383 w 91313"/>
                <a:gd name="connsiteY0" fmla="*/ 24791 h 24790"/>
                <a:gd name="connsiteX1" fmla="*/ 91313 w 91313"/>
                <a:gd name="connsiteY1" fmla="*/ 24791 h 24790"/>
                <a:gd name="connsiteX2" fmla="*/ 76009 w 91313"/>
                <a:gd name="connsiteY2" fmla="*/ 39 h 24790"/>
                <a:gd name="connsiteX3" fmla="*/ 13907 w 91313"/>
                <a:gd name="connsiteY3" fmla="*/ 39 h 24790"/>
                <a:gd name="connsiteX4" fmla="*/ 0 w 91313"/>
                <a:gd name="connsiteY4" fmla="*/ 11932 h 24790"/>
                <a:gd name="connsiteX5" fmla="*/ 0 w 91313"/>
                <a:gd name="connsiteY5" fmla="*/ 12415 h 24790"/>
                <a:gd name="connsiteX6" fmla="*/ 12383 w 91313"/>
                <a:gd name="connsiteY6" fmla="*/ 24791 h 2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313" h="24790">
                  <a:moveTo>
                    <a:pt x="12383" y="24791"/>
                  </a:moveTo>
                  <a:lnTo>
                    <a:pt x="91313" y="24791"/>
                  </a:lnTo>
                  <a:cubicBezTo>
                    <a:pt x="84074" y="18066"/>
                    <a:pt x="78740" y="9526"/>
                    <a:pt x="76009" y="39"/>
                  </a:cubicBezTo>
                  <a:lnTo>
                    <a:pt x="13907" y="39"/>
                  </a:lnTo>
                  <a:cubicBezTo>
                    <a:pt x="6795" y="-508"/>
                    <a:pt x="571" y="4814"/>
                    <a:pt x="0" y="11932"/>
                  </a:cubicBezTo>
                  <a:cubicBezTo>
                    <a:pt x="0" y="12091"/>
                    <a:pt x="0" y="12256"/>
                    <a:pt x="0" y="12415"/>
                  </a:cubicBezTo>
                  <a:cubicBezTo>
                    <a:pt x="0" y="19247"/>
                    <a:pt x="5524" y="24791"/>
                    <a:pt x="12383" y="24791"/>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6" name="Forme libre : forme 1695">
              <a:extLst>
                <a:ext uri="{FF2B5EF4-FFF2-40B4-BE49-F238E27FC236}">
                  <a16:creationId xmlns:a16="http://schemas.microsoft.com/office/drawing/2014/main" id="{6789495F-18BF-4154-950C-6EECB952F30E}"/>
                </a:ext>
              </a:extLst>
            </p:cNvPr>
            <p:cNvSpPr/>
            <p:nvPr/>
          </p:nvSpPr>
          <p:spPr>
            <a:xfrm>
              <a:off x="7299470" y="3524200"/>
              <a:ext cx="236981" cy="24752"/>
            </a:xfrm>
            <a:custGeom>
              <a:avLst/>
              <a:gdLst>
                <a:gd name="connsiteX0" fmla="*/ 224663 w 236981"/>
                <a:gd name="connsiteY0" fmla="*/ 0 h 24752"/>
                <a:gd name="connsiteX1" fmla="*/ 9271 w 236981"/>
                <a:gd name="connsiteY1" fmla="*/ 0 h 24752"/>
                <a:gd name="connsiteX2" fmla="*/ 0 w 236981"/>
                <a:gd name="connsiteY2" fmla="*/ 19183 h 24752"/>
                <a:gd name="connsiteX3" fmla="*/ 7493 w 236981"/>
                <a:gd name="connsiteY3" fmla="*/ 18567 h 24752"/>
                <a:gd name="connsiteX4" fmla="*/ 31559 w 236981"/>
                <a:gd name="connsiteY4" fmla="*/ 24752 h 24752"/>
                <a:gd name="connsiteX5" fmla="*/ 224663 w 236981"/>
                <a:gd name="connsiteY5" fmla="*/ 24752 h 24752"/>
                <a:gd name="connsiteX6" fmla="*/ 236982 w 236981"/>
                <a:gd name="connsiteY6" fmla="*/ 12376 h 24752"/>
                <a:gd name="connsiteX7" fmla="*/ 224663 w 236981"/>
                <a:gd name="connsiteY7" fmla="*/ 0 h 24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981" h="24752">
                  <a:moveTo>
                    <a:pt x="224663" y="0"/>
                  </a:moveTo>
                  <a:lnTo>
                    <a:pt x="9271" y="0"/>
                  </a:lnTo>
                  <a:cubicBezTo>
                    <a:pt x="6604" y="6598"/>
                    <a:pt x="3556" y="13005"/>
                    <a:pt x="0" y="19183"/>
                  </a:cubicBezTo>
                  <a:cubicBezTo>
                    <a:pt x="2477" y="18790"/>
                    <a:pt x="5017" y="18586"/>
                    <a:pt x="7493" y="18567"/>
                  </a:cubicBezTo>
                  <a:cubicBezTo>
                    <a:pt x="15939" y="18555"/>
                    <a:pt x="24193" y="20682"/>
                    <a:pt x="31559" y="24752"/>
                  </a:cubicBezTo>
                  <a:lnTo>
                    <a:pt x="224663" y="24752"/>
                  </a:lnTo>
                  <a:cubicBezTo>
                    <a:pt x="231457" y="24752"/>
                    <a:pt x="236982" y="19209"/>
                    <a:pt x="236982" y="12376"/>
                  </a:cubicBezTo>
                  <a:cubicBezTo>
                    <a:pt x="236982" y="5543"/>
                    <a:pt x="231457" y="0"/>
                    <a:pt x="224663" y="0"/>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7" name="Forme libre : forme 1696">
              <a:extLst>
                <a:ext uri="{FF2B5EF4-FFF2-40B4-BE49-F238E27FC236}">
                  <a16:creationId xmlns:a16="http://schemas.microsoft.com/office/drawing/2014/main" id="{0E199300-C88A-487A-9A5A-A942371E1516}"/>
                </a:ext>
              </a:extLst>
            </p:cNvPr>
            <p:cNvSpPr/>
            <p:nvPr/>
          </p:nvSpPr>
          <p:spPr>
            <a:xfrm>
              <a:off x="7316868" y="3425191"/>
              <a:ext cx="219582" cy="24745"/>
            </a:xfrm>
            <a:custGeom>
              <a:avLst/>
              <a:gdLst>
                <a:gd name="connsiteX0" fmla="*/ 207264 w 219582"/>
                <a:gd name="connsiteY0" fmla="*/ 0 h 24745"/>
                <a:gd name="connsiteX1" fmla="*/ 0 w 219582"/>
                <a:gd name="connsiteY1" fmla="*/ 0 h 24745"/>
                <a:gd name="connsiteX2" fmla="*/ 3619 w 219582"/>
                <a:gd name="connsiteY2" fmla="*/ 24746 h 24745"/>
                <a:gd name="connsiteX3" fmla="*/ 207264 w 219582"/>
                <a:gd name="connsiteY3" fmla="*/ 24746 h 24745"/>
                <a:gd name="connsiteX4" fmla="*/ 219583 w 219582"/>
                <a:gd name="connsiteY4" fmla="*/ 12370 h 24745"/>
                <a:gd name="connsiteX5" fmla="*/ 207264 w 219582"/>
                <a:gd name="connsiteY5" fmla="*/ 0 h 24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582" h="24745">
                  <a:moveTo>
                    <a:pt x="207264" y="0"/>
                  </a:moveTo>
                  <a:lnTo>
                    <a:pt x="0" y="0"/>
                  </a:lnTo>
                  <a:cubicBezTo>
                    <a:pt x="1842" y="8134"/>
                    <a:pt x="3048" y="16421"/>
                    <a:pt x="3619" y="24746"/>
                  </a:cubicBezTo>
                  <a:lnTo>
                    <a:pt x="207264" y="24746"/>
                  </a:lnTo>
                  <a:cubicBezTo>
                    <a:pt x="214058" y="24746"/>
                    <a:pt x="219583" y="19202"/>
                    <a:pt x="219583" y="12370"/>
                  </a:cubicBezTo>
                  <a:cubicBezTo>
                    <a:pt x="219583" y="5537"/>
                    <a:pt x="214058" y="0"/>
                    <a:pt x="207264" y="0"/>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8" name="Forme libre : forme 1697">
              <a:extLst>
                <a:ext uri="{FF2B5EF4-FFF2-40B4-BE49-F238E27FC236}">
                  <a16:creationId xmlns:a16="http://schemas.microsoft.com/office/drawing/2014/main" id="{019019E2-3D14-48FE-9996-3F0D53435ADB}"/>
                </a:ext>
              </a:extLst>
            </p:cNvPr>
            <p:cNvSpPr/>
            <p:nvPr/>
          </p:nvSpPr>
          <p:spPr>
            <a:xfrm>
              <a:off x="7230445" y="3313793"/>
              <a:ext cx="157480" cy="24752"/>
            </a:xfrm>
            <a:custGeom>
              <a:avLst/>
              <a:gdLst>
                <a:gd name="connsiteX0" fmla="*/ 35751 w 157480"/>
                <a:gd name="connsiteY0" fmla="*/ 24752 h 24752"/>
                <a:gd name="connsiteX1" fmla="*/ 145097 w 157480"/>
                <a:gd name="connsiteY1" fmla="*/ 24752 h 24752"/>
                <a:gd name="connsiteX2" fmla="*/ 157480 w 157480"/>
                <a:gd name="connsiteY2" fmla="*/ 12376 h 24752"/>
                <a:gd name="connsiteX3" fmla="*/ 145097 w 157480"/>
                <a:gd name="connsiteY3" fmla="*/ 0 h 24752"/>
                <a:gd name="connsiteX4" fmla="*/ 0 w 157480"/>
                <a:gd name="connsiteY4" fmla="*/ 0 h 24752"/>
                <a:gd name="connsiteX5" fmla="*/ 35751 w 157480"/>
                <a:gd name="connsiteY5" fmla="*/ 24752 h 24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7480" h="24752">
                  <a:moveTo>
                    <a:pt x="35751" y="24752"/>
                  </a:moveTo>
                  <a:lnTo>
                    <a:pt x="145097" y="24752"/>
                  </a:lnTo>
                  <a:cubicBezTo>
                    <a:pt x="151955" y="24752"/>
                    <a:pt x="157480" y="19209"/>
                    <a:pt x="157480" y="12376"/>
                  </a:cubicBezTo>
                  <a:cubicBezTo>
                    <a:pt x="157480" y="5537"/>
                    <a:pt x="151955" y="0"/>
                    <a:pt x="145097" y="0"/>
                  </a:cubicBezTo>
                  <a:lnTo>
                    <a:pt x="0" y="0"/>
                  </a:lnTo>
                  <a:cubicBezTo>
                    <a:pt x="12954" y="6661"/>
                    <a:pt x="24955" y="14980"/>
                    <a:pt x="35751" y="24752"/>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9" name="Forme libre : forme 1698">
              <a:extLst>
                <a:ext uri="{FF2B5EF4-FFF2-40B4-BE49-F238E27FC236}">
                  <a16:creationId xmlns:a16="http://schemas.microsoft.com/office/drawing/2014/main" id="{F2F66E07-03D2-4B20-AD90-8375BC085A72}"/>
                </a:ext>
              </a:extLst>
            </p:cNvPr>
            <p:cNvSpPr/>
            <p:nvPr/>
          </p:nvSpPr>
          <p:spPr>
            <a:xfrm>
              <a:off x="7041405" y="3313792"/>
              <a:ext cx="37210" cy="22250"/>
            </a:xfrm>
            <a:custGeom>
              <a:avLst/>
              <a:gdLst>
                <a:gd name="connsiteX0" fmla="*/ 4953 w 37210"/>
                <a:gd name="connsiteY0" fmla="*/ 22251 h 22250"/>
                <a:gd name="connsiteX1" fmla="*/ 37211 w 37210"/>
                <a:gd name="connsiteY1" fmla="*/ 0 h 22250"/>
                <a:gd name="connsiteX2" fmla="*/ 12382 w 37210"/>
                <a:gd name="connsiteY2" fmla="*/ 0 h 22250"/>
                <a:gd name="connsiteX3" fmla="*/ 0 w 37210"/>
                <a:gd name="connsiteY3" fmla="*/ 12306 h 22250"/>
                <a:gd name="connsiteX4" fmla="*/ 4953 w 37210"/>
                <a:gd name="connsiteY4" fmla="*/ 22251 h 22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0" h="22250">
                  <a:moveTo>
                    <a:pt x="4953" y="22251"/>
                  </a:moveTo>
                  <a:cubicBezTo>
                    <a:pt x="14795" y="13551"/>
                    <a:pt x="25591" y="6077"/>
                    <a:pt x="37211" y="0"/>
                  </a:cubicBezTo>
                  <a:lnTo>
                    <a:pt x="12382" y="0"/>
                  </a:lnTo>
                  <a:cubicBezTo>
                    <a:pt x="5524" y="-19"/>
                    <a:pt x="0" y="5493"/>
                    <a:pt x="0" y="12306"/>
                  </a:cubicBezTo>
                  <a:cubicBezTo>
                    <a:pt x="0" y="16231"/>
                    <a:pt x="1842" y="19920"/>
                    <a:pt x="4953" y="22251"/>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00" name="Forme libre : forme 1699">
              <a:extLst>
                <a:ext uri="{FF2B5EF4-FFF2-40B4-BE49-F238E27FC236}">
                  <a16:creationId xmlns:a16="http://schemas.microsoft.com/office/drawing/2014/main" id="{1F69959F-3B25-499D-B3C0-FBEB3C161B81}"/>
                </a:ext>
              </a:extLst>
            </p:cNvPr>
            <p:cNvSpPr/>
            <p:nvPr/>
          </p:nvSpPr>
          <p:spPr>
            <a:xfrm>
              <a:off x="7016242" y="3319590"/>
              <a:ext cx="458343" cy="458344"/>
            </a:xfrm>
            <a:custGeom>
              <a:avLst/>
              <a:gdLst>
                <a:gd name="connsiteX0" fmla="*/ 255414 w 458343"/>
                <a:gd name="connsiteY0" fmla="*/ 272913 h 458345"/>
                <a:gd name="connsiteX1" fmla="*/ 255287 w 458343"/>
                <a:gd name="connsiteY1" fmla="*/ 273085 h 458345"/>
                <a:gd name="connsiteX2" fmla="*/ 255223 w 458343"/>
                <a:gd name="connsiteY2" fmla="*/ 308410 h 458345"/>
                <a:gd name="connsiteX3" fmla="*/ 255287 w 458343"/>
                <a:gd name="connsiteY3" fmla="*/ 308410 h 458345"/>
                <a:gd name="connsiteX4" fmla="*/ 397845 w 458343"/>
                <a:gd name="connsiteY4" fmla="*/ 451030 h 458345"/>
                <a:gd name="connsiteX5" fmla="*/ 433214 w 458343"/>
                <a:gd name="connsiteY5" fmla="*/ 451030 h 458345"/>
                <a:gd name="connsiteX6" fmla="*/ 451058 w 458343"/>
                <a:gd name="connsiteY6" fmla="*/ 433200 h 458345"/>
                <a:gd name="connsiteX7" fmla="*/ 451058 w 458343"/>
                <a:gd name="connsiteY7" fmla="*/ 433200 h 458345"/>
                <a:gd name="connsiteX8" fmla="*/ 451058 w 458343"/>
                <a:gd name="connsiteY8" fmla="*/ 397875 h 458345"/>
                <a:gd name="connsiteX9" fmla="*/ 451058 w 458343"/>
                <a:gd name="connsiteY9" fmla="*/ 397875 h 458345"/>
                <a:gd name="connsiteX10" fmla="*/ 308436 w 458343"/>
                <a:gd name="connsiteY10" fmla="*/ 255254 h 458345"/>
                <a:gd name="connsiteX11" fmla="*/ 273067 w 458343"/>
                <a:gd name="connsiteY11" fmla="*/ 255254 h 458345"/>
                <a:gd name="connsiteX12" fmla="*/ 272940 w 458343"/>
                <a:gd name="connsiteY12" fmla="*/ 255412 h 458345"/>
                <a:gd name="connsiteX13" fmla="*/ 246396 w 458343"/>
                <a:gd name="connsiteY13" fmla="*/ 228895 h 458345"/>
                <a:gd name="connsiteX14" fmla="*/ 228870 w 458343"/>
                <a:gd name="connsiteY14" fmla="*/ 32483 h 458345"/>
                <a:gd name="connsiteX15" fmla="*/ 32465 w 458343"/>
                <a:gd name="connsiteY15" fmla="*/ 49977 h 458345"/>
                <a:gd name="connsiteX16" fmla="*/ 49991 w 458343"/>
                <a:gd name="connsiteY16" fmla="*/ 246402 h 458345"/>
                <a:gd name="connsiteX17" fmla="*/ 228870 w 458343"/>
                <a:gd name="connsiteY17" fmla="*/ 246402 h 458345"/>
                <a:gd name="connsiteX18" fmla="*/ 255414 w 458343"/>
                <a:gd name="connsiteY18" fmla="*/ 272913 h 458345"/>
                <a:gd name="connsiteX19" fmla="*/ 290910 w 458343"/>
                <a:gd name="connsiteY19" fmla="*/ 272748 h 458345"/>
                <a:gd name="connsiteX20" fmla="*/ 433532 w 458343"/>
                <a:gd name="connsiteY20" fmla="*/ 415375 h 458345"/>
                <a:gd name="connsiteX21" fmla="*/ 433532 w 458343"/>
                <a:gd name="connsiteY21" fmla="*/ 415693 h 458345"/>
                <a:gd name="connsiteX22" fmla="*/ 415370 w 458343"/>
                <a:gd name="connsiteY22" fmla="*/ 433524 h 458345"/>
                <a:gd name="connsiteX23" fmla="*/ 272749 w 458343"/>
                <a:gd name="connsiteY23" fmla="*/ 290585 h 458345"/>
                <a:gd name="connsiteX24" fmla="*/ 290910 w 458343"/>
                <a:gd name="connsiteY24" fmla="*/ 272748 h 458345"/>
                <a:gd name="connsiteX25" fmla="*/ 139653 w 458343"/>
                <a:gd name="connsiteY25" fmla="*/ 254123 h 458345"/>
                <a:gd name="connsiteX26" fmla="*/ 25163 w 458343"/>
                <a:gd name="connsiteY26" fmla="*/ 139639 h 458345"/>
                <a:gd name="connsiteX27" fmla="*/ 139653 w 458343"/>
                <a:gd name="connsiteY27" fmla="*/ 25149 h 458345"/>
                <a:gd name="connsiteX28" fmla="*/ 254144 w 458343"/>
                <a:gd name="connsiteY28" fmla="*/ 139639 h 458345"/>
                <a:gd name="connsiteX29" fmla="*/ 139653 w 458343"/>
                <a:gd name="connsiteY29" fmla="*/ 254123 h 458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58343" h="458345">
                  <a:moveTo>
                    <a:pt x="255414" y="272913"/>
                  </a:moveTo>
                  <a:lnTo>
                    <a:pt x="255287" y="273085"/>
                  </a:lnTo>
                  <a:cubicBezTo>
                    <a:pt x="245507" y="282832"/>
                    <a:pt x="245507" y="298643"/>
                    <a:pt x="255223" y="308410"/>
                  </a:cubicBezTo>
                  <a:cubicBezTo>
                    <a:pt x="255223" y="308410"/>
                    <a:pt x="255223" y="308410"/>
                    <a:pt x="255287" y="308410"/>
                  </a:cubicBezTo>
                  <a:lnTo>
                    <a:pt x="397845" y="451030"/>
                  </a:lnTo>
                  <a:cubicBezTo>
                    <a:pt x="407623" y="460784"/>
                    <a:pt x="423435" y="460784"/>
                    <a:pt x="433214" y="451030"/>
                  </a:cubicBezTo>
                  <a:lnTo>
                    <a:pt x="451058" y="433200"/>
                  </a:lnTo>
                  <a:lnTo>
                    <a:pt x="451058" y="433200"/>
                  </a:lnTo>
                  <a:cubicBezTo>
                    <a:pt x="460773" y="423446"/>
                    <a:pt x="460773" y="407641"/>
                    <a:pt x="451058" y="397875"/>
                  </a:cubicBezTo>
                  <a:lnTo>
                    <a:pt x="451058" y="397875"/>
                  </a:lnTo>
                  <a:lnTo>
                    <a:pt x="308436" y="255254"/>
                  </a:lnTo>
                  <a:cubicBezTo>
                    <a:pt x="298658" y="245507"/>
                    <a:pt x="282845" y="245507"/>
                    <a:pt x="273067" y="255254"/>
                  </a:cubicBezTo>
                  <a:lnTo>
                    <a:pt x="272940" y="255412"/>
                  </a:lnTo>
                  <a:lnTo>
                    <a:pt x="246396" y="228895"/>
                  </a:lnTo>
                  <a:cubicBezTo>
                    <a:pt x="295800" y="169821"/>
                    <a:pt x="287989" y="81886"/>
                    <a:pt x="228870" y="32483"/>
                  </a:cubicBezTo>
                  <a:cubicBezTo>
                    <a:pt x="169816" y="-16926"/>
                    <a:pt x="81869" y="-9084"/>
                    <a:pt x="32465" y="49977"/>
                  </a:cubicBezTo>
                  <a:cubicBezTo>
                    <a:pt x="-16938" y="109051"/>
                    <a:pt x="-9064" y="196992"/>
                    <a:pt x="49991" y="246402"/>
                  </a:cubicBezTo>
                  <a:cubicBezTo>
                    <a:pt x="101744" y="289702"/>
                    <a:pt x="177119" y="289702"/>
                    <a:pt x="228870" y="246402"/>
                  </a:cubicBezTo>
                  <a:lnTo>
                    <a:pt x="255414" y="272913"/>
                  </a:lnTo>
                  <a:close/>
                  <a:moveTo>
                    <a:pt x="290910" y="272748"/>
                  </a:moveTo>
                  <a:lnTo>
                    <a:pt x="433532" y="415375"/>
                  </a:lnTo>
                  <a:cubicBezTo>
                    <a:pt x="433595" y="415471"/>
                    <a:pt x="433595" y="415598"/>
                    <a:pt x="433532" y="415693"/>
                  </a:cubicBezTo>
                  <a:lnTo>
                    <a:pt x="415370" y="433524"/>
                  </a:lnTo>
                  <a:lnTo>
                    <a:pt x="272749" y="290585"/>
                  </a:lnTo>
                  <a:lnTo>
                    <a:pt x="290910" y="272748"/>
                  </a:lnTo>
                  <a:close/>
                  <a:moveTo>
                    <a:pt x="139653" y="254123"/>
                  </a:moveTo>
                  <a:cubicBezTo>
                    <a:pt x="76408" y="254123"/>
                    <a:pt x="25163" y="202866"/>
                    <a:pt x="25163" y="139639"/>
                  </a:cubicBezTo>
                  <a:cubicBezTo>
                    <a:pt x="25163" y="76406"/>
                    <a:pt x="76408" y="25149"/>
                    <a:pt x="139653" y="25149"/>
                  </a:cubicBezTo>
                  <a:cubicBezTo>
                    <a:pt x="202836" y="25149"/>
                    <a:pt x="254144" y="76406"/>
                    <a:pt x="254144" y="139639"/>
                  </a:cubicBezTo>
                  <a:cubicBezTo>
                    <a:pt x="254081" y="202834"/>
                    <a:pt x="202836" y="254054"/>
                    <a:pt x="139653" y="254123"/>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01" name="Forme libre : forme 1700">
              <a:extLst>
                <a:ext uri="{FF2B5EF4-FFF2-40B4-BE49-F238E27FC236}">
                  <a16:creationId xmlns:a16="http://schemas.microsoft.com/office/drawing/2014/main" id="{B6CEFE71-FE99-494B-ADED-0F0BC4044123}"/>
                </a:ext>
              </a:extLst>
            </p:cNvPr>
            <p:cNvSpPr/>
            <p:nvPr/>
          </p:nvSpPr>
          <p:spPr>
            <a:xfrm>
              <a:off x="7109460" y="3425184"/>
              <a:ext cx="111405" cy="74158"/>
            </a:xfrm>
            <a:custGeom>
              <a:avLst/>
              <a:gdLst>
                <a:gd name="connsiteX0" fmla="*/ 108920 w 111405"/>
                <a:gd name="connsiteY0" fmla="*/ 4959 h 74158"/>
                <a:gd name="connsiteX1" fmla="*/ 91585 w 111405"/>
                <a:gd name="connsiteY1" fmla="*/ 2470 h 74158"/>
                <a:gd name="connsiteX2" fmla="*/ 36277 w 111405"/>
                <a:gd name="connsiteY2" fmla="*/ 43936 h 74158"/>
                <a:gd name="connsiteX3" fmla="*/ 22878 w 111405"/>
                <a:gd name="connsiteY3" fmla="*/ 22701 h 74158"/>
                <a:gd name="connsiteX4" fmla="*/ 5796 w 111405"/>
                <a:gd name="connsiteY4" fmla="*/ 18840 h 74158"/>
                <a:gd name="connsiteX5" fmla="*/ 1923 w 111405"/>
                <a:gd name="connsiteY5" fmla="*/ 35916 h 74158"/>
                <a:gd name="connsiteX6" fmla="*/ 22497 w 111405"/>
                <a:gd name="connsiteY6" fmla="*/ 68485 h 74158"/>
                <a:gd name="connsiteX7" fmla="*/ 39959 w 111405"/>
                <a:gd name="connsiteY7" fmla="*/ 72073 h 74158"/>
                <a:gd name="connsiteX8" fmla="*/ 40341 w 111405"/>
                <a:gd name="connsiteY8" fmla="*/ 71780 h 74158"/>
                <a:gd name="connsiteX9" fmla="*/ 106444 w 111405"/>
                <a:gd name="connsiteY9" fmla="*/ 22270 h 74158"/>
                <a:gd name="connsiteX10" fmla="*/ 108920 w 111405"/>
                <a:gd name="connsiteY10" fmla="*/ 4959 h 74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405" h="74158">
                  <a:moveTo>
                    <a:pt x="108920" y="4959"/>
                  </a:moveTo>
                  <a:cubicBezTo>
                    <a:pt x="104793" y="-514"/>
                    <a:pt x="97046" y="-1625"/>
                    <a:pt x="91585" y="2470"/>
                  </a:cubicBezTo>
                  <a:lnTo>
                    <a:pt x="36277" y="43936"/>
                  </a:lnTo>
                  <a:lnTo>
                    <a:pt x="22878" y="22701"/>
                  </a:lnTo>
                  <a:cubicBezTo>
                    <a:pt x="19195" y="16916"/>
                    <a:pt x="11575" y="15196"/>
                    <a:pt x="5796" y="18840"/>
                  </a:cubicBezTo>
                  <a:cubicBezTo>
                    <a:pt x="18" y="22492"/>
                    <a:pt x="-1760" y="30137"/>
                    <a:pt x="1923" y="35916"/>
                  </a:cubicBezTo>
                  <a:lnTo>
                    <a:pt x="22497" y="68485"/>
                  </a:lnTo>
                  <a:cubicBezTo>
                    <a:pt x="26307" y="74295"/>
                    <a:pt x="34117" y="75914"/>
                    <a:pt x="39959" y="72073"/>
                  </a:cubicBezTo>
                  <a:cubicBezTo>
                    <a:pt x="40087" y="71977"/>
                    <a:pt x="40214" y="71882"/>
                    <a:pt x="40341" y="71780"/>
                  </a:cubicBezTo>
                  <a:lnTo>
                    <a:pt x="106444" y="22270"/>
                  </a:lnTo>
                  <a:cubicBezTo>
                    <a:pt x="111905" y="18186"/>
                    <a:pt x="113048" y="10427"/>
                    <a:pt x="108920" y="4959"/>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702" name="Groupe 1701">
            <a:extLst>
              <a:ext uri="{FF2B5EF4-FFF2-40B4-BE49-F238E27FC236}">
                <a16:creationId xmlns:a16="http://schemas.microsoft.com/office/drawing/2014/main" id="{8E1DFECE-2FC1-463D-B2D7-2CD65CC4C227}"/>
              </a:ext>
            </a:extLst>
          </p:cNvPr>
          <p:cNvGrpSpPr/>
          <p:nvPr/>
        </p:nvGrpSpPr>
        <p:grpSpPr>
          <a:xfrm>
            <a:off x="4876131" y="2692602"/>
            <a:ext cx="2324268" cy="3132658"/>
            <a:chOff x="4827838" y="2356929"/>
            <a:chExt cx="2489588" cy="3355476"/>
          </a:xfrm>
        </p:grpSpPr>
        <p:grpSp>
          <p:nvGrpSpPr>
            <p:cNvPr id="1703" name="Groupe 1702">
              <a:extLst>
                <a:ext uri="{FF2B5EF4-FFF2-40B4-BE49-F238E27FC236}">
                  <a16:creationId xmlns:a16="http://schemas.microsoft.com/office/drawing/2014/main" id="{E63B8F75-A0A0-48C2-A903-54561F8238BF}"/>
                </a:ext>
              </a:extLst>
            </p:cNvPr>
            <p:cNvGrpSpPr/>
            <p:nvPr/>
          </p:nvGrpSpPr>
          <p:grpSpPr>
            <a:xfrm>
              <a:off x="4827838" y="3480571"/>
              <a:ext cx="2211858" cy="2231834"/>
              <a:chOff x="5364808" y="3808958"/>
              <a:chExt cx="2211858" cy="2231834"/>
            </a:xfrm>
          </p:grpSpPr>
          <p:grpSp>
            <p:nvGrpSpPr>
              <p:cNvPr id="1742" name="Graphique 3">
                <a:extLst>
                  <a:ext uri="{FF2B5EF4-FFF2-40B4-BE49-F238E27FC236}">
                    <a16:creationId xmlns:a16="http://schemas.microsoft.com/office/drawing/2014/main" id="{67B712EF-F998-4AC7-9E9A-EDCA2C8DA325}"/>
                  </a:ext>
                </a:extLst>
              </p:cNvPr>
              <p:cNvGrpSpPr/>
              <p:nvPr/>
            </p:nvGrpSpPr>
            <p:grpSpPr>
              <a:xfrm>
                <a:off x="5364808" y="3808958"/>
                <a:ext cx="2211858" cy="2231834"/>
                <a:chOff x="5517235" y="3903992"/>
                <a:chExt cx="1367995" cy="1380350"/>
              </a:xfrm>
            </p:grpSpPr>
            <p:grpSp>
              <p:nvGrpSpPr>
                <p:cNvPr id="1744" name="Graphique 3">
                  <a:extLst>
                    <a:ext uri="{FF2B5EF4-FFF2-40B4-BE49-F238E27FC236}">
                      <a16:creationId xmlns:a16="http://schemas.microsoft.com/office/drawing/2014/main" id="{ACC04A07-F4FF-415A-BCE8-51850C83443D}"/>
                    </a:ext>
                  </a:extLst>
                </p:cNvPr>
                <p:cNvGrpSpPr/>
                <p:nvPr/>
              </p:nvGrpSpPr>
              <p:grpSpPr>
                <a:xfrm>
                  <a:off x="5517235" y="3916397"/>
                  <a:ext cx="1367995" cy="1367946"/>
                  <a:chOff x="5517235" y="3916397"/>
                  <a:chExt cx="1367995" cy="1367946"/>
                </a:xfrm>
              </p:grpSpPr>
              <p:sp>
                <p:nvSpPr>
                  <p:cNvPr id="1746" name="Forme libre : forme 1745">
                    <a:extLst>
                      <a:ext uri="{FF2B5EF4-FFF2-40B4-BE49-F238E27FC236}">
                        <a16:creationId xmlns:a16="http://schemas.microsoft.com/office/drawing/2014/main" id="{E2BA6516-6B01-48A2-BE64-8A72A818ABEA}"/>
                      </a:ext>
                    </a:extLst>
                  </p:cNvPr>
                  <p:cNvSpPr/>
                  <p:nvPr/>
                </p:nvSpPr>
                <p:spPr>
                  <a:xfrm>
                    <a:off x="5517235" y="3916397"/>
                    <a:ext cx="1367995" cy="1367946"/>
                  </a:xfrm>
                  <a:custGeom>
                    <a:avLst/>
                    <a:gdLst>
                      <a:gd name="connsiteX0" fmla="*/ 120764 w 1367995"/>
                      <a:gd name="connsiteY0" fmla="*/ 296025 h 1367946"/>
                      <a:gd name="connsiteX1" fmla="*/ 1071969 w 1367995"/>
                      <a:gd name="connsiteY1" fmla="*/ 120736 h 1367946"/>
                      <a:gd name="connsiteX2" fmla="*/ 1247267 w 1367995"/>
                      <a:gd name="connsiteY2" fmla="*/ 1071922 h 1367946"/>
                      <a:gd name="connsiteX3" fmla="*/ 296062 w 1367995"/>
                      <a:gd name="connsiteY3" fmla="*/ 1247191 h 1367946"/>
                      <a:gd name="connsiteX4" fmla="*/ 120764 w 1367995"/>
                      <a:gd name="connsiteY4" fmla="*/ 296025 h 13679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7995" h="1367946">
                        <a:moveTo>
                          <a:pt x="120764" y="296025"/>
                        </a:moveTo>
                        <a:cubicBezTo>
                          <a:pt x="335010" y="-15043"/>
                          <a:pt x="760882" y="-93510"/>
                          <a:pt x="1071969" y="120736"/>
                        </a:cubicBezTo>
                        <a:cubicBezTo>
                          <a:pt x="1383036" y="334973"/>
                          <a:pt x="1461504" y="760854"/>
                          <a:pt x="1247267" y="1071922"/>
                        </a:cubicBezTo>
                        <a:cubicBezTo>
                          <a:pt x="1033012" y="1382989"/>
                          <a:pt x="607120" y="1461466"/>
                          <a:pt x="296062" y="1247191"/>
                        </a:cubicBezTo>
                        <a:cubicBezTo>
                          <a:pt x="-15043" y="1032955"/>
                          <a:pt x="-93529" y="607102"/>
                          <a:pt x="120764" y="296025"/>
                        </a:cubicBezTo>
                        <a:close/>
                      </a:path>
                    </a:pathLst>
                  </a:custGeom>
                  <a:solidFill>
                    <a:srgbClr val="4ACDE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7" name="Forme libre : forme 1746">
                    <a:extLst>
                      <a:ext uri="{FF2B5EF4-FFF2-40B4-BE49-F238E27FC236}">
                        <a16:creationId xmlns:a16="http://schemas.microsoft.com/office/drawing/2014/main" id="{D53B6E6A-95B2-479D-BA2D-877A0439A3A2}"/>
                      </a:ext>
                    </a:extLst>
                  </p:cNvPr>
                  <p:cNvSpPr/>
                  <p:nvPr/>
                </p:nvSpPr>
                <p:spPr>
                  <a:xfrm>
                    <a:off x="5639466" y="4038638"/>
                    <a:ext cx="1123530" cy="1123530"/>
                  </a:xfrm>
                  <a:custGeom>
                    <a:avLst/>
                    <a:gdLst>
                      <a:gd name="connsiteX0" fmla="*/ 1123531 w 1123530"/>
                      <a:gd name="connsiteY0" fmla="*/ 561765 h 1123530"/>
                      <a:gd name="connsiteX1" fmla="*/ 561766 w 1123530"/>
                      <a:gd name="connsiteY1" fmla="*/ 1123531 h 1123530"/>
                      <a:gd name="connsiteX2" fmla="*/ 0 w 1123530"/>
                      <a:gd name="connsiteY2" fmla="*/ 561765 h 1123530"/>
                      <a:gd name="connsiteX3" fmla="*/ 561766 w 1123530"/>
                      <a:gd name="connsiteY3" fmla="*/ 0 h 1123530"/>
                      <a:gd name="connsiteX4" fmla="*/ 1123531 w 1123530"/>
                      <a:gd name="connsiteY4" fmla="*/ 561765 h 1123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3530" h="1123530">
                        <a:moveTo>
                          <a:pt x="1123531" y="561765"/>
                        </a:moveTo>
                        <a:cubicBezTo>
                          <a:pt x="1123531" y="872020"/>
                          <a:pt x="872020" y="1123531"/>
                          <a:pt x="561766" y="1123531"/>
                        </a:cubicBezTo>
                        <a:cubicBezTo>
                          <a:pt x="251511" y="1123531"/>
                          <a:pt x="0" y="872020"/>
                          <a:pt x="0" y="561765"/>
                        </a:cubicBezTo>
                        <a:cubicBezTo>
                          <a:pt x="0" y="251511"/>
                          <a:pt x="251511" y="0"/>
                          <a:pt x="561766" y="0"/>
                        </a:cubicBezTo>
                        <a:cubicBezTo>
                          <a:pt x="872020" y="0"/>
                          <a:pt x="1123531" y="251511"/>
                          <a:pt x="1123531" y="561765"/>
                        </a:cubicBezTo>
                        <a:close/>
                      </a:path>
                    </a:pathLst>
                  </a:custGeom>
                  <a:solidFill>
                    <a:srgbClr val="14A0C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745" name="Forme libre : forme 1744">
                  <a:extLst>
                    <a:ext uri="{FF2B5EF4-FFF2-40B4-BE49-F238E27FC236}">
                      <a16:creationId xmlns:a16="http://schemas.microsoft.com/office/drawing/2014/main" id="{483ABA36-1D7C-40FB-B7BD-32968F9343CE}"/>
                    </a:ext>
                  </a:extLst>
                </p:cNvPr>
                <p:cNvSpPr/>
                <p:nvPr/>
              </p:nvSpPr>
              <p:spPr>
                <a:xfrm>
                  <a:off x="5649404" y="3903992"/>
                  <a:ext cx="176437" cy="191195"/>
                </a:xfrm>
                <a:custGeom>
                  <a:avLst/>
                  <a:gdLst>
                    <a:gd name="connsiteX0" fmla="*/ 17675 w 176437"/>
                    <a:gd name="connsiteY0" fmla="*/ 1020 h 191195"/>
                    <a:gd name="connsiteX1" fmla="*/ 176438 w 176437"/>
                    <a:gd name="connsiteY1" fmla="*/ 67752 h 191195"/>
                    <a:gd name="connsiteX2" fmla="*/ 109010 w 176437"/>
                    <a:gd name="connsiteY2" fmla="*/ 112833 h 191195"/>
                    <a:gd name="connsiteX3" fmla="*/ 22333 w 176437"/>
                    <a:gd name="connsiteY3" fmla="*/ 191196 h 191195"/>
                    <a:gd name="connsiteX4" fmla="*/ 120 w 176437"/>
                    <a:gd name="connsiteY4" fmla="*/ 14335 h 191195"/>
                    <a:gd name="connsiteX5" fmla="*/ 17675 w 176437"/>
                    <a:gd name="connsiteY5" fmla="*/ 1020 h 191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437" h="191195">
                      <a:moveTo>
                        <a:pt x="17675" y="1020"/>
                      </a:moveTo>
                      <a:lnTo>
                        <a:pt x="176438" y="67752"/>
                      </a:lnTo>
                      <a:cubicBezTo>
                        <a:pt x="153330" y="81201"/>
                        <a:pt x="130803" y="96270"/>
                        <a:pt x="109010" y="112833"/>
                      </a:cubicBezTo>
                      <a:cubicBezTo>
                        <a:pt x="77406" y="136789"/>
                        <a:pt x="48384" y="163097"/>
                        <a:pt x="22333" y="191196"/>
                      </a:cubicBezTo>
                      <a:lnTo>
                        <a:pt x="120" y="14335"/>
                      </a:lnTo>
                      <a:cubicBezTo>
                        <a:pt x="-1194" y="4572"/>
                        <a:pt x="8483" y="-2781"/>
                        <a:pt x="17675" y="1020"/>
                      </a:cubicBezTo>
                      <a:close/>
                    </a:path>
                  </a:pathLst>
                </a:custGeom>
                <a:solidFill>
                  <a:srgbClr val="14A0C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743" name="Rectangle 1742">
                <a:extLst>
                  <a:ext uri="{FF2B5EF4-FFF2-40B4-BE49-F238E27FC236}">
                    <a16:creationId xmlns:a16="http://schemas.microsoft.com/office/drawing/2014/main" id="{16845A90-7ECD-45D7-8935-EB4D1E26972E}"/>
                  </a:ext>
                </a:extLst>
              </p:cNvPr>
              <p:cNvSpPr/>
              <p:nvPr/>
            </p:nvSpPr>
            <p:spPr>
              <a:xfrm>
                <a:off x="5643135" y="4338439"/>
                <a:ext cx="1723219" cy="115383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Apply Big Data, data science, and machine learning</a:t>
                </a:r>
              </a:p>
            </p:txBody>
          </p:sp>
        </p:grpSp>
        <p:grpSp>
          <p:nvGrpSpPr>
            <p:cNvPr id="1704" name="Groupe 1703">
              <a:extLst>
                <a:ext uri="{FF2B5EF4-FFF2-40B4-BE49-F238E27FC236}">
                  <a16:creationId xmlns:a16="http://schemas.microsoft.com/office/drawing/2014/main" id="{8D06C4C0-C12C-40CD-ACDD-3DEB143F76D2}"/>
                </a:ext>
              </a:extLst>
            </p:cNvPr>
            <p:cNvGrpSpPr/>
            <p:nvPr/>
          </p:nvGrpSpPr>
          <p:grpSpPr>
            <a:xfrm>
              <a:off x="5267436" y="2356929"/>
              <a:ext cx="2049990" cy="2062566"/>
              <a:chOff x="5267436" y="2356929"/>
              <a:chExt cx="2049990" cy="2062566"/>
            </a:xfrm>
          </p:grpSpPr>
          <p:pic>
            <p:nvPicPr>
              <p:cNvPr id="1705" name="Graphique 1704">
                <a:extLst>
                  <a:ext uri="{FF2B5EF4-FFF2-40B4-BE49-F238E27FC236}">
                    <a16:creationId xmlns:a16="http://schemas.microsoft.com/office/drawing/2014/main" id="{6C3A2FCB-068E-4A79-B01A-94B98CAB2D0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267436" y="2356929"/>
                <a:ext cx="2049990" cy="2062566"/>
              </a:xfrm>
              <a:prstGeom prst="rect">
                <a:avLst/>
              </a:prstGeom>
            </p:spPr>
          </p:pic>
          <p:grpSp>
            <p:nvGrpSpPr>
              <p:cNvPr id="1706" name="Image 6">
                <a:extLst>
                  <a:ext uri="{FF2B5EF4-FFF2-40B4-BE49-F238E27FC236}">
                    <a16:creationId xmlns:a16="http://schemas.microsoft.com/office/drawing/2014/main" id="{58B06D36-6603-41AB-9749-F51C7FAC1B75}"/>
                  </a:ext>
                </a:extLst>
              </p:cNvPr>
              <p:cNvGrpSpPr/>
              <p:nvPr/>
            </p:nvGrpSpPr>
            <p:grpSpPr>
              <a:xfrm>
                <a:off x="5922185" y="2899529"/>
                <a:ext cx="815334" cy="814873"/>
                <a:chOff x="5086831" y="3194533"/>
                <a:chExt cx="890239" cy="889736"/>
              </a:xfrm>
              <a:solidFill>
                <a:srgbClr val="000000"/>
              </a:solidFill>
            </p:grpSpPr>
            <p:sp>
              <p:nvSpPr>
                <p:cNvPr id="1707" name="Forme libre : forme 1706">
                  <a:extLst>
                    <a:ext uri="{FF2B5EF4-FFF2-40B4-BE49-F238E27FC236}">
                      <a16:creationId xmlns:a16="http://schemas.microsoft.com/office/drawing/2014/main" id="{6F3908D6-A469-4551-9B58-65BF3889A5BB}"/>
                    </a:ext>
                  </a:extLst>
                </p:cNvPr>
                <p:cNvSpPr/>
                <p:nvPr/>
              </p:nvSpPr>
              <p:spPr>
                <a:xfrm>
                  <a:off x="5385433" y="3403531"/>
                  <a:ext cx="202984" cy="83546"/>
                </a:xfrm>
                <a:custGeom>
                  <a:avLst/>
                  <a:gdLst>
                    <a:gd name="connsiteX0" fmla="*/ 11913 w 202984"/>
                    <a:gd name="connsiteY0" fmla="*/ 83547 h 83546"/>
                    <a:gd name="connsiteX1" fmla="*/ 0 w 202984"/>
                    <a:gd name="connsiteY1" fmla="*/ 71628 h 83546"/>
                    <a:gd name="connsiteX2" fmla="*/ 0 w 202984"/>
                    <a:gd name="connsiteY2" fmla="*/ 11912 h 83546"/>
                    <a:gd name="connsiteX3" fmla="*/ 11913 w 202984"/>
                    <a:gd name="connsiteY3" fmla="*/ 0 h 83546"/>
                    <a:gd name="connsiteX4" fmla="*/ 191072 w 202984"/>
                    <a:gd name="connsiteY4" fmla="*/ 0 h 83546"/>
                    <a:gd name="connsiteX5" fmla="*/ 202984 w 202984"/>
                    <a:gd name="connsiteY5" fmla="*/ 11912 h 83546"/>
                    <a:gd name="connsiteX6" fmla="*/ 202984 w 202984"/>
                    <a:gd name="connsiteY6" fmla="*/ 71628 h 83546"/>
                    <a:gd name="connsiteX7" fmla="*/ 191072 w 202984"/>
                    <a:gd name="connsiteY7" fmla="*/ 83547 h 83546"/>
                    <a:gd name="connsiteX8" fmla="*/ 11913 w 202984"/>
                    <a:gd name="connsiteY8" fmla="*/ 83547 h 83546"/>
                    <a:gd name="connsiteX9" fmla="*/ 23819 w 202984"/>
                    <a:gd name="connsiteY9" fmla="*/ 59722 h 83546"/>
                    <a:gd name="connsiteX10" fmla="*/ 179146 w 202984"/>
                    <a:gd name="connsiteY10" fmla="*/ 59722 h 83546"/>
                    <a:gd name="connsiteX11" fmla="*/ 179146 w 202984"/>
                    <a:gd name="connsiteY11" fmla="*/ 23825 h 83546"/>
                    <a:gd name="connsiteX12" fmla="*/ 23819 w 202984"/>
                    <a:gd name="connsiteY12" fmla="*/ 23825 h 83546"/>
                    <a:gd name="connsiteX13" fmla="*/ 23819 w 202984"/>
                    <a:gd name="connsiteY13" fmla="*/ 59722 h 83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2984" h="83546">
                      <a:moveTo>
                        <a:pt x="11913" y="83547"/>
                      </a:moveTo>
                      <a:cubicBezTo>
                        <a:pt x="5347" y="83547"/>
                        <a:pt x="0" y="78200"/>
                        <a:pt x="0" y="71628"/>
                      </a:cubicBezTo>
                      <a:lnTo>
                        <a:pt x="0" y="11912"/>
                      </a:lnTo>
                      <a:cubicBezTo>
                        <a:pt x="0" y="5347"/>
                        <a:pt x="5347" y="0"/>
                        <a:pt x="11913" y="0"/>
                      </a:cubicBezTo>
                      <a:lnTo>
                        <a:pt x="191072" y="0"/>
                      </a:lnTo>
                      <a:cubicBezTo>
                        <a:pt x="197638" y="0"/>
                        <a:pt x="202984" y="5347"/>
                        <a:pt x="202984" y="11912"/>
                      </a:cubicBezTo>
                      <a:lnTo>
                        <a:pt x="202984" y="71628"/>
                      </a:lnTo>
                      <a:cubicBezTo>
                        <a:pt x="202984" y="78200"/>
                        <a:pt x="197638" y="83547"/>
                        <a:pt x="191072" y="83547"/>
                      </a:cubicBezTo>
                      <a:lnTo>
                        <a:pt x="11913" y="83547"/>
                      </a:lnTo>
                      <a:close/>
                      <a:moveTo>
                        <a:pt x="23819" y="59722"/>
                      </a:moveTo>
                      <a:lnTo>
                        <a:pt x="179146" y="59722"/>
                      </a:lnTo>
                      <a:lnTo>
                        <a:pt x="179146" y="23825"/>
                      </a:lnTo>
                      <a:lnTo>
                        <a:pt x="23819" y="23825"/>
                      </a:lnTo>
                      <a:lnTo>
                        <a:pt x="23819" y="59722"/>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08" name="Forme libre : forme 1707">
                  <a:extLst>
                    <a:ext uri="{FF2B5EF4-FFF2-40B4-BE49-F238E27FC236}">
                      <a16:creationId xmlns:a16="http://schemas.microsoft.com/office/drawing/2014/main" id="{85DAC786-CFD4-4133-BB60-B6E213E411DB}"/>
                    </a:ext>
                  </a:extLst>
                </p:cNvPr>
                <p:cNvSpPr/>
                <p:nvPr/>
              </p:nvSpPr>
              <p:spPr>
                <a:xfrm>
                  <a:off x="5325712" y="3463252"/>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09" name="Forme libre : forme 1708">
                  <a:extLst>
                    <a:ext uri="{FF2B5EF4-FFF2-40B4-BE49-F238E27FC236}">
                      <a16:creationId xmlns:a16="http://schemas.microsoft.com/office/drawing/2014/main" id="{DDF7BD0B-1136-4643-BAC0-D098AE5B258C}"/>
                    </a:ext>
                  </a:extLst>
                </p:cNvPr>
                <p:cNvSpPr/>
                <p:nvPr/>
              </p:nvSpPr>
              <p:spPr>
                <a:xfrm>
                  <a:off x="5280919" y="3463252"/>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0" name="Forme libre : forme 1709">
                  <a:extLst>
                    <a:ext uri="{FF2B5EF4-FFF2-40B4-BE49-F238E27FC236}">
                      <a16:creationId xmlns:a16="http://schemas.microsoft.com/office/drawing/2014/main" id="{3139043C-6E96-4379-8207-DC1A47D27232}"/>
                    </a:ext>
                  </a:extLst>
                </p:cNvPr>
                <p:cNvSpPr/>
                <p:nvPr/>
              </p:nvSpPr>
              <p:spPr>
                <a:xfrm>
                  <a:off x="5236132" y="3463252"/>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1" name="Forme libre : forme 1710">
                  <a:extLst>
                    <a:ext uri="{FF2B5EF4-FFF2-40B4-BE49-F238E27FC236}">
                      <a16:creationId xmlns:a16="http://schemas.microsoft.com/office/drawing/2014/main" id="{5F08B32F-D9FB-4DB9-BA8E-94DFD1560313}"/>
                    </a:ext>
                  </a:extLst>
                </p:cNvPr>
                <p:cNvSpPr/>
                <p:nvPr/>
              </p:nvSpPr>
              <p:spPr>
                <a:xfrm>
                  <a:off x="5191346" y="3463252"/>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2" name="Forme libre : forme 1711">
                  <a:extLst>
                    <a:ext uri="{FF2B5EF4-FFF2-40B4-BE49-F238E27FC236}">
                      <a16:creationId xmlns:a16="http://schemas.microsoft.com/office/drawing/2014/main" id="{79F45D0B-6BA5-481D-A0F3-C95E56C9A749}"/>
                    </a:ext>
                  </a:extLst>
                </p:cNvPr>
                <p:cNvSpPr/>
                <p:nvPr/>
              </p:nvSpPr>
              <p:spPr>
                <a:xfrm>
                  <a:off x="5146553" y="3463252"/>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3" name="Forme libre : forme 1712">
                  <a:extLst>
                    <a:ext uri="{FF2B5EF4-FFF2-40B4-BE49-F238E27FC236}">
                      <a16:creationId xmlns:a16="http://schemas.microsoft.com/office/drawing/2014/main" id="{EA0469DA-E792-4802-8421-8A6C87D51C9A}"/>
                    </a:ext>
                  </a:extLst>
                </p:cNvPr>
                <p:cNvSpPr/>
                <p:nvPr/>
              </p:nvSpPr>
              <p:spPr>
                <a:xfrm>
                  <a:off x="5325712" y="3403531"/>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4" name="Forme libre : forme 1713">
                  <a:extLst>
                    <a:ext uri="{FF2B5EF4-FFF2-40B4-BE49-F238E27FC236}">
                      <a16:creationId xmlns:a16="http://schemas.microsoft.com/office/drawing/2014/main" id="{3AEAF17A-A6BB-43B5-AF5C-C52835A73AE5}"/>
                    </a:ext>
                  </a:extLst>
                </p:cNvPr>
                <p:cNvSpPr/>
                <p:nvPr/>
              </p:nvSpPr>
              <p:spPr>
                <a:xfrm>
                  <a:off x="5280919" y="3403531"/>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5" name="Forme libre : forme 1714">
                  <a:extLst>
                    <a:ext uri="{FF2B5EF4-FFF2-40B4-BE49-F238E27FC236}">
                      <a16:creationId xmlns:a16="http://schemas.microsoft.com/office/drawing/2014/main" id="{CFA48721-E56B-4323-8F55-FA6E4D26340E}"/>
                    </a:ext>
                  </a:extLst>
                </p:cNvPr>
                <p:cNvSpPr/>
                <p:nvPr/>
              </p:nvSpPr>
              <p:spPr>
                <a:xfrm>
                  <a:off x="5236132" y="3403531"/>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6" name="Forme libre : forme 1715">
                  <a:extLst>
                    <a:ext uri="{FF2B5EF4-FFF2-40B4-BE49-F238E27FC236}">
                      <a16:creationId xmlns:a16="http://schemas.microsoft.com/office/drawing/2014/main" id="{09ABF3FE-8EF1-4796-BF50-C10D7B4C54C3}"/>
                    </a:ext>
                  </a:extLst>
                </p:cNvPr>
                <p:cNvSpPr/>
                <p:nvPr/>
              </p:nvSpPr>
              <p:spPr>
                <a:xfrm>
                  <a:off x="5191346" y="3403531"/>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7" name="Forme libre : forme 1716">
                  <a:extLst>
                    <a:ext uri="{FF2B5EF4-FFF2-40B4-BE49-F238E27FC236}">
                      <a16:creationId xmlns:a16="http://schemas.microsoft.com/office/drawing/2014/main" id="{317A50D2-82F3-4521-AAFF-670F14E7AC56}"/>
                    </a:ext>
                  </a:extLst>
                </p:cNvPr>
                <p:cNvSpPr/>
                <p:nvPr/>
              </p:nvSpPr>
              <p:spPr>
                <a:xfrm>
                  <a:off x="5146553" y="3403531"/>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8" name="Forme libre : forme 1717">
                  <a:extLst>
                    <a:ext uri="{FF2B5EF4-FFF2-40B4-BE49-F238E27FC236}">
                      <a16:creationId xmlns:a16="http://schemas.microsoft.com/office/drawing/2014/main" id="{B59F5CB8-63FC-48F8-90B9-A0920860E125}"/>
                    </a:ext>
                  </a:extLst>
                </p:cNvPr>
                <p:cNvSpPr/>
                <p:nvPr/>
              </p:nvSpPr>
              <p:spPr>
                <a:xfrm>
                  <a:off x="5325712" y="3642405"/>
                  <a:ext cx="23825" cy="23831"/>
                </a:xfrm>
                <a:custGeom>
                  <a:avLst/>
                  <a:gdLst>
                    <a:gd name="connsiteX0" fmla="*/ 0 w 23825"/>
                    <a:gd name="connsiteY0" fmla="*/ 0 h 23831"/>
                    <a:gd name="connsiteX1" fmla="*/ 23825 w 23825"/>
                    <a:gd name="connsiteY1" fmla="*/ 0 h 23831"/>
                    <a:gd name="connsiteX2" fmla="*/ 23825 w 23825"/>
                    <a:gd name="connsiteY2" fmla="*/ 23831 h 23831"/>
                    <a:gd name="connsiteX3" fmla="*/ 0 w 23825"/>
                    <a:gd name="connsiteY3" fmla="*/ 23831 h 23831"/>
                  </a:gdLst>
                  <a:ahLst/>
                  <a:cxnLst>
                    <a:cxn ang="0">
                      <a:pos x="connsiteX0" y="connsiteY0"/>
                    </a:cxn>
                    <a:cxn ang="0">
                      <a:pos x="connsiteX1" y="connsiteY1"/>
                    </a:cxn>
                    <a:cxn ang="0">
                      <a:pos x="connsiteX2" y="connsiteY2"/>
                    </a:cxn>
                    <a:cxn ang="0">
                      <a:pos x="connsiteX3" y="connsiteY3"/>
                    </a:cxn>
                  </a:cxnLst>
                  <a:rect l="l" t="t" r="r" b="b"/>
                  <a:pathLst>
                    <a:path w="23825" h="23831">
                      <a:moveTo>
                        <a:pt x="0" y="0"/>
                      </a:moveTo>
                      <a:lnTo>
                        <a:pt x="23825" y="0"/>
                      </a:lnTo>
                      <a:lnTo>
                        <a:pt x="23825" y="23831"/>
                      </a:lnTo>
                      <a:lnTo>
                        <a:pt x="0" y="23831"/>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9" name="Forme libre : forme 1718">
                  <a:extLst>
                    <a:ext uri="{FF2B5EF4-FFF2-40B4-BE49-F238E27FC236}">
                      <a16:creationId xmlns:a16="http://schemas.microsoft.com/office/drawing/2014/main" id="{402ED34F-1A92-45D2-93A1-272EEC1A4399}"/>
                    </a:ext>
                  </a:extLst>
                </p:cNvPr>
                <p:cNvSpPr/>
                <p:nvPr/>
              </p:nvSpPr>
              <p:spPr>
                <a:xfrm>
                  <a:off x="5280919" y="3642405"/>
                  <a:ext cx="23825" cy="23831"/>
                </a:xfrm>
                <a:custGeom>
                  <a:avLst/>
                  <a:gdLst>
                    <a:gd name="connsiteX0" fmla="*/ 0 w 23825"/>
                    <a:gd name="connsiteY0" fmla="*/ 0 h 23831"/>
                    <a:gd name="connsiteX1" fmla="*/ 23825 w 23825"/>
                    <a:gd name="connsiteY1" fmla="*/ 0 h 23831"/>
                    <a:gd name="connsiteX2" fmla="*/ 23825 w 23825"/>
                    <a:gd name="connsiteY2" fmla="*/ 23831 h 23831"/>
                    <a:gd name="connsiteX3" fmla="*/ 0 w 23825"/>
                    <a:gd name="connsiteY3" fmla="*/ 23831 h 23831"/>
                  </a:gdLst>
                  <a:ahLst/>
                  <a:cxnLst>
                    <a:cxn ang="0">
                      <a:pos x="connsiteX0" y="connsiteY0"/>
                    </a:cxn>
                    <a:cxn ang="0">
                      <a:pos x="connsiteX1" y="connsiteY1"/>
                    </a:cxn>
                    <a:cxn ang="0">
                      <a:pos x="connsiteX2" y="connsiteY2"/>
                    </a:cxn>
                    <a:cxn ang="0">
                      <a:pos x="connsiteX3" y="connsiteY3"/>
                    </a:cxn>
                  </a:cxnLst>
                  <a:rect l="l" t="t" r="r" b="b"/>
                  <a:pathLst>
                    <a:path w="23825" h="23831">
                      <a:moveTo>
                        <a:pt x="0" y="0"/>
                      </a:moveTo>
                      <a:lnTo>
                        <a:pt x="23825" y="0"/>
                      </a:lnTo>
                      <a:lnTo>
                        <a:pt x="23825" y="23831"/>
                      </a:lnTo>
                      <a:lnTo>
                        <a:pt x="0" y="23831"/>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0" name="Forme libre : forme 1719">
                  <a:extLst>
                    <a:ext uri="{FF2B5EF4-FFF2-40B4-BE49-F238E27FC236}">
                      <a16:creationId xmlns:a16="http://schemas.microsoft.com/office/drawing/2014/main" id="{2DC17A82-8635-4489-89C7-32D26267597E}"/>
                    </a:ext>
                  </a:extLst>
                </p:cNvPr>
                <p:cNvSpPr/>
                <p:nvPr/>
              </p:nvSpPr>
              <p:spPr>
                <a:xfrm>
                  <a:off x="5236132" y="3642405"/>
                  <a:ext cx="23825" cy="23831"/>
                </a:xfrm>
                <a:custGeom>
                  <a:avLst/>
                  <a:gdLst>
                    <a:gd name="connsiteX0" fmla="*/ 0 w 23825"/>
                    <a:gd name="connsiteY0" fmla="*/ 0 h 23831"/>
                    <a:gd name="connsiteX1" fmla="*/ 23825 w 23825"/>
                    <a:gd name="connsiteY1" fmla="*/ 0 h 23831"/>
                    <a:gd name="connsiteX2" fmla="*/ 23825 w 23825"/>
                    <a:gd name="connsiteY2" fmla="*/ 23831 h 23831"/>
                    <a:gd name="connsiteX3" fmla="*/ 0 w 23825"/>
                    <a:gd name="connsiteY3" fmla="*/ 23831 h 23831"/>
                  </a:gdLst>
                  <a:ahLst/>
                  <a:cxnLst>
                    <a:cxn ang="0">
                      <a:pos x="connsiteX0" y="connsiteY0"/>
                    </a:cxn>
                    <a:cxn ang="0">
                      <a:pos x="connsiteX1" y="connsiteY1"/>
                    </a:cxn>
                    <a:cxn ang="0">
                      <a:pos x="connsiteX2" y="connsiteY2"/>
                    </a:cxn>
                    <a:cxn ang="0">
                      <a:pos x="connsiteX3" y="connsiteY3"/>
                    </a:cxn>
                  </a:cxnLst>
                  <a:rect l="l" t="t" r="r" b="b"/>
                  <a:pathLst>
                    <a:path w="23825" h="23831">
                      <a:moveTo>
                        <a:pt x="0" y="0"/>
                      </a:moveTo>
                      <a:lnTo>
                        <a:pt x="23825" y="0"/>
                      </a:lnTo>
                      <a:lnTo>
                        <a:pt x="23825" y="23831"/>
                      </a:lnTo>
                      <a:lnTo>
                        <a:pt x="0" y="23831"/>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1" name="Forme libre : forme 1720">
                  <a:extLst>
                    <a:ext uri="{FF2B5EF4-FFF2-40B4-BE49-F238E27FC236}">
                      <a16:creationId xmlns:a16="http://schemas.microsoft.com/office/drawing/2014/main" id="{85D5BF15-1879-4F48-960E-1055D6864B6A}"/>
                    </a:ext>
                  </a:extLst>
                </p:cNvPr>
                <p:cNvSpPr/>
                <p:nvPr/>
              </p:nvSpPr>
              <p:spPr>
                <a:xfrm>
                  <a:off x="5191346" y="3642405"/>
                  <a:ext cx="23825" cy="23831"/>
                </a:xfrm>
                <a:custGeom>
                  <a:avLst/>
                  <a:gdLst>
                    <a:gd name="connsiteX0" fmla="*/ 0 w 23825"/>
                    <a:gd name="connsiteY0" fmla="*/ 0 h 23831"/>
                    <a:gd name="connsiteX1" fmla="*/ 23825 w 23825"/>
                    <a:gd name="connsiteY1" fmla="*/ 0 h 23831"/>
                    <a:gd name="connsiteX2" fmla="*/ 23825 w 23825"/>
                    <a:gd name="connsiteY2" fmla="*/ 23831 h 23831"/>
                    <a:gd name="connsiteX3" fmla="*/ 0 w 23825"/>
                    <a:gd name="connsiteY3" fmla="*/ 23831 h 23831"/>
                  </a:gdLst>
                  <a:ahLst/>
                  <a:cxnLst>
                    <a:cxn ang="0">
                      <a:pos x="connsiteX0" y="connsiteY0"/>
                    </a:cxn>
                    <a:cxn ang="0">
                      <a:pos x="connsiteX1" y="connsiteY1"/>
                    </a:cxn>
                    <a:cxn ang="0">
                      <a:pos x="connsiteX2" y="connsiteY2"/>
                    </a:cxn>
                    <a:cxn ang="0">
                      <a:pos x="connsiteX3" y="connsiteY3"/>
                    </a:cxn>
                  </a:cxnLst>
                  <a:rect l="l" t="t" r="r" b="b"/>
                  <a:pathLst>
                    <a:path w="23825" h="23831">
                      <a:moveTo>
                        <a:pt x="0" y="0"/>
                      </a:moveTo>
                      <a:lnTo>
                        <a:pt x="23825" y="0"/>
                      </a:lnTo>
                      <a:lnTo>
                        <a:pt x="23825" y="23831"/>
                      </a:lnTo>
                      <a:lnTo>
                        <a:pt x="0" y="23831"/>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2" name="Forme libre : forme 1721">
                  <a:extLst>
                    <a:ext uri="{FF2B5EF4-FFF2-40B4-BE49-F238E27FC236}">
                      <a16:creationId xmlns:a16="http://schemas.microsoft.com/office/drawing/2014/main" id="{BAE43302-430D-4233-AC66-0930B599D26A}"/>
                    </a:ext>
                  </a:extLst>
                </p:cNvPr>
                <p:cNvSpPr/>
                <p:nvPr/>
              </p:nvSpPr>
              <p:spPr>
                <a:xfrm>
                  <a:off x="5146553" y="3642405"/>
                  <a:ext cx="23825" cy="23831"/>
                </a:xfrm>
                <a:custGeom>
                  <a:avLst/>
                  <a:gdLst>
                    <a:gd name="connsiteX0" fmla="*/ 0 w 23825"/>
                    <a:gd name="connsiteY0" fmla="*/ 0 h 23831"/>
                    <a:gd name="connsiteX1" fmla="*/ 23825 w 23825"/>
                    <a:gd name="connsiteY1" fmla="*/ 0 h 23831"/>
                    <a:gd name="connsiteX2" fmla="*/ 23825 w 23825"/>
                    <a:gd name="connsiteY2" fmla="*/ 23831 h 23831"/>
                    <a:gd name="connsiteX3" fmla="*/ 0 w 23825"/>
                    <a:gd name="connsiteY3" fmla="*/ 23831 h 23831"/>
                  </a:gdLst>
                  <a:ahLst/>
                  <a:cxnLst>
                    <a:cxn ang="0">
                      <a:pos x="connsiteX0" y="connsiteY0"/>
                    </a:cxn>
                    <a:cxn ang="0">
                      <a:pos x="connsiteX1" y="connsiteY1"/>
                    </a:cxn>
                    <a:cxn ang="0">
                      <a:pos x="connsiteX2" y="connsiteY2"/>
                    </a:cxn>
                    <a:cxn ang="0">
                      <a:pos x="connsiteX3" y="connsiteY3"/>
                    </a:cxn>
                  </a:cxnLst>
                  <a:rect l="l" t="t" r="r" b="b"/>
                  <a:pathLst>
                    <a:path w="23825" h="23831">
                      <a:moveTo>
                        <a:pt x="0" y="0"/>
                      </a:moveTo>
                      <a:lnTo>
                        <a:pt x="23825" y="0"/>
                      </a:lnTo>
                      <a:lnTo>
                        <a:pt x="23825" y="23831"/>
                      </a:lnTo>
                      <a:lnTo>
                        <a:pt x="0" y="23831"/>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3" name="Forme libre : forme 1722">
                  <a:extLst>
                    <a:ext uri="{FF2B5EF4-FFF2-40B4-BE49-F238E27FC236}">
                      <a16:creationId xmlns:a16="http://schemas.microsoft.com/office/drawing/2014/main" id="{35B46D98-2590-4A35-B3D4-371BA2C725C1}"/>
                    </a:ext>
                  </a:extLst>
                </p:cNvPr>
                <p:cNvSpPr/>
                <p:nvPr/>
              </p:nvSpPr>
              <p:spPr>
                <a:xfrm>
                  <a:off x="5325712" y="3582696"/>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4" name="Forme libre : forme 1723">
                  <a:extLst>
                    <a:ext uri="{FF2B5EF4-FFF2-40B4-BE49-F238E27FC236}">
                      <a16:creationId xmlns:a16="http://schemas.microsoft.com/office/drawing/2014/main" id="{E5DCDF64-875E-4EB3-AD42-39D803E67C18}"/>
                    </a:ext>
                  </a:extLst>
                </p:cNvPr>
                <p:cNvSpPr/>
                <p:nvPr/>
              </p:nvSpPr>
              <p:spPr>
                <a:xfrm>
                  <a:off x="5280919" y="3582696"/>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5" name="Forme libre : forme 1724">
                  <a:extLst>
                    <a:ext uri="{FF2B5EF4-FFF2-40B4-BE49-F238E27FC236}">
                      <a16:creationId xmlns:a16="http://schemas.microsoft.com/office/drawing/2014/main" id="{26A4809D-A006-4357-96FA-1B8B18B032A2}"/>
                    </a:ext>
                  </a:extLst>
                </p:cNvPr>
                <p:cNvSpPr/>
                <p:nvPr/>
              </p:nvSpPr>
              <p:spPr>
                <a:xfrm>
                  <a:off x="5236132" y="3582696"/>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6" name="Forme libre : forme 1725">
                  <a:extLst>
                    <a:ext uri="{FF2B5EF4-FFF2-40B4-BE49-F238E27FC236}">
                      <a16:creationId xmlns:a16="http://schemas.microsoft.com/office/drawing/2014/main" id="{39964BD3-A931-486C-8D31-9CA62139FB5C}"/>
                    </a:ext>
                  </a:extLst>
                </p:cNvPr>
                <p:cNvSpPr/>
                <p:nvPr/>
              </p:nvSpPr>
              <p:spPr>
                <a:xfrm>
                  <a:off x="5191346" y="3582696"/>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7" name="Forme libre : forme 1726">
                  <a:extLst>
                    <a:ext uri="{FF2B5EF4-FFF2-40B4-BE49-F238E27FC236}">
                      <a16:creationId xmlns:a16="http://schemas.microsoft.com/office/drawing/2014/main" id="{D9F2F6F7-7BF2-4B8E-A4E2-E6BCDD70FB7B}"/>
                    </a:ext>
                  </a:extLst>
                </p:cNvPr>
                <p:cNvSpPr/>
                <p:nvPr/>
              </p:nvSpPr>
              <p:spPr>
                <a:xfrm>
                  <a:off x="5146553" y="3582696"/>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8" name="Forme libre : forme 1727">
                  <a:extLst>
                    <a:ext uri="{FF2B5EF4-FFF2-40B4-BE49-F238E27FC236}">
                      <a16:creationId xmlns:a16="http://schemas.microsoft.com/office/drawing/2014/main" id="{06CD8055-DBB8-4436-AC27-F78262EBDA80}"/>
                    </a:ext>
                  </a:extLst>
                </p:cNvPr>
                <p:cNvSpPr/>
                <p:nvPr/>
              </p:nvSpPr>
              <p:spPr>
                <a:xfrm>
                  <a:off x="5325712" y="3821570"/>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9" name="Forme libre : forme 1728">
                  <a:extLst>
                    <a:ext uri="{FF2B5EF4-FFF2-40B4-BE49-F238E27FC236}">
                      <a16:creationId xmlns:a16="http://schemas.microsoft.com/office/drawing/2014/main" id="{98756102-E80F-4F94-A710-4E0552AA4D27}"/>
                    </a:ext>
                  </a:extLst>
                </p:cNvPr>
                <p:cNvSpPr/>
                <p:nvPr/>
              </p:nvSpPr>
              <p:spPr>
                <a:xfrm>
                  <a:off x="5280919" y="3821570"/>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0" name="Forme libre : forme 1729">
                  <a:extLst>
                    <a:ext uri="{FF2B5EF4-FFF2-40B4-BE49-F238E27FC236}">
                      <a16:creationId xmlns:a16="http://schemas.microsoft.com/office/drawing/2014/main" id="{2AE44B97-DC4E-4F6A-843E-E2244629DAB2}"/>
                    </a:ext>
                  </a:extLst>
                </p:cNvPr>
                <p:cNvSpPr/>
                <p:nvPr/>
              </p:nvSpPr>
              <p:spPr>
                <a:xfrm>
                  <a:off x="5236132" y="3821570"/>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1" name="Forme libre : forme 1730">
                  <a:extLst>
                    <a:ext uri="{FF2B5EF4-FFF2-40B4-BE49-F238E27FC236}">
                      <a16:creationId xmlns:a16="http://schemas.microsoft.com/office/drawing/2014/main" id="{D61FF6C7-8032-4FB6-9A09-99F8C67D433A}"/>
                    </a:ext>
                  </a:extLst>
                </p:cNvPr>
                <p:cNvSpPr/>
                <p:nvPr/>
              </p:nvSpPr>
              <p:spPr>
                <a:xfrm>
                  <a:off x="5191346" y="3821570"/>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2" name="Forme libre : forme 1731">
                  <a:extLst>
                    <a:ext uri="{FF2B5EF4-FFF2-40B4-BE49-F238E27FC236}">
                      <a16:creationId xmlns:a16="http://schemas.microsoft.com/office/drawing/2014/main" id="{F472D706-BD40-4A2B-820A-CB983A7B7512}"/>
                    </a:ext>
                  </a:extLst>
                </p:cNvPr>
                <p:cNvSpPr/>
                <p:nvPr/>
              </p:nvSpPr>
              <p:spPr>
                <a:xfrm>
                  <a:off x="5146553" y="3821570"/>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3" name="Forme libre : forme 1732">
                  <a:extLst>
                    <a:ext uri="{FF2B5EF4-FFF2-40B4-BE49-F238E27FC236}">
                      <a16:creationId xmlns:a16="http://schemas.microsoft.com/office/drawing/2014/main" id="{A9A57FDB-CC03-4C09-83D3-F5422FFBEC98}"/>
                    </a:ext>
                  </a:extLst>
                </p:cNvPr>
                <p:cNvSpPr/>
                <p:nvPr/>
              </p:nvSpPr>
              <p:spPr>
                <a:xfrm>
                  <a:off x="5325712" y="3761855"/>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4" name="Forme libre : forme 1733">
                  <a:extLst>
                    <a:ext uri="{FF2B5EF4-FFF2-40B4-BE49-F238E27FC236}">
                      <a16:creationId xmlns:a16="http://schemas.microsoft.com/office/drawing/2014/main" id="{A699A87F-A17B-4335-9336-F1D1155E7BD6}"/>
                    </a:ext>
                  </a:extLst>
                </p:cNvPr>
                <p:cNvSpPr/>
                <p:nvPr/>
              </p:nvSpPr>
              <p:spPr>
                <a:xfrm>
                  <a:off x="5280919" y="3761855"/>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5" name="Forme libre : forme 1734">
                  <a:extLst>
                    <a:ext uri="{FF2B5EF4-FFF2-40B4-BE49-F238E27FC236}">
                      <a16:creationId xmlns:a16="http://schemas.microsoft.com/office/drawing/2014/main" id="{6F8D22AA-C2FB-4B48-9477-75CD4081939C}"/>
                    </a:ext>
                  </a:extLst>
                </p:cNvPr>
                <p:cNvSpPr/>
                <p:nvPr/>
              </p:nvSpPr>
              <p:spPr>
                <a:xfrm>
                  <a:off x="5236132" y="3761855"/>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6" name="Forme libre : forme 1735">
                  <a:extLst>
                    <a:ext uri="{FF2B5EF4-FFF2-40B4-BE49-F238E27FC236}">
                      <a16:creationId xmlns:a16="http://schemas.microsoft.com/office/drawing/2014/main" id="{B83F56BE-DA1F-4B41-9DED-E1D093805688}"/>
                    </a:ext>
                  </a:extLst>
                </p:cNvPr>
                <p:cNvSpPr/>
                <p:nvPr/>
              </p:nvSpPr>
              <p:spPr>
                <a:xfrm>
                  <a:off x="5191346" y="3761855"/>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7" name="Forme libre : forme 1736">
                  <a:extLst>
                    <a:ext uri="{FF2B5EF4-FFF2-40B4-BE49-F238E27FC236}">
                      <a16:creationId xmlns:a16="http://schemas.microsoft.com/office/drawing/2014/main" id="{54841A4C-8CE6-4A38-A823-0123108D4855}"/>
                    </a:ext>
                  </a:extLst>
                </p:cNvPr>
                <p:cNvSpPr/>
                <p:nvPr/>
              </p:nvSpPr>
              <p:spPr>
                <a:xfrm>
                  <a:off x="5146553" y="3761855"/>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8" name="Forme libre : forme 1737">
                  <a:extLst>
                    <a:ext uri="{FF2B5EF4-FFF2-40B4-BE49-F238E27FC236}">
                      <a16:creationId xmlns:a16="http://schemas.microsoft.com/office/drawing/2014/main" id="{6E83C1B3-3D53-40FC-9509-8AA4F31E7359}"/>
                    </a:ext>
                  </a:extLst>
                </p:cNvPr>
                <p:cNvSpPr/>
                <p:nvPr/>
              </p:nvSpPr>
              <p:spPr>
                <a:xfrm>
                  <a:off x="5385433" y="3761855"/>
                  <a:ext cx="202984" cy="83540"/>
                </a:xfrm>
                <a:custGeom>
                  <a:avLst/>
                  <a:gdLst>
                    <a:gd name="connsiteX0" fmla="*/ 11913 w 202984"/>
                    <a:gd name="connsiteY0" fmla="*/ 83541 h 83540"/>
                    <a:gd name="connsiteX1" fmla="*/ 0 w 202984"/>
                    <a:gd name="connsiteY1" fmla="*/ 71622 h 83540"/>
                    <a:gd name="connsiteX2" fmla="*/ 0 w 202984"/>
                    <a:gd name="connsiteY2" fmla="*/ 11906 h 83540"/>
                    <a:gd name="connsiteX3" fmla="*/ 11913 w 202984"/>
                    <a:gd name="connsiteY3" fmla="*/ 0 h 83540"/>
                    <a:gd name="connsiteX4" fmla="*/ 191072 w 202984"/>
                    <a:gd name="connsiteY4" fmla="*/ 0 h 83540"/>
                    <a:gd name="connsiteX5" fmla="*/ 202984 w 202984"/>
                    <a:gd name="connsiteY5" fmla="*/ 11906 h 83540"/>
                    <a:gd name="connsiteX6" fmla="*/ 202984 w 202984"/>
                    <a:gd name="connsiteY6" fmla="*/ 71622 h 83540"/>
                    <a:gd name="connsiteX7" fmla="*/ 191072 w 202984"/>
                    <a:gd name="connsiteY7" fmla="*/ 83541 h 83540"/>
                    <a:gd name="connsiteX8" fmla="*/ 11913 w 202984"/>
                    <a:gd name="connsiteY8" fmla="*/ 83541 h 83540"/>
                    <a:gd name="connsiteX9" fmla="*/ 23819 w 202984"/>
                    <a:gd name="connsiteY9" fmla="*/ 59716 h 83540"/>
                    <a:gd name="connsiteX10" fmla="*/ 179146 w 202984"/>
                    <a:gd name="connsiteY10" fmla="*/ 59716 h 83540"/>
                    <a:gd name="connsiteX11" fmla="*/ 179146 w 202984"/>
                    <a:gd name="connsiteY11" fmla="*/ 23825 h 83540"/>
                    <a:gd name="connsiteX12" fmla="*/ 23819 w 202984"/>
                    <a:gd name="connsiteY12" fmla="*/ 23825 h 83540"/>
                    <a:gd name="connsiteX13" fmla="*/ 23819 w 202984"/>
                    <a:gd name="connsiteY13" fmla="*/ 59716 h 83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2984" h="83540">
                      <a:moveTo>
                        <a:pt x="11913" y="83541"/>
                      </a:moveTo>
                      <a:cubicBezTo>
                        <a:pt x="5347" y="83541"/>
                        <a:pt x="0" y="78194"/>
                        <a:pt x="0" y="71622"/>
                      </a:cubicBezTo>
                      <a:lnTo>
                        <a:pt x="0" y="11906"/>
                      </a:lnTo>
                      <a:cubicBezTo>
                        <a:pt x="0" y="5340"/>
                        <a:pt x="5347" y="0"/>
                        <a:pt x="11913" y="0"/>
                      </a:cubicBezTo>
                      <a:lnTo>
                        <a:pt x="191072" y="0"/>
                      </a:lnTo>
                      <a:cubicBezTo>
                        <a:pt x="197638" y="0"/>
                        <a:pt x="202984" y="5340"/>
                        <a:pt x="202984" y="11906"/>
                      </a:cubicBezTo>
                      <a:lnTo>
                        <a:pt x="202984" y="71622"/>
                      </a:lnTo>
                      <a:cubicBezTo>
                        <a:pt x="202984" y="78194"/>
                        <a:pt x="197638" y="83541"/>
                        <a:pt x="191072" y="83541"/>
                      </a:cubicBezTo>
                      <a:lnTo>
                        <a:pt x="11913" y="83541"/>
                      </a:lnTo>
                      <a:close/>
                      <a:moveTo>
                        <a:pt x="23819" y="59716"/>
                      </a:moveTo>
                      <a:lnTo>
                        <a:pt x="179146" y="59716"/>
                      </a:lnTo>
                      <a:lnTo>
                        <a:pt x="179146" y="23825"/>
                      </a:lnTo>
                      <a:lnTo>
                        <a:pt x="23819" y="23825"/>
                      </a:lnTo>
                      <a:lnTo>
                        <a:pt x="23819" y="59716"/>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9" name="Forme libre : forme 1738">
                  <a:extLst>
                    <a:ext uri="{FF2B5EF4-FFF2-40B4-BE49-F238E27FC236}">
                      <a16:creationId xmlns:a16="http://schemas.microsoft.com/office/drawing/2014/main" id="{36A8E5FE-EA65-4EE5-A5C2-5B23CAE3473A}"/>
                    </a:ext>
                  </a:extLst>
                </p:cNvPr>
                <p:cNvSpPr/>
                <p:nvPr/>
              </p:nvSpPr>
              <p:spPr>
                <a:xfrm>
                  <a:off x="5086831" y="3194533"/>
                  <a:ext cx="890239" cy="889736"/>
                </a:xfrm>
                <a:custGeom>
                  <a:avLst/>
                  <a:gdLst>
                    <a:gd name="connsiteX0" fmla="*/ 280607 w 890239"/>
                    <a:gd name="connsiteY0" fmla="*/ 889737 h 889736"/>
                    <a:gd name="connsiteX1" fmla="*/ 225978 w 890239"/>
                    <a:gd name="connsiteY1" fmla="*/ 847224 h 889736"/>
                    <a:gd name="connsiteX2" fmla="*/ 225400 w 890239"/>
                    <a:gd name="connsiteY2" fmla="*/ 844950 h 889736"/>
                    <a:gd name="connsiteX3" fmla="*/ 11913 w 890239"/>
                    <a:gd name="connsiteY3" fmla="*/ 844950 h 889736"/>
                    <a:gd name="connsiteX4" fmla="*/ 0 w 890239"/>
                    <a:gd name="connsiteY4" fmla="*/ 833038 h 889736"/>
                    <a:gd name="connsiteX5" fmla="*/ 11913 w 890239"/>
                    <a:gd name="connsiteY5" fmla="*/ 821125 h 889736"/>
                    <a:gd name="connsiteX6" fmla="*/ 225381 w 890239"/>
                    <a:gd name="connsiteY6" fmla="*/ 821125 h 889736"/>
                    <a:gd name="connsiteX7" fmla="*/ 225971 w 890239"/>
                    <a:gd name="connsiteY7" fmla="*/ 818877 h 889736"/>
                    <a:gd name="connsiteX8" fmla="*/ 266484 w 890239"/>
                    <a:gd name="connsiteY8" fmla="*/ 778358 h 889736"/>
                    <a:gd name="connsiteX9" fmla="*/ 268732 w 890239"/>
                    <a:gd name="connsiteY9" fmla="*/ 777761 h 889736"/>
                    <a:gd name="connsiteX10" fmla="*/ 268732 w 890239"/>
                    <a:gd name="connsiteY10" fmla="*/ 710578 h 889736"/>
                    <a:gd name="connsiteX11" fmla="*/ 71628 w 890239"/>
                    <a:gd name="connsiteY11" fmla="*/ 710578 h 889736"/>
                    <a:gd name="connsiteX12" fmla="*/ 0 w 890239"/>
                    <a:gd name="connsiteY12" fmla="*/ 638944 h 889736"/>
                    <a:gd name="connsiteX13" fmla="*/ 0 w 890239"/>
                    <a:gd name="connsiteY13" fmla="*/ 579228 h 889736"/>
                    <a:gd name="connsiteX14" fmla="*/ 29077 w 890239"/>
                    <a:gd name="connsiteY14" fmla="*/ 521945 h 889736"/>
                    <a:gd name="connsiteX15" fmla="*/ 32373 w 890239"/>
                    <a:gd name="connsiteY15" fmla="*/ 519512 h 889736"/>
                    <a:gd name="connsiteX16" fmla="*/ 29077 w 890239"/>
                    <a:gd name="connsiteY16" fmla="*/ 517087 h 889736"/>
                    <a:gd name="connsiteX17" fmla="*/ 0 w 890239"/>
                    <a:gd name="connsiteY17" fmla="*/ 459784 h 889736"/>
                    <a:gd name="connsiteX18" fmla="*/ 0 w 890239"/>
                    <a:gd name="connsiteY18" fmla="*/ 400082 h 889736"/>
                    <a:gd name="connsiteX19" fmla="*/ 29077 w 890239"/>
                    <a:gd name="connsiteY19" fmla="*/ 342786 h 889736"/>
                    <a:gd name="connsiteX20" fmla="*/ 32373 w 890239"/>
                    <a:gd name="connsiteY20" fmla="*/ 340360 h 889736"/>
                    <a:gd name="connsiteX21" fmla="*/ 29077 w 890239"/>
                    <a:gd name="connsiteY21" fmla="*/ 337934 h 889736"/>
                    <a:gd name="connsiteX22" fmla="*/ 0 w 890239"/>
                    <a:gd name="connsiteY22" fmla="*/ 280626 h 889736"/>
                    <a:gd name="connsiteX23" fmla="*/ 0 w 890239"/>
                    <a:gd name="connsiteY23" fmla="*/ 219132 h 889736"/>
                    <a:gd name="connsiteX24" fmla="*/ 6585 w 890239"/>
                    <a:gd name="connsiteY24" fmla="*/ 189205 h 889736"/>
                    <a:gd name="connsiteX25" fmla="*/ 74676 w 890239"/>
                    <a:gd name="connsiteY25" fmla="*/ 41542 h 889736"/>
                    <a:gd name="connsiteX26" fmla="*/ 139726 w 890239"/>
                    <a:gd name="connsiteY26" fmla="*/ 0 h 889736"/>
                    <a:gd name="connsiteX27" fmla="*/ 421596 w 890239"/>
                    <a:gd name="connsiteY27" fmla="*/ 0 h 889736"/>
                    <a:gd name="connsiteX28" fmla="*/ 486652 w 890239"/>
                    <a:gd name="connsiteY28" fmla="*/ 41548 h 889736"/>
                    <a:gd name="connsiteX29" fmla="*/ 554717 w 890239"/>
                    <a:gd name="connsiteY29" fmla="*/ 189052 h 889736"/>
                    <a:gd name="connsiteX30" fmla="*/ 561309 w 890239"/>
                    <a:gd name="connsiteY30" fmla="*/ 219132 h 889736"/>
                    <a:gd name="connsiteX31" fmla="*/ 561309 w 890239"/>
                    <a:gd name="connsiteY31" fmla="*/ 264497 h 889736"/>
                    <a:gd name="connsiteX32" fmla="*/ 566052 w 890239"/>
                    <a:gd name="connsiteY32" fmla="*/ 261176 h 889736"/>
                    <a:gd name="connsiteX33" fmla="*/ 684175 w 890239"/>
                    <a:gd name="connsiteY33" fmla="*/ 223952 h 889736"/>
                    <a:gd name="connsiteX34" fmla="*/ 802297 w 890239"/>
                    <a:gd name="connsiteY34" fmla="*/ 261176 h 889736"/>
                    <a:gd name="connsiteX35" fmla="*/ 887051 w 890239"/>
                    <a:gd name="connsiteY35" fmla="*/ 394132 h 889736"/>
                    <a:gd name="connsiteX36" fmla="*/ 852951 w 890239"/>
                    <a:gd name="connsiteY36" fmla="*/ 548069 h 889736"/>
                    <a:gd name="connsiteX37" fmla="*/ 683997 w 890239"/>
                    <a:gd name="connsiteY37" fmla="*/ 635972 h 889736"/>
                    <a:gd name="connsiteX38" fmla="*/ 566058 w 890239"/>
                    <a:gd name="connsiteY38" fmla="*/ 598729 h 889736"/>
                    <a:gd name="connsiteX39" fmla="*/ 561315 w 890239"/>
                    <a:gd name="connsiteY39" fmla="*/ 595408 h 889736"/>
                    <a:gd name="connsiteX40" fmla="*/ 561315 w 890239"/>
                    <a:gd name="connsiteY40" fmla="*/ 638969 h 889736"/>
                    <a:gd name="connsiteX41" fmla="*/ 489687 w 890239"/>
                    <a:gd name="connsiteY41" fmla="*/ 710603 h 889736"/>
                    <a:gd name="connsiteX42" fmla="*/ 292577 w 890239"/>
                    <a:gd name="connsiteY42" fmla="*/ 710603 h 889736"/>
                    <a:gd name="connsiteX43" fmla="*/ 292577 w 890239"/>
                    <a:gd name="connsiteY43" fmla="*/ 777786 h 889736"/>
                    <a:gd name="connsiteX44" fmla="*/ 294831 w 890239"/>
                    <a:gd name="connsiteY44" fmla="*/ 778383 h 889736"/>
                    <a:gd name="connsiteX45" fmla="*/ 335350 w 890239"/>
                    <a:gd name="connsiteY45" fmla="*/ 818902 h 889736"/>
                    <a:gd name="connsiteX46" fmla="*/ 335941 w 890239"/>
                    <a:gd name="connsiteY46" fmla="*/ 821150 h 889736"/>
                    <a:gd name="connsiteX47" fmla="*/ 554914 w 890239"/>
                    <a:gd name="connsiteY47" fmla="*/ 821150 h 889736"/>
                    <a:gd name="connsiteX48" fmla="*/ 566833 w 890239"/>
                    <a:gd name="connsiteY48" fmla="*/ 833063 h 889736"/>
                    <a:gd name="connsiteX49" fmla="*/ 554914 w 890239"/>
                    <a:gd name="connsiteY49" fmla="*/ 844976 h 889736"/>
                    <a:gd name="connsiteX50" fmla="*/ 335922 w 890239"/>
                    <a:gd name="connsiteY50" fmla="*/ 844976 h 889736"/>
                    <a:gd name="connsiteX51" fmla="*/ 335344 w 890239"/>
                    <a:gd name="connsiteY51" fmla="*/ 847249 h 889736"/>
                    <a:gd name="connsiteX52" fmla="*/ 294583 w 890239"/>
                    <a:gd name="connsiteY52" fmla="*/ 888009 h 889736"/>
                    <a:gd name="connsiteX53" fmla="*/ 280607 w 890239"/>
                    <a:gd name="connsiteY53" fmla="*/ 889737 h 889736"/>
                    <a:gd name="connsiteX54" fmla="*/ 280651 w 890239"/>
                    <a:gd name="connsiteY54" fmla="*/ 800164 h 889736"/>
                    <a:gd name="connsiteX55" fmla="*/ 247777 w 890239"/>
                    <a:gd name="connsiteY55" fmla="*/ 833038 h 889736"/>
                    <a:gd name="connsiteX56" fmla="*/ 280651 w 890239"/>
                    <a:gd name="connsiteY56" fmla="*/ 865918 h 889736"/>
                    <a:gd name="connsiteX57" fmla="*/ 313525 w 890239"/>
                    <a:gd name="connsiteY57" fmla="*/ 833038 h 889736"/>
                    <a:gd name="connsiteX58" fmla="*/ 280651 w 890239"/>
                    <a:gd name="connsiteY58" fmla="*/ 800164 h 889736"/>
                    <a:gd name="connsiteX59" fmla="*/ 71622 w 890239"/>
                    <a:gd name="connsiteY59" fmla="*/ 531419 h 889736"/>
                    <a:gd name="connsiteX60" fmla="*/ 23832 w 890239"/>
                    <a:gd name="connsiteY60" fmla="*/ 579209 h 889736"/>
                    <a:gd name="connsiteX61" fmla="*/ 23832 w 890239"/>
                    <a:gd name="connsiteY61" fmla="*/ 638937 h 889736"/>
                    <a:gd name="connsiteX62" fmla="*/ 71622 w 890239"/>
                    <a:gd name="connsiteY62" fmla="*/ 686746 h 889736"/>
                    <a:gd name="connsiteX63" fmla="*/ 489668 w 890239"/>
                    <a:gd name="connsiteY63" fmla="*/ 686746 h 889736"/>
                    <a:gd name="connsiteX64" fmla="*/ 537471 w 890239"/>
                    <a:gd name="connsiteY64" fmla="*/ 638950 h 889736"/>
                    <a:gd name="connsiteX65" fmla="*/ 537471 w 890239"/>
                    <a:gd name="connsiteY65" fmla="*/ 579222 h 889736"/>
                    <a:gd name="connsiteX66" fmla="*/ 537153 w 890239"/>
                    <a:gd name="connsiteY66" fmla="*/ 575215 h 889736"/>
                    <a:gd name="connsiteX67" fmla="*/ 537014 w 890239"/>
                    <a:gd name="connsiteY67" fmla="*/ 574249 h 889736"/>
                    <a:gd name="connsiteX68" fmla="*/ 536334 w 890239"/>
                    <a:gd name="connsiteY68" fmla="*/ 573545 h 889736"/>
                    <a:gd name="connsiteX69" fmla="*/ 507493 w 890239"/>
                    <a:gd name="connsiteY69" fmla="*/ 535877 h 889736"/>
                    <a:gd name="connsiteX70" fmla="*/ 506965 w 890239"/>
                    <a:gd name="connsiteY70" fmla="*/ 534988 h 889736"/>
                    <a:gd name="connsiteX71" fmla="*/ 506007 w 890239"/>
                    <a:gd name="connsiteY71" fmla="*/ 534607 h 889736"/>
                    <a:gd name="connsiteX72" fmla="*/ 489712 w 890239"/>
                    <a:gd name="connsiteY72" fmla="*/ 531413 h 889736"/>
                    <a:gd name="connsiteX73" fmla="*/ 71622 w 890239"/>
                    <a:gd name="connsiteY73" fmla="*/ 531413 h 889736"/>
                    <a:gd name="connsiteX74" fmla="*/ 683749 w 890239"/>
                    <a:gd name="connsiteY74" fmla="*/ 247745 h 889736"/>
                    <a:gd name="connsiteX75" fmla="*/ 501580 w 890239"/>
                    <a:gd name="connsiteY75" fmla="*/ 429920 h 889736"/>
                    <a:gd name="connsiteX76" fmla="*/ 683749 w 890239"/>
                    <a:gd name="connsiteY76" fmla="*/ 612096 h 889736"/>
                    <a:gd name="connsiteX77" fmla="*/ 865925 w 890239"/>
                    <a:gd name="connsiteY77" fmla="*/ 429920 h 889736"/>
                    <a:gd name="connsiteX78" fmla="*/ 683749 w 890239"/>
                    <a:gd name="connsiteY78" fmla="*/ 247745 h 889736"/>
                    <a:gd name="connsiteX79" fmla="*/ 683749 w 890239"/>
                    <a:gd name="connsiteY79" fmla="*/ 247745 h 889736"/>
                    <a:gd name="connsiteX80" fmla="*/ 71622 w 890239"/>
                    <a:gd name="connsiteY80" fmla="*/ 352260 h 889736"/>
                    <a:gd name="connsiteX81" fmla="*/ 23832 w 890239"/>
                    <a:gd name="connsiteY81" fmla="*/ 400056 h 889736"/>
                    <a:gd name="connsiteX82" fmla="*/ 23832 w 890239"/>
                    <a:gd name="connsiteY82" fmla="*/ 459784 h 889736"/>
                    <a:gd name="connsiteX83" fmla="*/ 71622 w 890239"/>
                    <a:gd name="connsiteY83" fmla="*/ 507594 h 889736"/>
                    <a:gd name="connsiteX84" fmla="*/ 493192 w 890239"/>
                    <a:gd name="connsiteY84" fmla="*/ 507594 h 889736"/>
                    <a:gd name="connsiteX85" fmla="*/ 491579 w 890239"/>
                    <a:gd name="connsiteY85" fmla="*/ 503479 h 889736"/>
                    <a:gd name="connsiteX86" fmla="*/ 482607 w 890239"/>
                    <a:gd name="connsiteY86" fmla="*/ 474059 h 889736"/>
                    <a:gd name="connsiteX87" fmla="*/ 482080 w 890239"/>
                    <a:gd name="connsiteY87" fmla="*/ 471697 h 889736"/>
                    <a:gd name="connsiteX88" fmla="*/ 310503 w 890239"/>
                    <a:gd name="connsiteY88" fmla="*/ 471697 h 889736"/>
                    <a:gd name="connsiteX89" fmla="*/ 298590 w 890239"/>
                    <a:gd name="connsiteY89" fmla="*/ 459784 h 889736"/>
                    <a:gd name="connsiteX90" fmla="*/ 298590 w 890239"/>
                    <a:gd name="connsiteY90" fmla="*/ 400069 h 889736"/>
                    <a:gd name="connsiteX91" fmla="*/ 310503 w 890239"/>
                    <a:gd name="connsiteY91" fmla="*/ 388157 h 889736"/>
                    <a:gd name="connsiteX92" fmla="*/ 482080 w 890239"/>
                    <a:gd name="connsiteY92" fmla="*/ 388157 h 889736"/>
                    <a:gd name="connsiteX93" fmla="*/ 482607 w 890239"/>
                    <a:gd name="connsiteY93" fmla="*/ 385794 h 889736"/>
                    <a:gd name="connsiteX94" fmla="*/ 491579 w 890239"/>
                    <a:gd name="connsiteY94" fmla="*/ 356369 h 889736"/>
                    <a:gd name="connsiteX95" fmla="*/ 493192 w 890239"/>
                    <a:gd name="connsiteY95" fmla="*/ 352260 h 889736"/>
                    <a:gd name="connsiteX96" fmla="*/ 71622 w 890239"/>
                    <a:gd name="connsiteY96" fmla="*/ 352260 h 889736"/>
                    <a:gd name="connsiteX97" fmla="*/ 322422 w 890239"/>
                    <a:gd name="connsiteY97" fmla="*/ 447872 h 889736"/>
                    <a:gd name="connsiteX98" fmla="*/ 477749 w 890239"/>
                    <a:gd name="connsiteY98" fmla="*/ 447872 h 889736"/>
                    <a:gd name="connsiteX99" fmla="*/ 477749 w 890239"/>
                    <a:gd name="connsiteY99" fmla="*/ 411988 h 889736"/>
                    <a:gd name="connsiteX100" fmla="*/ 322422 w 890239"/>
                    <a:gd name="connsiteY100" fmla="*/ 411988 h 889736"/>
                    <a:gd name="connsiteX101" fmla="*/ 322422 w 890239"/>
                    <a:gd name="connsiteY101" fmla="*/ 447872 h 889736"/>
                    <a:gd name="connsiteX102" fmla="*/ 71622 w 890239"/>
                    <a:gd name="connsiteY102" fmla="*/ 173107 h 889736"/>
                    <a:gd name="connsiteX103" fmla="*/ 23832 w 890239"/>
                    <a:gd name="connsiteY103" fmla="*/ 220897 h 889736"/>
                    <a:gd name="connsiteX104" fmla="*/ 23832 w 890239"/>
                    <a:gd name="connsiteY104" fmla="*/ 280626 h 889736"/>
                    <a:gd name="connsiteX105" fmla="*/ 71622 w 890239"/>
                    <a:gd name="connsiteY105" fmla="*/ 328435 h 889736"/>
                    <a:gd name="connsiteX106" fmla="*/ 489668 w 890239"/>
                    <a:gd name="connsiteY106" fmla="*/ 328435 h 889736"/>
                    <a:gd name="connsiteX107" fmla="*/ 506000 w 890239"/>
                    <a:gd name="connsiteY107" fmla="*/ 325241 h 889736"/>
                    <a:gd name="connsiteX108" fmla="*/ 506959 w 890239"/>
                    <a:gd name="connsiteY108" fmla="*/ 324860 h 889736"/>
                    <a:gd name="connsiteX109" fmla="*/ 507486 w 890239"/>
                    <a:gd name="connsiteY109" fmla="*/ 323964 h 889736"/>
                    <a:gd name="connsiteX110" fmla="*/ 536328 w 890239"/>
                    <a:gd name="connsiteY110" fmla="*/ 286309 h 889736"/>
                    <a:gd name="connsiteX111" fmla="*/ 537007 w 890239"/>
                    <a:gd name="connsiteY111" fmla="*/ 285604 h 889736"/>
                    <a:gd name="connsiteX112" fmla="*/ 537147 w 890239"/>
                    <a:gd name="connsiteY112" fmla="*/ 284639 h 889736"/>
                    <a:gd name="connsiteX113" fmla="*/ 537464 w 890239"/>
                    <a:gd name="connsiteY113" fmla="*/ 280676 h 889736"/>
                    <a:gd name="connsiteX114" fmla="*/ 537464 w 890239"/>
                    <a:gd name="connsiteY114" fmla="*/ 220904 h 889736"/>
                    <a:gd name="connsiteX115" fmla="*/ 489668 w 890239"/>
                    <a:gd name="connsiteY115" fmla="*/ 173101 h 889736"/>
                    <a:gd name="connsiteX116" fmla="*/ 71622 w 890239"/>
                    <a:gd name="connsiteY116" fmla="*/ 173101 h 889736"/>
                    <a:gd name="connsiteX117" fmla="*/ 489674 w 890239"/>
                    <a:gd name="connsiteY117" fmla="*/ 149276 h 889736"/>
                    <a:gd name="connsiteX118" fmla="*/ 505505 w 890239"/>
                    <a:gd name="connsiteY118" fmla="*/ 151270 h 889736"/>
                    <a:gd name="connsiteX119" fmla="*/ 511633 w 890239"/>
                    <a:gd name="connsiteY119" fmla="*/ 152826 h 889736"/>
                    <a:gd name="connsiteX120" fmla="*/ 464947 w 890239"/>
                    <a:gd name="connsiteY120" fmla="*/ 51537 h 889736"/>
                    <a:gd name="connsiteX121" fmla="*/ 421602 w 890239"/>
                    <a:gd name="connsiteY121" fmla="*/ 23800 h 889736"/>
                    <a:gd name="connsiteX122" fmla="*/ 139719 w 890239"/>
                    <a:gd name="connsiteY122" fmla="*/ 23800 h 889736"/>
                    <a:gd name="connsiteX123" fmla="*/ 96374 w 890239"/>
                    <a:gd name="connsiteY123" fmla="*/ 51530 h 889736"/>
                    <a:gd name="connsiteX124" fmla="*/ 49683 w 890239"/>
                    <a:gd name="connsiteY124" fmla="*/ 152826 h 889736"/>
                    <a:gd name="connsiteX125" fmla="*/ 55810 w 890239"/>
                    <a:gd name="connsiteY125" fmla="*/ 151270 h 889736"/>
                    <a:gd name="connsiteX126" fmla="*/ 71647 w 890239"/>
                    <a:gd name="connsiteY126" fmla="*/ 149276 h 889736"/>
                    <a:gd name="connsiteX127" fmla="*/ 71641 w 890239"/>
                    <a:gd name="connsiteY127" fmla="*/ 149276 h 889736"/>
                    <a:gd name="connsiteX128" fmla="*/ 489674 w 890239"/>
                    <a:gd name="connsiteY128" fmla="*/ 149276 h 889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890239" h="889736">
                      <a:moveTo>
                        <a:pt x="280607" y="889737"/>
                      </a:moveTo>
                      <a:cubicBezTo>
                        <a:pt x="254813" y="889737"/>
                        <a:pt x="232347" y="872255"/>
                        <a:pt x="225978" y="847224"/>
                      </a:cubicBezTo>
                      <a:lnTo>
                        <a:pt x="225400" y="844950"/>
                      </a:lnTo>
                      <a:lnTo>
                        <a:pt x="11913" y="844950"/>
                      </a:lnTo>
                      <a:cubicBezTo>
                        <a:pt x="5341" y="844950"/>
                        <a:pt x="0" y="839603"/>
                        <a:pt x="0" y="833038"/>
                      </a:cubicBezTo>
                      <a:cubicBezTo>
                        <a:pt x="0" y="826472"/>
                        <a:pt x="5341" y="821125"/>
                        <a:pt x="11913" y="821125"/>
                      </a:cubicBezTo>
                      <a:lnTo>
                        <a:pt x="225381" y="821125"/>
                      </a:lnTo>
                      <a:lnTo>
                        <a:pt x="225971" y="818877"/>
                      </a:lnTo>
                      <a:cubicBezTo>
                        <a:pt x="231147" y="799059"/>
                        <a:pt x="246672" y="783533"/>
                        <a:pt x="266484" y="778358"/>
                      </a:cubicBezTo>
                      <a:lnTo>
                        <a:pt x="268732" y="777761"/>
                      </a:lnTo>
                      <a:lnTo>
                        <a:pt x="268732" y="710578"/>
                      </a:lnTo>
                      <a:lnTo>
                        <a:pt x="71628" y="710578"/>
                      </a:lnTo>
                      <a:cubicBezTo>
                        <a:pt x="32131" y="710578"/>
                        <a:pt x="0" y="678440"/>
                        <a:pt x="0" y="638944"/>
                      </a:cubicBezTo>
                      <a:lnTo>
                        <a:pt x="0" y="579228"/>
                      </a:lnTo>
                      <a:cubicBezTo>
                        <a:pt x="89" y="556730"/>
                        <a:pt x="10960" y="535305"/>
                        <a:pt x="29077" y="521945"/>
                      </a:cubicBezTo>
                      <a:lnTo>
                        <a:pt x="32373" y="519512"/>
                      </a:lnTo>
                      <a:lnTo>
                        <a:pt x="29077" y="517087"/>
                      </a:lnTo>
                      <a:cubicBezTo>
                        <a:pt x="10954" y="503720"/>
                        <a:pt x="89" y="482295"/>
                        <a:pt x="0" y="459784"/>
                      </a:cubicBezTo>
                      <a:lnTo>
                        <a:pt x="0" y="400082"/>
                      </a:lnTo>
                      <a:cubicBezTo>
                        <a:pt x="89" y="377577"/>
                        <a:pt x="10960" y="356153"/>
                        <a:pt x="29077" y="342786"/>
                      </a:cubicBezTo>
                      <a:lnTo>
                        <a:pt x="32373" y="340360"/>
                      </a:lnTo>
                      <a:lnTo>
                        <a:pt x="29077" y="337934"/>
                      </a:lnTo>
                      <a:cubicBezTo>
                        <a:pt x="10954" y="324574"/>
                        <a:pt x="89" y="303143"/>
                        <a:pt x="0" y="280626"/>
                      </a:cubicBezTo>
                      <a:lnTo>
                        <a:pt x="0" y="219132"/>
                      </a:lnTo>
                      <a:cubicBezTo>
                        <a:pt x="-25" y="208864"/>
                        <a:pt x="2248" y="198520"/>
                        <a:pt x="6585" y="189205"/>
                      </a:cubicBezTo>
                      <a:lnTo>
                        <a:pt x="74676" y="41542"/>
                      </a:lnTo>
                      <a:cubicBezTo>
                        <a:pt x="86398" y="16351"/>
                        <a:pt x="111932" y="45"/>
                        <a:pt x="139726" y="0"/>
                      </a:cubicBezTo>
                      <a:lnTo>
                        <a:pt x="421596" y="0"/>
                      </a:lnTo>
                      <a:cubicBezTo>
                        <a:pt x="449384" y="45"/>
                        <a:pt x="474917" y="16358"/>
                        <a:pt x="486652" y="41548"/>
                      </a:cubicBezTo>
                      <a:lnTo>
                        <a:pt x="554717" y="189052"/>
                      </a:lnTo>
                      <a:cubicBezTo>
                        <a:pt x="559042" y="198419"/>
                        <a:pt x="561321" y="208826"/>
                        <a:pt x="561309" y="219132"/>
                      </a:cubicBezTo>
                      <a:lnTo>
                        <a:pt x="561309" y="264497"/>
                      </a:lnTo>
                      <a:lnTo>
                        <a:pt x="566052" y="261176"/>
                      </a:lnTo>
                      <a:cubicBezTo>
                        <a:pt x="600857" y="236817"/>
                        <a:pt x="641693" y="223952"/>
                        <a:pt x="684175" y="223952"/>
                      </a:cubicBezTo>
                      <a:cubicBezTo>
                        <a:pt x="726650" y="223952"/>
                        <a:pt x="767493" y="236817"/>
                        <a:pt x="802297" y="261176"/>
                      </a:cubicBezTo>
                      <a:cubicBezTo>
                        <a:pt x="847376" y="292729"/>
                        <a:pt x="877463" y="339941"/>
                        <a:pt x="887051" y="394132"/>
                      </a:cubicBezTo>
                      <a:cubicBezTo>
                        <a:pt x="896614" y="448316"/>
                        <a:pt x="884504" y="502990"/>
                        <a:pt x="852951" y="548069"/>
                      </a:cubicBezTo>
                      <a:cubicBezTo>
                        <a:pt x="814432" y="603111"/>
                        <a:pt x="751269" y="635972"/>
                        <a:pt x="683997" y="635972"/>
                      </a:cubicBezTo>
                      <a:cubicBezTo>
                        <a:pt x="641661" y="635972"/>
                        <a:pt x="600876" y="623094"/>
                        <a:pt x="566058" y="598729"/>
                      </a:cubicBezTo>
                      <a:lnTo>
                        <a:pt x="561315" y="595408"/>
                      </a:lnTo>
                      <a:lnTo>
                        <a:pt x="561315" y="638969"/>
                      </a:lnTo>
                      <a:cubicBezTo>
                        <a:pt x="561315" y="678472"/>
                        <a:pt x="529178" y="710603"/>
                        <a:pt x="489687" y="710603"/>
                      </a:cubicBezTo>
                      <a:lnTo>
                        <a:pt x="292577" y="710603"/>
                      </a:lnTo>
                      <a:lnTo>
                        <a:pt x="292577" y="777786"/>
                      </a:lnTo>
                      <a:lnTo>
                        <a:pt x="294831" y="778383"/>
                      </a:lnTo>
                      <a:cubicBezTo>
                        <a:pt x="314636" y="783552"/>
                        <a:pt x="330162" y="799084"/>
                        <a:pt x="335350" y="818902"/>
                      </a:cubicBezTo>
                      <a:lnTo>
                        <a:pt x="335941" y="821150"/>
                      </a:lnTo>
                      <a:lnTo>
                        <a:pt x="554914" y="821150"/>
                      </a:lnTo>
                      <a:cubicBezTo>
                        <a:pt x="561487" y="821150"/>
                        <a:pt x="566833" y="826497"/>
                        <a:pt x="566833" y="833063"/>
                      </a:cubicBezTo>
                      <a:cubicBezTo>
                        <a:pt x="566833" y="839629"/>
                        <a:pt x="561487" y="844976"/>
                        <a:pt x="554914" y="844976"/>
                      </a:cubicBezTo>
                      <a:lnTo>
                        <a:pt x="335922" y="844976"/>
                      </a:lnTo>
                      <a:lnTo>
                        <a:pt x="335344" y="847249"/>
                      </a:lnTo>
                      <a:cubicBezTo>
                        <a:pt x="330245" y="867283"/>
                        <a:pt x="314624" y="882904"/>
                        <a:pt x="294583" y="888009"/>
                      </a:cubicBezTo>
                      <a:cubicBezTo>
                        <a:pt x="289992" y="889146"/>
                        <a:pt x="285287" y="889737"/>
                        <a:pt x="280607" y="889737"/>
                      </a:cubicBezTo>
                      <a:close/>
                      <a:moveTo>
                        <a:pt x="280651" y="800164"/>
                      </a:moveTo>
                      <a:cubicBezTo>
                        <a:pt x="262528" y="800164"/>
                        <a:pt x="247777" y="814908"/>
                        <a:pt x="247777" y="833038"/>
                      </a:cubicBezTo>
                      <a:cubicBezTo>
                        <a:pt x="247777" y="851167"/>
                        <a:pt x="262528" y="865918"/>
                        <a:pt x="280651" y="865918"/>
                      </a:cubicBezTo>
                      <a:cubicBezTo>
                        <a:pt x="298774" y="865918"/>
                        <a:pt x="313525" y="851167"/>
                        <a:pt x="313525" y="833038"/>
                      </a:cubicBezTo>
                      <a:cubicBezTo>
                        <a:pt x="313525" y="814908"/>
                        <a:pt x="298780" y="800164"/>
                        <a:pt x="280651" y="800164"/>
                      </a:cubicBezTo>
                      <a:close/>
                      <a:moveTo>
                        <a:pt x="71622" y="531419"/>
                      </a:moveTo>
                      <a:cubicBezTo>
                        <a:pt x="45346" y="531501"/>
                        <a:pt x="23908" y="552945"/>
                        <a:pt x="23832" y="579209"/>
                      </a:cubicBezTo>
                      <a:lnTo>
                        <a:pt x="23832" y="638937"/>
                      </a:lnTo>
                      <a:cubicBezTo>
                        <a:pt x="23908" y="665220"/>
                        <a:pt x="45346" y="686664"/>
                        <a:pt x="71622" y="686746"/>
                      </a:cubicBezTo>
                      <a:lnTo>
                        <a:pt x="489668" y="686746"/>
                      </a:lnTo>
                      <a:cubicBezTo>
                        <a:pt x="515957" y="686657"/>
                        <a:pt x="537401" y="665213"/>
                        <a:pt x="537471" y="638950"/>
                      </a:cubicBezTo>
                      <a:lnTo>
                        <a:pt x="537471" y="579222"/>
                      </a:lnTo>
                      <a:cubicBezTo>
                        <a:pt x="537445" y="577850"/>
                        <a:pt x="537337" y="576516"/>
                        <a:pt x="537153" y="575215"/>
                      </a:cubicBezTo>
                      <a:lnTo>
                        <a:pt x="537014" y="574249"/>
                      </a:lnTo>
                      <a:lnTo>
                        <a:pt x="536334" y="573545"/>
                      </a:lnTo>
                      <a:cubicBezTo>
                        <a:pt x="525304" y="562146"/>
                        <a:pt x="515601" y="549472"/>
                        <a:pt x="507493" y="535877"/>
                      </a:cubicBezTo>
                      <a:lnTo>
                        <a:pt x="506965" y="534988"/>
                      </a:lnTo>
                      <a:lnTo>
                        <a:pt x="506007" y="534607"/>
                      </a:lnTo>
                      <a:cubicBezTo>
                        <a:pt x="500806" y="532562"/>
                        <a:pt x="495319" y="531495"/>
                        <a:pt x="489712" y="531413"/>
                      </a:cubicBezTo>
                      <a:lnTo>
                        <a:pt x="71622" y="531413"/>
                      </a:lnTo>
                      <a:close/>
                      <a:moveTo>
                        <a:pt x="683749" y="247745"/>
                      </a:moveTo>
                      <a:cubicBezTo>
                        <a:pt x="583387" y="247834"/>
                        <a:pt x="501663" y="329552"/>
                        <a:pt x="501580" y="429920"/>
                      </a:cubicBezTo>
                      <a:cubicBezTo>
                        <a:pt x="501580" y="530377"/>
                        <a:pt x="583305" y="612096"/>
                        <a:pt x="683749" y="612096"/>
                      </a:cubicBezTo>
                      <a:cubicBezTo>
                        <a:pt x="784193" y="612096"/>
                        <a:pt x="865925" y="530377"/>
                        <a:pt x="865925" y="429920"/>
                      </a:cubicBezTo>
                      <a:cubicBezTo>
                        <a:pt x="865937" y="329470"/>
                        <a:pt x="784206" y="247745"/>
                        <a:pt x="683749" y="247745"/>
                      </a:cubicBezTo>
                      <a:lnTo>
                        <a:pt x="683749" y="247745"/>
                      </a:lnTo>
                      <a:close/>
                      <a:moveTo>
                        <a:pt x="71622" y="352260"/>
                      </a:moveTo>
                      <a:cubicBezTo>
                        <a:pt x="45346" y="352342"/>
                        <a:pt x="23908" y="373787"/>
                        <a:pt x="23832" y="400056"/>
                      </a:cubicBezTo>
                      <a:lnTo>
                        <a:pt x="23832" y="459784"/>
                      </a:lnTo>
                      <a:cubicBezTo>
                        <a:pt x="23908" y="486067"/>
                        <a:pt x="45346" y="507511"/>
                        <a:pt x="71622" y="507594"/>
                      </a:cubicBezTo>
                      <a:lnTo>
                        <a:pt x="493192" y="507594"/>
                      </a:lnTo>
                      <a:lnTo>
                        <a:pt x="491579" y="503479"/>
                      </a:lnTo>
                      <a:cubicBezTo>
                        <a:pt x="487858" y="493947"/>
                        <a:pt x="484835" y="484048"/>
                        <a:pt x="482607" y="474059"/>
                      </a:cubicBezTo>
                      <a:lnTo>
                        <a:pt x="482080" y="471697"/>
                      </a:lnTo>
                      <a:lnTo>
                        <a:pt x="310503" y="471697"/>
                      </a:lnTo>
                      <a:cubicBezTo>
                        <a:pt x="303937" y="471697"/>
                        <a:pt x="298590" y="466357"/>
                        <a:pt x="298590" y="459784"/>
                      </a:cubicBezTo>
                      <a:lnTo>
                        <a:pt x="298590" y="400069"/>
                      </a:lnTo>
                      <a:cubicBezTo>
                        <a:pt x="298590" y="393497"/>
                        <a:pt x="303937" y="388157"/>
                        <a:pt x="310503" y="388157"/>
                      </a:cubicBezTo>
                      <a:lnTo>
                        <a:pt x="482080" y="388157"/>
                      </a:lnTo>
                      <a:lnTo>
                        <a:pt x="482607" y="385794"/>
                      </a:lnTo>
                      <a:cubicBezTo>
                        <a:pt x="484842" y="375806"/>
                        <a:pt x="487858" y="365900"/>
                        <a:pt x="491579" y="356369"/>
                      </a:cubicBezTo>
                      <a:lnTo>
                        <a:pt x="493192" y="352260"/>
                      </a:lnTo>
                      <a:lnTo>
                        <a:pt x="71622" y="352260"/>
                      </a:lnTo>
                      <a:close/>
                      <a:moveTo>
                        <a:pt x="322422" y="447872"/>
                      </a:moveTo>
                      <a:lnTo>
                        <a:pt x="477749" y="447872"/>
                      </a:lnTo>
                      <a:lnTo>
                        <a:pt x="477749" y="411988"/>
                      </a:lnTo>
                      <a:lnTo>
                        <a:pt x="322422" y="411988"/>
                      </a:lnTo>
                      <a:lnTo>
                        <a:pt x="322422" y="447872"/>
                      </a:lnTo>
                      <a:close/>
                      <a:moveTo>
                        <a:pt x="71622" y="173107"/>
                      </a:moveTo>
                      <a:cubicBezTo>
                        <a:pt x="45346" y="173190"/>
                        <a:pt x="23908" y="194628"/>
                        <a:pt x="23832" y="220897"/>
                      </a:cubicBezTo>
                      <a:lnTo>
                        <a:pt x="23832" y="280626"/>
                      </a:lnTo>
                      <a:cubicBezTo>
                        <a:pt x="23908" y="306921"/>
                        <a:pt x="45352" y="328365"/>
                        <a:pt x="71622" y="328435"/>
                      </a:cubicBezTo>
                      <a:lnTo>
                        <a:pt x="489668" y="328435"/>
                      </a:lnTo>
                      <a:cubicBezTo>
                        <a:pt x="495313" y="328359"/>
                        <a:pt x="500793" y="327279"/>
                        <a:pt x="506000" y="325241"/>
                      </a:cubicBezTo>
                      <a:lnTo>
                        <a:pt x="506959" y="324860"/>
                      </a:lnTo>
                      <a:lnTo>
                        <a:pt x="507486" y="323964"/>
                      </a:lnTo>
                      <a:cubicBezTo>
                        <a:pt x="515601" y="310375"/>
                        <a:pt x="525304" y="297707"/>
                        <a:pt x="536328" y="286309"/>
                      </a:cubicBezTo>
                      <a:lnTo>
                        <a:pt x="537007" y="285604"/>
                      </a:lnTo>
                      <a:lnTo>
                        <a:pt x="537147" y="284639"/>
                      </a:lnTo>
                      <a:cubicBezTo>
                        <a:pt x="537337" y="283324"/>
                        <a:pt x="537439" y="281997"/>
                        <a:pt x="537464" y="280676"/>
                      </a:cubicBezTo>
                      <a:lnTo>
                        <a:pt x="537464" y="220904"/>
                      </a:lnTo>
                      <a:cubicBezTo>
                        <a:pt x="537395" y="194621"/>
                        <a:pt x="515951" y="173177"/>
                        <a:pt x="489668" y="173101"/>
                      </a:cubicBezTo>
                      <a:lnTo>
                        <a:pt x="71622" y="173101"/>
                      </a:lnTo>
                      <a:close/>
                      <a:moveTo>
                        <a:pt x="489674" y="149276"/>
                      </a:moveTo>
                      <a:cubicBezTo>
                        <a:pt x="495008" y="149295"/>
                        <a:pt x="500336" y="149962"/>
                        <a:pt x="505505" y="151270"/>
                      </a:cubicBezTo>
                      <a:lnTo>
                        <a:pt x="511633" y="152826"/>
                      </a:lnTo>
                      <a:lnTo>
                        <a:pt x="464947" y="51537"/>
                      </a:lnTo>
                      <a:cubicBezTo>
                        <a:pt x="457149" y="34703"/>
                        <a:pt x="440138" y="23813"/>
                        <a:pt x="421602" y="23800"/>
                      </a:cubicBezTo>
                      <a:lnTo>
                        <a:pt x="139719" y="23800"/>
                      </a:lnTo>
                      <a:cubicBezTo>
                        <a:pt x="121171" y="23813"/>
                        <a:pt x="104159" y="34697"/>
                        <a:pt x="96374" y="51530"/>
                      </a:cubicBezTo>
                      <a:lnTo>
                        <a:pt x="49683" y="152826"/>
                      </a:lnTo>
                      <a:lnTo>
                        <a:pt x="55810" y="151270"/>
                      </a:lnTo>
                      <a:cubicBezTo>
                        <a:pt x="60973" y="149962"/>
                        <a:pt x="66307" y="149289"/>
                        <a:pt x="71647" y="149276"/>
                      </a:cubicBezTo>
                      <a:lnTo>
                        <a:pt x="71641" y="149276"/>
                      </a:lnTo>
                      <a:lnTo>
                        <a:pt x="489674" y="149276"/>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0" name="Forme libre : forme 1739">
                  <a:extLst>
                    <a:ext uri="{FF2B5EF4-FFF2-40B4-BE49-F238E27FC236}">
                      <a16:creationId xmlns:a16="http://schemas.microsoft.com/office/drawing/2014/main" id="{FE4BD07E-3875-4FB2-9551-70979195912B}"/>
                    </a:ext>
                  </a:extLst>
                </p:cNvPr>
                <p:cNvSpPr/>
                <p:nvPr/>
              </p:nvSpPr>
              <p:spPr>
                <a:xfrm>
                  <a:off x="5758674" y="3493116"/>
                  <a:ext cx="23825" cy="173120"/>
                </a:xfrm>
                <a:custGeom>
                  <a:avLst/>
                  <a:gdLst>
                    <a:gd name="connsiteX0" fmla="*/ 11913 w 23825"/>
                    <a:gd name="connsiteY0" fmla="*/ 173120 h 173120"/>
                    <a:gd name="connsiteX1" fmla="*/ 0 w 23825"/>
                    <a:gd name="connsiteY1" fmla="*/ 161208 h 173120"/>
                    <a:gd name="connsiteX2" fmla="*/ 0 w 23825"/>
                    <a:gd name="connsiteY2" fmla="*/ 11906 h 173120"/>
                    <a:gd name="connsiteX3" fmla="*/ 11913 w 23825"/>
                    <a:gd name="connsiteY3" fmla="*/ 0 h 173120"/>
                    <a:gd name="connsiteX4" fmla="*/ 23825 w 23825"/>
                    <a:gd name="connsiteY4" fmla="*/ 11906 h 173120"/>
                    <a:gd name="connsiteX5" fmla="*/ 23825 w 23825"/>
                    <a:gd name="connsiteY5" fmla="*/ 161208 h 173120"/>
                    <a:gd name="connsiteX6" fmla="*/ 11913 w 23825"/>
                    <a:gd name="connsiteY6" fmla="*/ 173120 h 17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25" h="173120">
                      <a:moveTo>
                        <a:pt x="11913" y="173120"/>
                      </a:moveTo>
                      <a:cubicBezTo>
                        <a:pt x="5340" y="173120"/>
                        <a:pt x="0" y="167780"/>
                        <a:pt x="0" y="161208"/>
                      </a:cubicBezTo>
                      <a:lnTo>
                        <a:pt x="0" y="11906"/>
                      </a:lnTo>
                      <a:cubicBezTo>
                        <a:pt x="0" y="5340"/>
                        <a:pt x="5340" y="0"/>
                        <a:pt x="11913" y="0"/>
                      </a:cubicBezTo>
                      <a:cubicBezTo>
                        <a:pt x="18479" y="0"/>
                        <a:pt x="23825" y="5340"/>
                        <a:pt x="23825" y="11906"/>
                      </a:cubicBezTo>
                      <a:lnTo>
                        <a:pt x="23825" y="161208"/>
                      </a:lnTo>
                      <a:cubicBezTo>
                        <a:pt x="23831" y="167780"/>
                        <a:pt x="18485" y="173120"/>
                        <a:pt x="11913" y="173120"/>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1" name="Forme libre : forme 1740">
                  <a:extLst>
                    <a:ext uri="{FF2B5EF4-FFF2-40B4-BE49-F238E27FC236}">
                      <a16:creationId xmlns:a16="http://schemas.microsoft.com/office/drawing/2014/main" id="{322F12A3-4087-4A42-BFE4-4600226C94E4}"/>
                    </a:ext>
                  </a:extLst>
                </p:cNvPr>
                <p:cNvSpPr/>
                <p:nvPr/>
              </p:nvSpPr>
              <p:spPr>
                <a:xfrm>
                  <a:off x="5758674" y="3702133"/>
                  <a:ext cx="23825" cy="38747"/>
                </a:xfrm>
                <a:custGeom>
                  <a:avLst/>
                  <a:gdLst>
                    <a:gd name="connsiteX0" fmla="*/ 11913 w 23825"/>
                    <a:gd name="connsiteY0" fmla="*/ 38748 h 38747"/>
                    <a:gd name="connsiteX1" fmla="*/ 0 w 23825"/>
                    <a:gd name="connsiteY1" fmla="*/ 26841 h 38747"/>
                    <a:gd name="connsiteX2" fmla="*/ 0 w 23825"/>
                    <a:gd name="connsiteY2" fmla="*/ 11906 h 38747"/>
                    <a:gd name="connsiteX3" fmla="*/ 11913 w 23825"/>
                    <a:gd name="connsiteY3" fmla="*/ 0 h 38747"/>
                    <a:gd name="connsiteX4" fmla="*/ 23825 w 23825"/>
                    <a:gd name="connsiteY4" fmla="*/ 11906 h 38747"/>
                    <a:gd name="connsiteX5" fmla="*/ 23825 w 23825"/>
                    <a:gd name="connsiteY5" fmla="*/ 26841 h 38747"/>
                    <a:gd name="connsiteX6" fmla="*/ 11913 w 23825"/>
                    <a:gd name="connsiteY6" fmla="*/ 38748 h 38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25" h="38747">
                      <a:moveTo>
                        <a:pt x="11913" y="38748"/>
                      </a:moveTo>
                      <a:cubicBezTo>
                        <a:pt x="5340" y="38748"/>
                        <a:pt x="0" y="33401"/>
                        <a:pt x="0" y="26841"/>
                      </a:cubicBezTo>
                      <a:lnTo>
                        <a:pt x="0" y="11906"/>
                      </a:lnTo>
                      <a:cubicBezTo>
                        <a:pt x="0" y="5340"/>
                        <a:pt x="5340" y="0"/>
                        <a:pt x="11913" y="0"/>
                      </a:cubicBezTo>
                      <a:cubicBezTo>
                        <a:pt x="18479" y="0"/>
                        <a:pt x="23825" y="5340"/>
                        <a:pt x="23825" y="11906"/>
                      </a:cubicBezTo>
                      <a:lnTo>
                        <a:pt x="23825" y="26841"/>
                      </a:lnTo>
                      <a:cubicBezTo>
                        <a:pt x="23831" y="33401"/>
                        <a:pt x="18485" y="38748"/>
                        <a:pt x="11913" y="38748"/>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pic>
        <p:nvPicPr>
          <p:cNvPr id="1751" name="Graphique 1750">
            <a:extLst>
              <a:ext uri="{FF2B5EF4-FFF2-40B4-BE49-F238E27FC236}">
                <a16:creationId xmlns:a16="http://schemas.microsoft.com/office/drawing/2014/main" id="{0A42F493-A9D0-4D19-A756-AC61D1C9335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575012" y="2933739"/>
            <a:ext cx="1914078" cy="1925821"/>
          </a:xfrm>
          <a:prstGeom prst="rect">
            <a:avLst/>
          </a:prstGeom>
        </p:spPr>
      </p:pic>
      <p:grpSp>
        <p:nvGrpSpPr>
          <p:cNvPr id="1753" name="Image 6">
            <a:extLst>
              <a:ext uri="{FF2B5EF4-FFF2-40B4-BE49-F238E27FC236}">
                <a16:creationId xmlns:a16="http://schemas.microsoft.com/office/drawing/2014/main" id="{8065FFE2-8D8A-43BF-B8CE-24A2F5F00C38}"/>
              </a:ext>
            </a:extLst>
          </p:cNvPr>
          <p:cNvGrpSpPr/>
          <p:nvPr/>
        </p:nvGrpSpPr>
        <p:grpSpPr>
          <a:xfrm>
            <a:off x="10076254" y="3311674"/>
            <a:ext cx="807617" cy="932856"/>
            <a:chOff x="8814870" y="3042013"/>
            <a:chExt cx="938888" cy="1084484"/>
          </a:xfrm>
          <a:solidFill>
            <a:srgbClr val="000000"/>
          </a:solidFill>
        </p:grpSpPr>
        <p:sp>
          <p:nvSpPr>
            <p:cNvPr id="1754" name="Forme libre : forme 1753">
              <a:extLst>
                <a:ext uri="{FF2B5EF4-FFF2-40B4-BE49-F238E27FC236}">
                  <a16:creationId xmlns:a16="http://schemas.microsoft.com/office/drawing/2014/main" id="{56666520-1A81-4955-85A0-C487FFF95199}"/>
                </a:ext>
              </a:extLst>
            </p:cNvPr>
            <p:cNvSpPr/>
            <p:nvPr/>
          </p:nvSpPr>
          <p:spPr>
            <a:xfrm>
              <a:off x="8814870" y="3475286"/>
              <a:ext cx="938888" cy="651211"/>
            </a:xfrm>
            <a:custGeom>
              <a:avLst/>
              <a:gdLst>
                <a:gd name="connsiteX0" fmla="*/ 276951 w 938888"/>
                <a:gd name="connsiteY0" fmla="*/ 252235 h 651211"/>
                <a:gd name="connsiteX1" fmla="*/ 297081 w 938888"/>
                <a:gd name="connsiteY1" fmla="*/ 273405 h 651211"/>
                <a:gd name="connsiteX2" fmla="*/ 324830 w 938888"/>
                <a:gd name="connsiteY2" fmla="*/ 264027 h 651211"/>
                <a:gd name="connsiteX3" fmla="*/ 338229 w 938888"/>
                <a:gd name="connsiteY3" fmla="*/ 270650 h 651211"/>
                <a:gd name="connsiteX4" fmla="*/ 338356 w 938888"/>
                <a:gd name="connsiteY4" fmla="*/ 271145 h 651211"/>
                <a:gd name="connsiteX5" fmla="*/ 338356 w 938888"/>
                <a:gd name="connsiteY5" fmla="*/ 271145 h 651211"/>
                <a:gd name="connsiteX6" fmla="*/ 346356 w 938888"/>
                <a:gd name="connsiteY6" fmla="*/ 299288 h 651211"/>
                <a:gd name="connsiteX7" fmla="*/ 375185 w 938888"/>
                <a:gd name="connsiteY7" fmla="*/ 303841 h 651211"/>
                <a:gd name="connsiteX8" fmla="*/ 384012 w 938888"/>
                <a:gd name="connsiteY8" fmla="*/ 315894 h 651211"/>
                <a:gd name="connsiteX9" fmla="*/ 383948 w 938888"/>
                <a:gd name="connsiteY9" fmla="*/ 316427 h 651211"/>
                <a:gd name="connsiteX10" fmla="*/ 383948 w 938888"/>
                <a:gd name="connsiteY10" fmla="*/ 316427 h 651211"/>
                <a:gd name="connsiteX11" fmla="*/ 377980 w 938888"/>
                <a:gd name="connsiteY11" fmla="*/ 345072 h 651211"/>
                <a:gd name="connsiteX12" fmla="*/ 401411 w 938888"/>
                <a:gd name="connsiteY12" fmla="*/ 362515 h 651211"/>
                <a:gd name="connsiteX13" fmla="*/ 403633 w 938888"/>
                <a:gd name="connsiteY13" fmla="*/ 377304 h 651211"/>
                <a:gd name="connsiteX14" fmla="*/ 403062 w 938888"/>
                <a:gd name="connsiteY14" fmla="*/ 378009 h 651211"/>
                <a:gd name="connsiteX15" fmla="*/ 384647 w 938888"/>
                <a:gd name="connsiteY15" fmla="*/ 400304 h 651211"/>
                <a:gd name="connsiteX16" fmla="*/ 397347 w 938888"/>
                <a:gd name="connsiteY16" fmla="*/ 426682 h 651211"/>
                <a:gd name="connsiteX17" fmla="*/ 392331 w 938888"/>
                <a:gd name="connsiteY17" fmla="*/ 440760 h 651211"/>
                <a:gd name="connsiteX18" fmla="*/ 391886 w 938888"/>
                <a:gd name="connsiteY18" fmla="*/ 440963 h 651211"/>
                <a:gd name="connsiteX19" fmla="*/ 364962 w 938888"/>
                <a:gd name="connsiteY19" fmla="*/ 452317 h 651211"/>
                <a:gd name="connsiteX20" fmla="*/ 363882 w 938888"/>
                <a:gd name="connsiteY20" fmla="*/ 481552 h 651211"/>
                <a:gd name="connsiteX21" fmla="*/ 352960 w 938888"/>
                <a:gd name="connsiteY21" fmla="*/ 491737 h 651211"/>
                <a:gd name="connsiteX22" fmla="*/ 352453 w 938888"/>
                <a:gd name="connsiteY22" fmla="*/ 491699 h 651211"/>
                <a:gd name="connsiteX23" fmla="*/ 352453 w 938888"/>
                <a:gd name="connsiteY23" fmla="*/ 491737 h 651211"/>
                <a:gd name="connsiteX24" fmla="*/ 323305 w 938888"/>
                <a:gd name="connsiteY24" fmla="*/ 489255 h 651211"/>
                <a:gd name="connsiteX25" fmla="*/ 308828 w 938888"/>
                <a:gd name="connsiteY25" fmla="*/ 514629 h 651211"/>
                <a:gd name="connsiteX26" fmla="*/ 294350 w 938888"/>
                <a:gd name="connsiteY26" fmla="*/ 518560 h 651211"/>
                <a:gd name="connsiteX27" fmla="*/ 293207 w 938888"/>
                <a:gd name="connsiteY27" fmla="*/ 517804 h 651211"/>
                <a:gd name="connsiteX28" fmla="*/ 269268 w 938888"/>
                <a:gd name="connsiteY28" fmla="*/ 502526 h 651211"/>
                <a:gd name="connsiteX29" fmla="*/ 244630 w 938888"/>
                <a:gd name="connsiteY29" fmla="*/ 518274 h 651211"/>
                <a:gd name="connsiteX30" fmla="*/ 230024 w 938888"/>
                <a:gd name="connsiteY30" fmla="*/ 515042 h 651211"/>
                <a:gd name="connsiteX31" fmla="*/ 229770 w 938888"/>
                <a:gd name="connsiteY31" fmla="*/ 514617 h 651211"/>
                <a:gd name="connsiteX32" fmla="*/ 229707 w 938888"/>
                <a:gd name="connsiteY32" fmla="*/ 514629 h 651211"/>
                <a:gd name="connsiteX33" fmla="*/ 215229 w 938888"/>
                <a:gd name="connsiteY33" fmla="*/ 489255 h 651211"/>
                <a:gd name="connsiteX34" fmla="*/ 186082 w 938888"/>
                <a:gd name="connsiteY34" fmla="*/ 491737 h 651211"/>
                <a:gd name="connsiteX35" fmla="*/ 174653 w 938888"/>
                <a:gd name="connsiteY35" fmla="*/ 482054 h 651211"/>
                <a:gd name="connsiteX36" fmla="*/ 174653 w 938888"/>
                <a:gd name="connsiteY36" fmla="*/ 480771 h 651211"/>
                <a:gd name="connsiteX37" fmla="*/ 173573 w 938888"/>
                <a:gd name="connsiteY37" fmla="*/ 452329 h 651211"/>
                <a:gd name="connsiteX38" fmla="*/ 146649 w 938888"/>
                <a:gd name="connsiteY38" fmla="*/ 440982 h 651211"/>
                <a:gd name="connsiteX39" fmla="*/ 140997 w 938888"/>
                <a:gd name="connsiteY39" fmla="*/ 427152 h 651211"/>
                <a:gd name="connsiteX40" fmla="*/ 153888 w 938888"/>
                <a:gd name="connsiteY40" fmla="*/ 400310 h 651211"/>
                <a:gd name="connsiteX41" fmla="*/ 135282 w 938888"/>
                <a:gd name="connsiteY41" fmla="*/ 377723 h 651211"/>
                <a:gd name="connsiteX42" fmla="*/ 136743 w 938888"/>
                <a:gd name="connsiteY42" fmla="*/ 362858 h 651211"/>
                <a:gd name="connsiteX43" fmla="*/ 137124 w 938888"/>
                <a:gd name="connsiteY43" fmla="*/ 362528 h 651211"/>
                <a:gd name="connsiteX44" fmla="*/ 160556 w 938888"/>
                <a:gd name="connsiteY44" fmla="*/ 345072 h 651211"/>
                <a:gd name="connsiteX45" fmla="*/ 154586 w 938888"/>
                <a:gd name="connsiteY45" fmla="*/ 316427 h 651211"/>
                <a:gd name="connsiteX46" fmla="*/ 162778 w 938888"/>
                <a:gd name="connsiteY46" fmla="*/ 303924 h 651211"/>
                <a:gd name="connsiteX47" fmla="*/ 163857 w 938888"/>
                <a:gd name="connsiteY47" fmla="*/ 303765 h 651211"/>
                <a:gd name="connsiteX48" fmla="*/ 192179 w 938888"/>
                <a:gd name="connsiteY48" fmla="*/ 299288 h 651211"/>
                <a:gd name="connsiteX49" fmla="*/ 200180 w 938888"/>
                <a:gd name="connsiteY49" fmla="*/ 271145 h 651211"/>
                <a:gd name="connsiteX50" fmla="*/ 213260 w 938888"/>
                <a:gd name="connsiteY50" fmla="*/ 263861 h 651211"/>
                <a:gd name="connsiteX51" fmla="*/ 214213 w 938888"/>
                <a:gd name="connsiteY51" fmla="*/ 264179 h 651211"/>
                <a:gd name="connsiteX52" fmla="*/ 241455 w 938888"/>
                <a:gd name="connsiteY52" fmla="*/ 273405 h 651211"/>
                <a:gd name="connsiteX53" fmla="*/ 261584 w 938888"/>
                <a:gd name="connsiteY53" fmla="*/ 252235 h 651211"/>
                <a:gd name="connsiteX54" fmla="*/ 276570 w 938888"/>
                <a:gd name="connsiteY54" fmla="*/ 251866 h 651211"/>
                <a:gd name="connsiteX55" fmla="*/ 276951 w 938888"/>
                <a:gd name="connsiteY55" fmla="*/ 252235 h 651211"/>
                <a:gd name="connsiteX56" fmla="*/ 276951 w 938888"/>
                <a:gd name="connsiteY56" fmla="*/ 252235 h 651211"/>
                <a:gd name="connsiteX57" fmla="*/ 286412 w 938888"/>
                <a:gd name="connsiteY57" fmla="*/ 292881 h 651211"/>
                <a:gd name="connsiteX58" fmla="*/ 269268 w 938888"/>
                <a:gd name="connsiteY58" fmla="*/ 274853 h 651211"/>
                <a:gd name="connsiteX59" fmla="*/ 252440 w 938888"/>
                <a:gd name="connsiteY59" fmla="*/ 292570 h 651211"/>
                <a:gd name="connsiteX60" fmla="*/ 241073 w 938888"/>
                <a:gd name="connsiteY60" fmla="*/ 295611 h 651211"/>
                <a:gd name="connsiteX61" fmla="*/ 217515 w 938888"/>
                <a:gd name="connsiteY61" fmla="*/ 287623 h 651211"/>
                <a:gd name="connsiteX62" fmla="*/ 210657 w 938888"/>
                <a:gd name="connsiteY62" fmla="*/ 311563 h 651211"/>
                <a:gd name="connsiteX63" fmla="*/ 210657 w 938888"/>
                <a:gd name="connsiteY63" fmla="*/ 311563 h 651211"/>
                <a:gd name="connsiteX64" fmla="*/ 202084 w 938888"/>
                <a:gd name="connsiteY64" fmla="*/ 319107 h 651211"/>
                <a:gd name="connsiteX65" fmla="*/ 177573 w 938888"/>
                <a:gd name="connsiteY65" fmla="*/ 322974 h 651211"/>
                <a:gd name="connsiteX66" fmla="*/ 182654 w 938888"/>
                <a:gd name="connsiteY66" fmla="*/ 347370 h 651211"/>
                <a:gd name="connsiteX67" fmla="*/ 178590 w 938888"/>
                <a:gd name="connsiteY67" fmla="*/ 358006 h 651211"/>
                <a:gd name="connsiteX68" fmla="*/ 158650 w 938888"/>
                <a:gd name="connsiteY68" fmla="*/ 372872 h 651211"/>
                <a:gd name="connsiteX69" fmla="*/ 174462 w 938888"/>
                <a:gd name="connsiteY69" fmla="*/ 392100 h 651211"/>
                <a:gd name="connsiteX70" fmla="*/ 175859 w 938888"/>
                <a:gd name="connsiteY70" fmla="*/ 403352 h 651211"/>
                <a:gd name="connsiteX71" fmla="*/ 165064 w 938888"/>
                <a:gd name="connsiteY71" fmla="*/ 425825 h 651211"/>
                <a:gd name="connsiteX72" fmla="*/ 187606 w 938888"/>
                <a:gd name="connsiteY72" fmla="*/ 435318 h 651211"/>
                <a:gd name="connsiteX73" fmla="*/ 194465 w 938888"/>
                <a:gd name="connsiteY73" fmla="*/ 444836 h 651211"/>
                <a:gd name="connsiteX74" fmla="*/ 195354 w 938888"/>
                <a:gd name="connsiteY74" fmla="*/ 469690 h 651211"/>
                <a:gd name="connsiteX75" fmla="*/ 220245 w 938888"/>
                <a:gd name="connsiteY75" fmla="*/ 467576 h 651211"/>
                <a:gd name="connsiteX76" fmla="*/ 230279 w 938888"/>
                <a:gd name="connsiteY76" fmla="*/ 472878 h 651211"/>
                <a:gd name="connsiteX77" fmla="*/ 242597 w 938888"/>
                <a:gd name="connsiteY77" fmla="*/ 494506 h 651211"/>
                <a:gd name="connsiteX78" fmla="*/ 263425 w 938888"/>
                <a:gd name="connsiteY78" fmla="*/ 481222 h 651211"/>
                <a:gd name="connsiteX79" fmla="*/ 274919 w 938888"/>
                <a:gd name="connsiteY79" fmla="*/ 481108 h 651211"/>
                <a:gd name="connsiteX80" fmla="*/ 295937 w 938888"/>
                <a:gd name="connsiteY80" fmla="*/ 494500 h 651211"/>
                <a:gd name="connsiteX81" fmla="*/ 308066 w 938888"/>
                <a:gd name="connsiteY81" fmla="*/ 473221 h 651211"/>
                <a:gd name="connsiteX82" fmla="*/ 318353 w 938888"/>
                <a:gd name="connsiteY82" fmla="*/ 467563 h 651211"/>
                <a:gd name="connsiteX83" fmla="*/ 343181 w 938888"/>
                <a:gd name="connsiteY83" fmla="*/ 469678 h 651211"/>
                <a:gd name="connsiteX84" fmla="*/ 344070 w 938888"/>
                <a:gd name="connsiteY84" fmla="*/ 444824 h 651211"/>
                <a:gd name="connsiteX85" fmla="*/ 350547 w 938888"/>
                <a:gd name="connsiteY85" fmla="*/ 435470 h 651211"/>
                <a:gd name="connsiteX86" fmla="*/ 373471 w 938888"/>
                <a:gd name="connsiteY86" fmla="*/ 425812 h 651211"/>
                <a:gd name="connsiteX87" fmla="*/ 362930 w 938888"/>
                <a:gd name="connsiteY87" fmla="*/ 403695 h 651211"/>
                <a:gd name="connsiteX88" fmla="*/ 364073 w 938888"/>
                <a:gd name="connsiteY88" fmla="*/ 392081 h 651211"/>
                <a:gd name="connsiteX89" fmla="*/ 379948 w 938888"/>
                <a:gd name="connsiteY89" fmla="*/ 372859 h 651211"/>
                <a:gd name="connsiteX90" fmla="*/ 360263 w 938888"/>
                <a:gd name="connsiteY90" fmla="*/ 358229 h 651211"/>
                <a:gd name="connsiteX91" fmla="*/ 355881 w 938888"/>
                <a:gd name="connsiteY91" fmla="*/ 347357 h 651211"/>
                <a:gd name="connsiteX92" fmla="*/ 361025 w 938888"/>
                <a:gd name="connsiteY92" fmla="*/ 322961 h 651211"/>
                <a:gd name="connsiteX93" fmla="*/ 337276 w 938888"/>
                <a:gd name="connsiteY93" fmla="*/ 319215 h 651211"/>
                <a:gd name="connsiteX94" fmla="*/ 327878 w 938888"/>
                <a:gd name="connsiteY94" fmla="*/ 311550 h 651211"/>
                <a:gd name="connsiteX95" fmla="*/ 321020 w 938888"/>
                <a:gd name="connsiteY95" fmla="*/ 287610 h 651211"/>
                <a:gd name="connsiteX96" fmla="*/ 297525 w 938888"/>
                <a:gd name="connsiteY96" fmla="*/ 295599 h 651211"/>
                <a:gd name="connsiteX97" fmla="*/ 286412 w 938888"/>
                <a:gd name="connsiteY97" fmla="*/ 292881 h 651211"/>
                <a:gd name="connsiteX98" fmla="*/ 286412 w 938888"/>
                <a:gd name="connsiteY98" fmla="*/ 292881 h 651211"/>
                <a:gd name="connsiteX99" fmla="*/ 298223 w 938888"/>
                <a:gd name="connsiteY99" fmla="*/ 323736 h 651211"/>
                <a:gd name="connsiteX100" fmla="*/ 305462 w 938888"/>
                <a:gd name="connsiteY100" fmla="*/ 321812 h 651211"/>
                <a:gd name="connsiteX101" fmla="*/ 307368 w 938888"/>
                <a:gd name="connsiteY101" fmla="*/ 329038 h 651211"/>
                <a:gd name="connsiteX102" fmla="*/ 240311 w 938888"/>
                <a:gd name="connsiteY102" fmla="*/ 445167 h 651211"/>
                <a:gd name="connsiteX103" fmla="*/ 233072 w 938888"/>
                <a:gd name="connsiteY103" fmla="*/ 447091 h 651211"/>
                <a:gd name="connsiteX104" fmla="*/ 231168 w 938888"/>
                <a:gd name="connsiteY104" fmla="*/ 439871 h 651211"/>
                <a:gd name="connsiteX105" fmla="*/ 298223 w 938888"/>
                <a:gd name="connsiteY105" fmla="*/ 323736 h 651211"/>
                <a:gd name="connsiteX106" fmla="*/ 299493 w 938888"/>
                <a:gd name="connsiteY106" fmla="*/ 386759 h 651211"/>
                <a:gd name="connsiteX107" fmla="*/ 318734 w 938888"/>
                <a:gd name="connsiteY107" fmla="*/ 394748 h 651211"/>
                <a:gd name="connsiteX108" fmla="*/ 319179 w 938888"/>
                <a:gd name="connsiteY108" fmla="*/ 395199 h 651211"/>
                <a:gd name="connsiteX109" fmla="*/ 326735 w 938888"/>
                <a:gd name="connsiteY109" fmla="*/ 414014 h 651211"/>
                <a:gd name="connsiteX110" fmla="*/ 318734 w 938888"/>
                <a:gd name="connsiteY110" fmla="*/ 433260 h 651211"/>
                <a:gd name="connsiteX111" fmla="*/ 318734 w 938888"/>
                <a:gd name="connsiteY111" fmla="*/ 433279 h 651211"/>
                <a:gd name="connsiteX112" fmla="*/ 299493 w 938888"/>
                <a:gd name="connsiteY112" fmla="*/ 441261 h 651211"/>
                <a:gd name="connsiteX113" fmla="*/ 280190 w 938888"/>
                <a:gd name="connsiteY113" fmla="*/ 433279 h 651211"/>
                <a:gd name="connsiteX114" fmla="*/ 279808 w 938888"/>
                <a:gd name="connsiteY114" fmla="*/ 432829 h 651211"/>
                <a:gd name="connsiteX115" fmla="*/ 272252 w 938888"/>
                <a:gd name="connsiteY115" fmla="*/ 414014 h 651211"/>
                <a:gd name="connsiteX116" fmla="*/ 280253 w 938888"/>
                <a:gd name="connsiteY116" fmla="*/ 394760 h 651211"/>
                <a:gd name="connsiteX117" fmla="*/ 280190 w 938888"/>
                <a:gd name="connsiteY117" fmla="*/ 394748 h 651211"/>
                <a:gd name="connsiteX118" fmla="*/ 299493 w 938888"/>
                <a:gd name="connsiteY118" fmla="*/ 386759 h 651211"/>
                <a:gd name="connsiteX119" fmla="*/ 308765 w 938888"/>
                <a:gd name="connsiteY119" fmla="*/ 404736 h 651211"/>
                <a:gd name="connsiteX120" fmla="*/ 299493 w 938888"/>
                <a:gd name="connsiteY120" fmla="*/ 400888 h 651211"/>
                <a:gd name="connsiteX121" fmla="*/ 290222 w 938888"/>
                <a:gd name="connsiteY121" fmla="*/ 404736 h 651211"/>
                <a:gd name="connsiteX122" fmla="*/ 290159 w 938888"/>
                <a:gd name="connsiteY122" fmla="*/ 404711 h 651211"/>
                <a:gd name="connsiteX123" fmla="*/ 290159 w 938888"/>
                <a:gd name="connsiteY123" fmla="*/ 404736 h 651211"/>
                <a:gd name="connsiteX124" fmla="*/ 286349 w 938888"/>
                <a:gd name="connsiteY124" fmla="*/ 414014 h 651211"/>
                <a:gd name="connsiteX125" fmla="*/ 289905 w 938888"/>
                <a:gd name="connsiteY125" fmla="*/ 423005 h 651211"/>
                <a:gd name="connsiteX126" fmla="*/ 290222 w 938888"/>
                <a:gd name="connsiteY126" fmla="*/ 423285 h 651211"/>
                <a:gd name="connsiteX127" fmla="*/ 299493 w 938888"/>
                <a:gd name="connsiteY127" fmla="*/ 427120 h 651211"/>
                <a:gd name="connsiteX128" fmla="*/ 308765 w 938888"/>
                <a:gd name="connsiteY128" fmla="*/ 423285 h 651211"/>
                <a:gd name="connsiteX129" fmla="*/ 308765 w 938888"/>
                <a:gd name="connsiteY129" fmla="*/ 423304 h 651211"/>
                <a:gd name="connsiteX130" fmla="*/ 308765 w 938888"/>
                <a:gd name="connsiteY130" fmla="*/ 423285 h 651211"/>
                <a:gd name="connsiteX131" fmla="*/ 312574 w 938888"/>
                <a:gd name="connsiteY131" fmla="*/ 414014 h 651211"/>
                <a:gd name="connsiteX132" fmla="*/ 309082 w 938888"/>
                <a:gd name="connsiteY132" fmla="*/ 405022 h 651211"/>
                <a:gd name="connsiteX133" fmla="*/ 308765 w 938888"/>
                <a:gd name="connsiteY133" fmla="*/ 404736 h 651211"/>
                <a:gd name="connsiteX134" fmla="*/ 308765 w 938888"/>
                <a:gd name="connsiteY134" fmla="*/ 404736 h 651211"/>
                <a:gd name="connsiteX135" fmla="*/ 239042 w 938888"/>
                <a:gd name="connsiteY135" fmla="*/ 327641 h 651211"/>
                <a:gd name="connsiteX136" fmla="*/ 258282 w 938888"/>
                <a:gd name="connsiteY136" fmla="*/ 335623 h 651211"/>
                <a:gd name="connsiteX137" fmla="*/ 258345 w 938888"/>
                <a:gd name="connsiteY137" fmla="*/ 335668 h 651211"/>
                <a:gd name="connsiteX138" fmla="*/ 266346 w 938888"/>
                <a:gd name="connsiteY138" fmla="*/ 354889 h 651211"/>
                <a:gd name="connsiteX139" fmla="*/ 258345 w 938888"/>
                <a:gd name="connsiteY139" fmla="*/ 374129 h 651211"/>
                <a:gd name="connsiteX140" fmla="*/ 258282 w 938888"/>
                <a:gd name="connsiteY140" fmla="*/ 374174 h 651211"/>
                <a:gd name="connsiteX141" fmla="*/ 239042 w 938888"/>
                <a:gd name="connsiteY141" fmla="*/ 382137 h 651211"/>
                <a:gd name="connsiteX142" fmla="*/ 219801 w 938888"/>
                <a:gd name="connsiteY142" fmla="*/ 374155 h 651211"/>
                <a:gd name="connsiteX143" fmla="*/ 219420 w 938888"/>
                <a:gd name="connsiteY143" fmla="*/ 373710 h 651211"/>
                <a:gd name="connsiteX144" fmla="*/ 211863 w 938888"/>
                <a:gd name="connsiteY144" fmla="*/ 354889 h 651211"/>
                <a:gd name="connsiteX145" fmla="*/ 219801 w 938888"/>
                <a:gd name="connsiteY145" fmla="*/ 335648 h 651211"/>
                <a:gd name="connsiteX146" fmla="*/ 219865 w 938888"/>
                <a:gd name="connsiteY146" fmla="*/ 335610 h 651211"/>
                <a:gd name="connsiteX147" fmla="*/ 239042 w 938888"/>
                <a:gd name="connsiteY147" fmla="*/ 327641 h 651211"/>
                <a:gd name="connsiteX148" fmla="*/ 239042 w 938888"/>
                <a:gd name="connsiteY148" fmla="*/ 327641 h 651211"/>
                <a:gd name="connsiteX149" fmla="*/ 248376 w 938888"/>
                <a:gd name="connsiteY149" fmla="*/ 345586 h 651211"/>
                <a:gd name="connsiteX150" fmla="*/ 239042 w 938888"/>
                <a:gd name="connsiteY150" fmla="*/ 341770 h 651211"/>
                <a:gd name="connsiteX151" fmla="*/ 229770 w 938888"/>
                <a:gd name="connsiteY151" fmla="*/ 345586 h 651211"/>
                <a:gd name="connsiteX152" fmla="*/ 229770 w 938888"/>
                <a:gd name="connsiteY152" fmla="*/ 345611 h 651211"/>
                <a:gd name="connsiteX153" fmla="*/ 225960 w 938888"/>
                <a:gd name="connsiteY153" fmla="*/ 354889 h 651211"/>
                <a:gd name="connsiteX154" fmla="*/ 229517 w 938888"/>
                <a:gd name="connsiteY154" fmla="*/ 363881 h 651211"/>
                <a:gd name="connsiteX155" fmla="*/ 229770 w 938888"/>
                <a:gd name="connsiteY155" fmla="*/ 364166 h 651211"/>
                <a:gd name="connsiteX156" fmla="*/ 239042 w 938888"/>
                <a:gd name="connsiteY156" fmla="*/ 368008 h 651211"/>
                <a:gd name="connsiteX157" fmla="*/ 248376 w 938888"/>
                <a:gd name="connsiteY157" fmla="*/ 364185 h 651211"/>
                <a:gd name="connsiteX158" fmla="*/ 248376 w 938888"/>
                <a:gd name="connsiteY158" fmla="*/ 364160 h 651211"/>
                <a:gd name="connsiteX159" fmla="*/ 252186 w 938888"/>
                <a:gd name="connsiteY159" fmla="*/ 354882 h 651211"/>
                <a:gd name="connsiteX160" fmla="*/ 248376 w 938888"/>
                <a:gd name="connsiteY160" fmla="*/ 345605 h 651211"/>
                <a:gd name="connsiteX161" fmla="*/ 248376 w 938888"/>
                <a:gd name="connsiteY161" fmla="*/ 345586 h 651211"/>
                <a:gd name="connsiteX162" fmla="*/ 248376 w 938888"/>
                <a:gd name="connsiteY162" fmla="*/ 345586 h 651211"/>
                <a:gd name="connsiteX163" fmla="*/ 691923 w 938888"/>
                <a:gd name="connsiteY163" fmla="*/ 530308 h 651211"/>
                <a:gd name="connsiteX164" fmla="*/ 685573 w 938888"/>
                <a:gd name="connsiteY164" fmla="*/ 526358 h 651211"/>
                <a:gd name="connsiteX165" fmla="*/ 689510 w 938888"/>
                <a:gd name="connsiteY165" fmla="*/ 520002 h 651211"/>
                <a:gd name="connsiteX166" fmla="*/ 765710 w 938888"/>
                <a:gd name="connsiteY166" fmla="*/ 502069 h 651211"/>
                <a:gd name="connsiteX167" fmla="*/ 772060 w 938888"/>
                <a:gd name="connsiteY167" fmla="*/ 506025 h 651211"/>
                <a:gd name="connsiteX168" fmla="*/ 768123 w 938888"/>
                <a:gd name="connsiteY168" fmla="*/ 512388 h 651211"/>
                <a:gd name="connsiteX169" fmla="*/ 691923 w 938888"/>
                <a:gd name="connsiteY169" fmla="*/ 530308 h 651211"/>
                <a:gd name="connsiteX170" fmla="*/ 691860 w 938888"/>
                <a:gd name="connsiteY170" fmla="*/ 480339 h 651211"/>
                <a:gd name="connsiteX171" fmla="*/ 685573 w 938888"/>
                <a:gd name="connsiteY171" fmla="*/ 476269 h 651211"/>
                <a:gd name="connsiteX172" fmla="*/ 689637 w 938888"/>
                <a:gd name="connsiteY172" fmla="*/ 469995 h 651211"/>
                <a:gd name="connsiteX173" fmla="*/ 795492 w 938888"/>
                <a:gd name="connsiteY173" fmla="*/ 447249 h 651211"/>
                <a:gd name="connsiteX174" fmla="*/ 801779 w 938888"/>
                <a:gd name="connsiteY174" fmla="*/ 451326 h 651211"/>
                <a:gd name="connsiteX175" fmla="*/ 797715 w 938888"/>
                <a:gd name="connsiteY175" fmla="*/ 457600 h 651211"/>
                <a:gd name="connsiteX176" fmla="*/ 691860 w 938888"/>
                <a:gd name="connsiteY176" fmla="*/ 480339 h 651211"/>
                <a:gd name="connsiteX177" fmla="*/ 93245 w 938888"/>
                <a:gd name="connsiteY177" fmla="*/ 21196 h 651211"/>
                <a:gd name="connsiteX178" fmla="*/ 26824 w 938888"/>
                <a:gd name="connsiteY178" fmla="*/ 139649 h 651211"/>
                <a:gd name="connsiteX179" fmla="*/ 88610 w 938888"/>
                <a:gd name="connsiteY179" fmla="*/ 152794 h 651211"/>
                <a:gd name="connsiteX180" fmla="*/ 89880 w 938888"/>
                <a:gd name="connsiteY180" fmla="*/ 153079 h 651211"/>
                <a:gd name="connsiteX181" fmla="*/ 370359 w 938888"/>
                <a:gd name="connsiteY181" fmla="*/ 212795 h 651211"/>
                <a:gd name="connsiteX182" fmla="*/ 453354 w 938888"/>
                <a:gd name="connsiteY182" fmla="*/ 21190 h 651211"/>
                <a:gd name="connsiteX183" fmla="*/ 93245 w 938888"/>
                <a:gd name="connsiteY183" fmla="*/ 21190 h 651211"/>
                <a:gd name="connsiteX184" fmla="*/ 93245 w 938888"/>
                <a:gd name="connsiteY184" fmla="*/ 21196 h 651211"/>
                <a:gd name="connsiteX185" fmla="*/ 1361 w 938888"/>
                <a:gd name="connsiteY185" fmla="*/ 141827 h 651211"/>
                <a:gd name="connsiteX186" fmla="*/ 77497 w 938888"/>
                <a:gd name="connsiteY186" fmla="*/ 5937 h 651211"/>
                <a:gd name="connsiteX187" fmla="*/ 87022 w 938888"/>
                <a:gd name="connsiteY187" fmla="*/ 0 h 651211"/>
                <a:gd name="connsiteX188" fmla="*/ 469419 w 938888"/>
                <a:gd name="connsiteY188" fmla="*/ 0 h 651211"/>
                <a:gd name="connsiteX189" fmla="*/ 851817 w 938888"/>
                <a:gd name="connsiteY189" fmla="*/ 0 h 651211"/>
                <a:gd name="connsiteX190" fmla="*/ 861342 w 938888"/>
                <a:gd name="connsiteY190" fmla="*/ 5937 h 651211"/>
                <a:gd name="connsiteX191" fmla="*/ 937542 w 938888"/>
                <a:gd name="connsiteY191" fmla="*/ 141827 h 651211"/>
                <a:gd name="connsiteX192" fmla="*/ 933478 w 938888"/>
                <a:gd name="connsiteY192" fmla="*/ 156223 h 651211"/>
                <a:gd name="connsiteX193" fmla="*/ 930175 w 938888"/>
                <a:gd name="connsiteY193" fmla="*/ 157416 h 651211"/>
                <a:gd name="connsiteX194" fmla="*/ 862421 w 938888"/>
                <a:gd name="connsiteY194" fmla="*/ 171844 h 651211"/>
                <a:gd name="connsiteX195" fmla="*/ 862421 w 938888"/>
                <a:gd name="connsiteY195" fmla="*/ 542182 h 651211"/>
                <a:gd name="connsiteX196" fmla="*/ 862421 w 938888"/>
                <a:gd name="connsiteY196" fmla="*/ 542182 h 651211"/>
                <a:gd name="connsiteX197" fmla="*/ 854420 w 938888"/>
                <a:gd name="connsiteY197" fmla="*/ 552405 h 651211"/>
                <a:gd name="connsiteX198" fmla="*/ 473039 w 938888"/>
                <a:gd name="connsiteY198" fmla="*/ 650583 h 651211"/>
                <a:gd name="connsiteX199" fmla="*/ 469419 w 938888"/>
                <a:gd name="connsiteY199" fmla="*/ 651211 h 651211"/>
                <a:gd name="connsiteX200" fmla="*/ 465863 w 938888"/>
                <a:gd name="connsiteY200" fmla="*/ 650583 h 651211"/>
                <a:gd name="connsiteX201" fmla="*/ 84419 w 938888"/>
                <a:gd name="connsiteY201" fmla="*/ 552405 h 651211"/>
                <a:gd name="connsiteX202" fmla="*/ 76481 w 938888"/>
                <a:gd name="connsiteY202" fmla="*/ 542182 h 651211"/>
                <a:gd name="connsiteX203" fmla="*/ 76418 w 938888"/>
                <a:gd name="connsiteY203" fmla="*/ 542182 h 651211"/>
                <a:gd name="connsiteX204" fmla="*/ 76418 w 938888"/>
                <a:gd name="connsiteY204" fmla="*/ 171844 h 651211"/>
                <a:gd name="connsiteX205" fmla="*/ 8727 w 938888"/>
                <a:gd name="connsiteY205" fmla="*/ 157416 h 651211"/>
                <a:gd name="connsiteX206" fmla="*/ 5425 w 938888"/>
                <a:gd name="connsiteY206" fmla="*/ 156223 h 651211"/>
                <a:gd name="connsiteX207" fmla="*/ 1361 w 938888"/>
                <a:gd name="connsiteY207" fmla="*/ 141827 h 651211"/>
                <a:gd name="connsiteX208" fmla="*/ 1361 w 938888"/>
                <a:gd name="connsiteY208" fmla="*/ 141827 h 651211"/>
                <a:gd name="connsiteX209" fmla="*/ 458879 w 938888"/>
                <a:gd name="connsiteY209" fmla="*/ 61601 h 651211"/>
                <a:gd name="connsiteX210" fmla="*/ 386552 w 938888"/>
                <a:gd name="connsiteY210" fmla="*/ 228416 h 651211"/>
                <a:gd name="connsiteX211" fmla="*/ 374360 w 938888"/>
                <a:gd name="connsiteY211" fmla="*/ 235286 h 651211"/>
                <a:gd name="connsiteX212" fmla="*/ 97627 w 938888"/>
                <a:gd name="connsiteY212" fmla="*/ 176365 h 651211"/>
                <a:gd name="connsiteX213" fmla="*/ 97627 w 938888"/>
                <a:gd name="connsiteY213" fmla="*/ 534016 h 651211"/>
                <a:gd name="connsiteX214" fmla="*/ 458879 w 938888"/>
                <a:gd name="connsiteY214" fmla="*/ 626999 h 651211"/>
                <a:gd name="connsiteX215" fmla="*/ 458879 w 938888"/>
                <a:gd name="connsiteY215" fmla="*/ 61601 h 651211"/>
                <a:gd name="connsiteX216" fmla="*/ 841275 w 938888"/>
                <a:gd name="connsiteY216" fmla="*/ 176359 h 651211"/>
                <a:gd name="connsiteX217" fmla="*/ 564479 w 938888"/>
                <a:gd name="connsiteY217" fmla="*/ 235280 h 651211"/>
                <a:gd name="connsiteX218" fmla="*/ 552350 w 938888"/>
                <a:gd name="connsiteY218" fmla="*/ 228409 h 651211"/>
                <a:gd name="connsiteX219" fmla="*/ 480024 w 938888"/>
                <a:gd name="connsiteY219" fmla="*/ 61595 h 651211"/>
                <a:gd name="connsiteX220" fmla="*/ 480024 w 938888"/>
                <a:gd name="connsiteY220" fmla="*/ 626980 h 651211"/>
                <a:gd name="connsiteX221" fmla="*/ 841275 w 938888"/>
                <a:gd name="connsiteY221" fmla="*/ 534003 h 651211"/>
                <a:gd name="connsiteX222" fmla="*/ 841275 w 938888"/>
                <a:gd name="connsiteY222" fmla="*/ 176359 h 651211"/>
                <a:gd name="connsiteX223" fmla="*/ 912078 w 938888"/>
                <a:gd name="connsiteY223" fmla="*/ 139649 h 651211"/>
                <a:gd name="connsiteX224" fmla="*/ 845657 w 938888"/>
                <a:gd name="connsiteY224" fmla="*/ 21196 h 651211"/>
                <a:gd name="connsiteX225" fmla="*/ 485548 w 938888"/>
                <a:gd name="connsiteY225" fmla="*/ 21196 h 651211"/>
                <a:gd name="connsiteX226" fmla="*/ 568543 w 938888"/>
                <a:gd name="connsiteY226" fmla="*/ 212801 h 651211"/>
                <a:gd name="connsiteX227" fmla="*/ 848959 w 938888"/>
                <a:gd name="connsiteY227" fmla="*/ 153086 h 651211"/>
                <a:gd name="connsiteX228" fmla="*/ 850293 w 938888"/>
                <a:gd name="connsiteY228" fmla="*/ 152800 h 651211"/>
                <a:gd name="connsiteX229" fmla="*/ 912078 w 938888"/>
                <a:gd name="connsiteY229" fmla="*/ 139649 h 651211"/>
                <a:gd name="connsiteX230" fmla="*/ 912078 w 938888"/>
                <a:gd name="connsiteY230" fmla="*/ 139649 h 651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Lst>
              <a:rect l="l" t="t" r="r" b="b"/>
              <a:pathLst>
                <a:path w="938888" h="651211">
                  <a:moveTo>
                    <a:pt x="276951" y="252235"/>
                  </a:moveTo>
                  <a:lnTo>
                    <a:pt x="297081" y="273405"/>
                  </a:lnTo>
                  <a:lnTo>
                    <a:pt x="324830" y="264027"/>
                  </a:lnTo>
                  <a:cubicBezTo>
                    <a:pt x="330355" y="262153"/>
                    <a:pt x="336323" y="265119"/>
                    <a:pt x="338229" y="270650"/>
                  </a:cubicBezTo>
                  <a:lnTo>
                    <a:pt x="338356" y="271145"/>
                  </a:lnTo>
                  <a:lnTo>
                    <a:pt x="338356" y="271145"/>
                  </a:lnTo>
                  <a:lnTo>
                    <a:pt x="346356" y="299288"/>
                  </a:lnTo>
                  <a:lnTo>
                    <a:pt x="375185" y="303841"/>
                  </a:lnTo>
                  <a:cubicBezTo>
                    <a:pt x="380964" y="304743"/>
                    <a:pt x="384901" y="310128"/>
                    <a:pt x="384012" y="315894"/>
                  </a:cubicBezTo>
                  <a:lnTo>
                    <a:pt x="383948" y="316427"/>
                  </a:lnTo>
                  <a:lnTo>
                    <a:pt x="383948" y="316427"/>
                  </a:lnTo>
                  <a:lnTo>
                    <a:pt x="377980" y="345072"/>
                  </a:lnTo>
                  <a:lnTo>
                    <a:pt x="401411" y="362515"/>
                  </a:lnTo>
                  <a:cubicBezTo>
                    <a:pt x="406110" y="366001"/>
                    <a:pt x="407062" y="372618"/>
                    <a:pt x="403633" y="377304"/>
                  </a:cubicBezTo>
                  <a:cubicBezTo>
                    <a:pt x="403443" y="377539"/>
                    <a:pt x="403253" y="377780"/>
                    <a:pt x="403062" y="378009"/>
                  </a:cubicBezTo>
                  <a:lnTo>
                    <a:pt x="384647" y="400304"/>
                  </a:lnTo>
                  <a:lnTo>
                    <a:pt x="397347" y="426682"/>
                  </a:lnTo>
                  <a:cubicBezTo>
                    <a:pt x="399823" y="431952"/>
                    <a:pt x="397601" y="438245"/>
                    <a:pt x="392331" y="440760"/>
                  </a:cubicBezTo>
                  <a:lnTo>
                    <a:pt x="391886" y="440963"/>
                  </a:lnTo>
                  <a:lnTo>
                    <a:pt x="364962" y="452317"/>
                  </a:lnTo>
                  <a:lnTo>
                    <a:pt x="363882" y="481552"/>
                  </a:lnTo>
                  <a:cubicBezTo>
                    <a:pt x="363692" y="487375"/>
                    <a:pt x="358803" y="491934"/>
                    <a:pt x="352960" y="491737"/>
                  </a:cubicBezTo>
                  <a:lnTo>
                    <a:pt x="352453" y="491699"/>
                  </a:lnTo>
                  <a:lnTo>
                    <a:pt x="352453" y="491737"/>
                  </a:lnTo>
                  <a:lnTo>
                    <a:pt x="323305" y="489255"/>
                  </a:lnTo>
                  <a:lnTo>
                    <a:pt x="308828" y="514629"/>
                  </a:lnTo>
                  <a:cubicBezTo>
                    <a:pt x="305907" y="519703"/>
                    <a:pt x="299430" y="521462"/>
                    <a:pt x="294350" y="518560"/>
                  </a:cubicBezTo>
                  <a:cubicBezTo>
                    <a:pt x="293969" y="518338"/>
                    <a:pt x="293588" y="518077"/>
                    <a:pt x="293207" y="517804"/>
                  </a:cubicBezTo>
                  <a:lnTo>
                    <a:pt x="269268" y="502526"/>
                  </a:lnTo>
                  <a:lnTo>
                    <a:pt x="244630" y="518274"/>
                  </a:lnTo>
                  <a:cubicBezTo>
                    <a:pt x="239676" y="521405"/>
                    <a:pt x="233199" y="519963"/>
                    <a:pt x="230024" y="515042"/>
                  </a:cubicBezTo>
                  <a:lnTo>
                    <a:pt x="229770" y="514617"/>
                  </a:lnTo>
                  <a:lnTo>
                    <a:pt x="229707" y="514629"/>
                  </a:lnTo>
                  <a:lnTo>
                    <a:pt x="215229" y="489255"/>
                  </a:lnTo>
                  <a:lnTo>
                    <a:pt x="186082" y="491737"/>
                  </a:lnTo>
                  <a:cubicBezTo>
                    <a:pt x="180241" y="492214"/>
                    <a:pt x="175097" y="487883"/>
                    <a:pt x="174653" y="482054"/>
                  </a:cubicBezTo>
                  <a:cubicBezTo>
                    <a:pt x="174653" y="481622"/>
                    <a:pt x="174589" y="481197"/>
                    <a:pt x="174653" y="480771"/>
                  </a:cubicBezTo>
                  <a:lnTo>
                    <a:pt x="173573" y="452329"/>
                  </a:lnTo>
                  <a:lnTo>
                    <a:pt x="146649" y="440982"/>
                  </a:lnTo>
                  <a:cubicBezTo>
                    <a:pt x="141251" y="438721"/>
                    <a:pt x="138775" y="432524"/>
                    <a:pt x="140997" y="427152"/>
                  </a:cubicBezTo>
                  <a:lnTo>
                    <a:pt x="153888" y="400310"/>
                  </a:lnTo>
                  <a:lnTo>
                    <a:pt x="135282" y="377723"/>
                  </a:lnTo>
                  <a:cubicBezTo>
                    <a:pt x="131536" y="373215"/>
                    <a:pt x="132234" y="366560"/>
                    <a:pt x="136743" y="362858"/>
                  </a:cubicBezTo>
                  <a:lnTo>
                    <a:pt x="137124" y="362528"/>
                  </a:lnTo>
                  <a:lnTo>
                    <a:pt x="160556" y="345072"/>
                  </a:lnTo>
                  <a:lnTo>
                    <a:pt x="154586" y="316427"/>
                  </a:lnTo>
                  <a:cubicBezTo>
                    <a:pt x="153380" y="310712"/>
                    <a:pt x="157063" y="305117"/>
                    <a:pt x="162778" y="303924"/>
                  </a:cubicBezTo>
                  <a:cubicBezTo>
                    <a:pt x="163159" y="303847"/>
                    <a:pt x="163476" y="303790"/>
                    <a:pt x="163857" y="303765"/>
                  </a:cubicBezTo>
                  <a:lnTo>
                    <a:pt x="192179" y="299288"/>
                  </a:lnTo>
                  <a:lnTo>
                    <a:pt x="200180" y="271145"/>
                  </a:lnTo>
                  <a:cubicBezTo>
                    <a:pt x="201767" y="265519"/>
                    <a:pt x="207609" y="262255"/>
                    <a:pt x="213260" y="263861"/>
                  </a:cubicBezTo>
                  <a:cubicBezTo>
                    <a:pt x="213578" y="263957"/>
                    <a:pt x="213895" y="264065"/>
                    <a:pt x="214213" y="264179"/>
                  </a:cubicBezTo>
                  <a:lnTo>
                    <a:pt x="241455" y="273405"/>
                  </a:lnTo>
                  <a:lnTo>
                    <a:pt x="261584" y="252235"/>
                  </a:lnTo>
                  <a:cubicBezTo>
                    <a:pt x="265648" y="248005"/>
                    <a:pt x="272316" y="247840"/>
                    <a:pt x="276570" y="251866"/>
                  </a:cubicBezTo>
                  <a:lnTo>
                    <a:pt x="276951" y="252235"/>
                  </a:lnTo>
                  <a:lnTo>
                    <a:pt x="276951" y="252235"/>
                  </a:lnTo>
                  <a:close/>
                  <a:moveTo>
                    <a:pt x="286412" y="292881"/>
                  </a:moveTo>
                  <a:lnTo>
                    <a:pt x="269268" y="274853"/>
                  </a:lnTo>
                  <a:lnTo>
                    <a:pt x="252440" y="292570"/>
                  </a:lnTo>
                  <a:cubicBezTo>
                    <a:pt x="249646" y="295681"/>
                    <a:pt x="245265" y="297021"/>
                    <a:pt x="241073" y="295611"/>
                  </a:cubicBezTo>
                  <a:lnTo>
                    <a:pt x="217515" y="287623"/>
                  </a:lnTo>
                  <a:lnTo>
                    <a:pt x="210657" y="311563"/>
                  </a:lnTo>
                  <a:lnTo>
                    <a:pt x="210657" y="311563"/>
                  </a:lnTo>
                  <a:cubicBezTo>
                    <a:pt x="209578" y="315398"/>
                    <a:pt x="206339" y="318446"/>
                    <a:pt x="202084" y="319107"/>
                  </a:cubicBezTo>
                  <a:lnTo>
                    <a:pt x="177573" y="322974"/>
                  </a:lnTo>
                  <a:lnTo>
                    <a:pt x="182654" y="347370"/>
                  </a:lnTo>
                  <a:cubicBezTo>
                    <a:pt x="183479" y="351275"/>
                    <a:pt x="182018" y="355467"/>
                    <a:pt x="178590" y="358006"/>
                  </a:cubicBezTo>
                  <a:lnTo>
                    <a:pt x="158650" y="372872"/>
                  </a:lnTo>
                  <a:lnTo>
                    <a:pt x="174462" y="392100"/>
                  </a:lnTo>
                  <a:cubicBezTo>
                    <a:pt x="177002" y="395167"/>
                    <a:pt x="177637" y="399536"/>
                    <a:pt x="175859" y="403352"/>
                  </a:cubicBezTo>
                  <a:lnTo>
                    <a:pt x="165064" y="425825"/>
                  </a:lnTo>
                  <a:lnTo>
                    <a:pt x="187606" y="435318"/>
                  </a:lnTo>
                  <a:cubicBezTo>
                    <a:pt x="191480" y="436772"/>
                    <a:pt x="194337" y="440449"/>
                    <a:pt x="194465" y="444836"/>
                  </a:cubicBezTo>
                  <a:lnTo>
                    <a:pt x="195354" y="469690"/>
                  </a:lnTo>
                  <a:lnTo>
                    <a:pt x="220245" y="467576"/>
                  </a:lnTo>
                  <a:cubicBezTo>
                    <a:pt x="224182" y="467258"/>
                    <a:pt x="228183" y="469195"/>
                    <a:pt x="230279" y="472878"/>
                  </a:cubicBezTo>
                  <a:lnTo>
                    <a:pt x="242597" y="494506"/>
                  </a:lnTo>
                  <a:lnTo>
                    <a:pt x="263425" y="481222"/>
                  </a:lnTo>
                  <a:cubicBezTo>
                    <a:pt x="266791" y="478974"/>
                    <a:pt x="271299" y="478796"/>
                    <a:pt x="274919" y="481108"/>
                  </a:cubicBezTo>
                  <a:lnTo>
                    <a:pt x="295937" y="494500"/>
                  </a:lnTo>
                  <a:lnTo>
                    <a:pt x="308066" y="473221"/>
                  </a:lnTo>
                  <a:cubicBezTo>
                    <a:pt x="309971" y="469557"/>
                    <a:pt x="313971" y="467201"/>
                    <a:pt x="318353" y="467563"/>
                  </a:cubicBezTo>
                  <a:lnTo>
                    <a:pt x="343181" y="469678"/>
                  </a:lnTo>
                  <a:lnTo>
                    <a:pt x="344070" y="444824"/>
                  </a:lnTo>
                  <a:cubicBezTo>
                    <a:pt x="344197" y="440855"/>
                    <a:pt x="346610" y="437121"/>
                    <a:pt x="350547" y="435470"/>
                  </a:cubicBezTo>
                  <a:lnTo>
                    <a:pt x="373471" y="425812"/>
                  </a:lnTo>
                  <a:lnTo>
                    <a:pt x="362930" y="403695"/>
                  </a:lnTo>
                  <a:cubicBezTo>
                    <a:pt x="360961" y="400056"/>
                    <a:pt x="361343" y="395459"/>
                    <a:pt x="364073" y="392081"/>
                  </a:cubicBezTo>
                  <a:lnTo>
                    <a:pt x="379948" y="372859"/>
                  </a:lnTo>
                  <a:lnTo>
                    <a:pt x="360263" y="358229"/>
                  </a:lnTo>
                  <a:cubicBezTo>
                    <a:pt x="356897" y="355886"/>
                    <a:pt x="354993" y="351656"/>
                    <a:pt x="355881" y="347357"/>
                  </a:cubicBezTo>
                  <a:lnTo>
                    <a:pt x="361025" y="322961"/>
                  </a:lnTo>
                  <a:lnTo>
                    <a:pt x="337276" y="319215"/>
                  </a:lnTo>
                  <a:cubicBezTo>
                    <a:pt x="332958" y="318884"/>
                    <a:pt x="329148" y="315932"/>
                    <a:pt x="327878" y="311550"/>
                  </a:cubicBezTo>
                  <a:lnTo>
                    <a:pt x="321020" y="287610"/>
                  </a:lnTo>
                  <a:lnTo>
                    <a:pt x="297525" y="295599"/>
                  </a:lnTo>
                  <a:cubicBezTo>
                    <a:pt x="293715" y="296882"/>
                    <a:pt x="289333" y="295954"/>
                    <a:pt x="286412" y="292881"/>
                  </a:cubicBezTo>
                  <a:lnTo>
                    <a:pt x="286412" y="292881"/>
                  </a:lnTo>
                  <a:close/>
                  <a:moveTo>
                    <a:pt x="298223" y="323736"/>
                  </a:moveTo>
                  <a:cubicBezTo>
                    <a:pt x="299684" y="321221"/>
                    <a:pt x="302922" y="320351"/>
                    <a:pt x="305462" y="321812"/>
                  </a:cubicBezTo>
                  <a:cubicBezTo>
                    <a:pt x="308003" y="323272"/>
                    <a:pt x="308828" y="326511"/>
                    <a:pt x="307368" y="329038"/>
                  </a:cubicBezTo>
                  <a:lnTo>
                    <a:pt x="240311" y="445167"/>
                  </a:lnTo>
                  <a:cubicBezTo>
                    <a:pt x="238851" y="447694"/>
                    <a:pt x="235612" y="448551"/>
                    <a:pt x="233072" y="447091"/>
                  </a:cubicBezTo>
                  <a:cubicBezTo>
                    <a:pt x="230596" y="445630"/>
                    <a:pt x="229707" y="442398"/>
                    <a:pt x="231168" y="439871"/>
                  </a:cubicBezTo>
                  <a:lnTo>
                    <a:pt x="298223" y="323736"/>
                  </a:lnTo>
                  <a:close/>
                  <a:moveTo>
                    <a:pt x="299493" y="386759"/>
                  </a:moveTo>
                  <a:cubicBezTo>
                    <a:pt x="306986" y="386759"/>
                    <a:pt x="313844" y="389807"/>
                    <a:pt x="318734" y="394748"/>
                  </a:cubicBezTo>
                  <a:lnTo>
                    <a:pt x="319179" y="395199"/>
                  </a:lnTo>
                  <a:cubicBezTo>
                    <a:pt x="323878" y="400095"/>
                    <a:pt x="326735" y="406730"/>
                    <a:pt x="326735" y="414014"/>
                  </a:cubicBezTo>
                  <a:cubicBezTo>
                    <a:pt x="326735" y="421506"/>
                    <a:pt x="323687" y="428314"/>
                    <a:pt x="318734" y="433260"/>
                  </a:cubicBezTo>
                  <a:lnTo>
                    <a:pt x="318734" y="433279"/>
                  </a:lnTo>
                  <a:cubicBezTo>
                    <a:pt x="313780" y="438207"/>
                    <a:pt x="306986" y="441261"/>
                    <a:pt x="299493" y="441261"/>
                  </a:cubicBezTo>
                  <a:cubicBezTo>
                    <a:pt x="291937" y="441261"/>
                    <a:pt x="285143" y="438214"/>
                    <a:pt x="280190" y="433279"/>
                  </a:cubicBezTo>
                  <a:lnTo>
                    <a:pt x="279808" y="432829"/>
                  </a:lnTo>
                  <a:cubicBezTo>
                    <a:pt x="275109" y="427933"/>
                    <a:pt x="272252" y="421297"/>
                    <a:pt x="272252" y="414014"/>
                  </a:cubicBezTo>
                  <a:cubicBezTo>
                    <a:pt x="272252" y="406508"/>
                    <a:pt x="275300" y="399701"/>
                    <a:pt x="280253" y="394760"/>
                  </a:cubicBezTo>
                  <a:lnTo>
                    <a:pt x="280190" y="394748"/>
                  </a:lnTo>
                  <a:cubicBezTo>
                    <a:pt x="285143" y="389807"/>
                    <a:pt x="291937" y="386759"/>
                    <a:pt x="299493" y="386759"/>
                  </a:cubicBezTo>
                  <a:close/>
                  <a:moveTo>
                    <a:pt x="308765" y="404736"/>
                  </a:moveTo>
                  <a:cubicBezTo>
                    <a:pt x="306415" y="402355"/>
                    <a:pt x="303113" y="400888"/>
                    <a:pt x="299493" y="400888"/>
                  </a:cubicBezTo>
                  <a:cubicBezTo>
                    <a:pt x="295874" y="400888"/>
                    <a:pt x="292572" y="402355"/>
                    <a:pt x="290222" y="404736"/>
                  </a:cubicBezTo>
                  <a:lnTo>
                    <a:pt x="290159" y="404711"/>
                  </a:lnTo>
                  <a:lnTo>
                    <a:pt x="290159" y="404736"/>
                  </a:lnTo>
                  <a:cubicBezTo>
                    <a:pt x="287809" y="407079"/>
                    <a:pt x="286349" y="410369"/>
                    <a:pt x="286349" y="414014"/>
                  </a:cubicBezTo>
                  <a:cubicBezTo>
                    <a:pt x="286349" y="417506"/>
                    <a:pt x="287682" y="420669"/>
                    <a:pt x="289905" y="423005"/>
                  </a:cubicBezTo>
                  <a:lnTo>
                    <a:pt x="290222" y="423285"/>
                  </a:lnTo>
                  <a:cubicBezTo>
                    <a:pt x="292572" y="425660"/>
                    <a:pt x="295874" y="427120"/>
                    <a:pt x="299493" y="427120"/>
                  </a:cubicBezTo>
                  <a:cubicBezTo>
                    <a:pt x="303113" y="427120"/>
                    <a:pt x="306415" y="425660"/>
                    <a:pt x="308765" y="423285"/>
                  </a:cubicBezTo>
                  <a:lnTo>
                    <a:pt x="308765" y="423304"/>
                  </a:lnTo>
                  <a:lnTo>
                    <a:pt x="308765" y="423285"/>
                  </a:lnTo>
                  <a:cubicBezTo>
                    <a:pt x="311178" y="420935"/>
                    <a:pt x="312574" y="417652"/>
                    <a:pt x="312574" y="414014"/>
                  </a:cubicBezTo>
                  <a:cubicBezTo>
                    <a:pt x="312574" y="410515"/>
                    <a:pt x="311241" y="407352"/>
                    <a:pt x="309082" y="405022"/>
                  </a:cubicBezTo>
                  <a:lnTo>
                    <a:pt x="308765" y="404736"/>
                  </a:lnTo>
                  <a:lnTo>
                    <a:pt x="308765" y="404736"/>
                  </a:lnTo>
                  <a:close/>
                  <a:moveTo>
                    <a:pt x="239042" y="327641"/>
                  </a:moveTo>
                  <a:cubicBezTo>
                    <a:pt x="246598" y="327641"/>
                    <a:pt x="253393" y="330689"/>
                    <a:pt x="258282" y="335623"/>
                  </a:cubicBezTo>
                  <a:lnTo>
                    <a:pt x="258345" y="335668"/>
                  </a:lnTo>
                  <a:cubicBezTo>
                    <a:pt x="263298" y="340601"/>
                    <a:pt x="266346" y="347415"/>
                    <a:pt x="266346" y="354889"/>
                  </a:cubicBezTo>
                  <a:cubicBezTo>
                    <a:pt x="266346" y="362382"/>
                    <a:pt x="263298" y="369189"/>
                    <a:pt x="258345" y="374129"/>
                  </a:cubicBezTo>
                  <a:lnTo>
                    <a:pt x="258282" y="374174"/>
                  </a:lnTo>
                  <a:cubicBezTo>
                    <a:pt x="253329" y="379095"/>
                    <a:pt x="246534" y="382137"/>
                    <a:pt x="239042" y="382137"/>
                  </a:cubicBezTo>
                  <a:cubicBezTo>
                    <a:pt x="231548" y="382137"/>
                    <a:pt x="224754" y="379089"/>
                    <a:pt x="219801" y="374155"/>
                  </a:cubicBezTo>
                  <a:lnTo>
                    <a:pt x="219420" y="373710"/>
                  </a:lnTo>
                  <a:cubicBezTo>
                    <a:pt x="214721" y="368808"/>
                    <a:pt x="211863" y="362172"/>
                    <a:pt x="211863" y="354889"/>
                  </a:cubicBezTo>
                  <a:cubicBezTo>
                    <a:pt x="211863" y="347396"/>
                    <a:pt x="214911" y="340595"/>
                    <a:pt x="219801" y="335648"/>
                  </a:cubicBezTo>
                  <a:lnTo>
                    <a:pt x="219865" y="335610"/>
                  </a:lnTo>
                  <a:cubicBezTo>
                    <a:pt x="224818" y="330689"/>
                    <a:pt x="231612" y="327641"/>
                    <a:pt x="239042" y="327641"/>
                  </a:cubicBezTo>
                  <a:lnTo>
                    <a:pt x="239042" y="327641"/>
                  </a:lnTo>
                  <a:close/>
                  <a:moveTo>
                    <a:pt x="248376" y="345586"/>
                  </a:moveTo>
                  <a:cubicBezTo>
                    <a:pt x="246026" y="343230"/>
                    <a:pt x="242724" y="341770"/>
                    <a:pt x="239042" y="341770"/>
                  </a:cubicBezTo>
                  <a:cubicBezTo>
                    <a:pt x="235422" y="341770"/>
                    <a:pt x="232120" y="343224"/>
                    <a:pt x="229770" y="345586"/>
                  </a:cubicBezTo>
                  <a:lnTo>
                    <a:pt x="229770" y="345611"/>
                  </a:lnTo>
                  <a:cubicBezTo>
                    <a:pt x="227421" y="347967"/>
                    <a:pt x="225960" y="351256"/>
                    <a:pt x="225960" y="354889"/>
                  </a:cubicBezTo>
                  <a:cubicBezTo>
                    <a:pt x="225960" y="358387"/>
                    <a:pt x="227294" y="361550"/>
                    <a:pt x="229517" y="363881"/>
                  </a:cubicBezTo>
                  <a:lnTo>
                    <a:pt x="229770" y="364166"/>
                  </a:lnTo>
                  <a:cubicBezTo>
                    <a:pt x="232183" y="366535"/>
                    <a:pt x="235422" y="368008"/>
                    <a:pt x="239042" y="368008"/>
                  </a:cubicBezTo>
                  <a:cubicBezTo>
                    <a:pt x="242724" y="368008"/>
                    <a:pt x="246026" y="366547"/>
                    <a:pt x="248376" y="364185"/>
                  </a:cubicBezTo>
                  <a:lnTo>
                    <a:pt x="248376" y="364160"/>
                  </a:lnTo>
                  <a:cubicBezTo>
                    <a:pt x="250725" y="361804"/>
                    <a:pt x="252186" y="358527"/>
                    <a:pt x="252186" y="354882"/>
                  </a:cubicBezTo>
                  <a:cubicBezTo>
                    <a:pt x="252186" y="351250"/>
                    <a:pt x="250725" y="347961"/>
                    <a:pt x="248376" y="345605"/>
                  </a:cubicBezTo>
                  <a:lnTo>
                    <a:pt x="248376" y="345586"/>
                  </a:lnTo>
                  <a:lnTo>
                    <a:pt x="248376" y="345586"/>
                  </a:lnTo>
                  <a:close/>
                  <a:moveTo>
                    <a:pt x="691923" y="530308"/>
                  </a:moveTo>
                  <a:cubicBezTo>
                    <a:pt x="689130" y="530968"/>
                    <a:pt x="686272" y="529203"/>
                    <a:pt x="685573" y="526358"/>
                  </a:cubicBezTo>
                  <a:cubicBezTo>
                    <a:pt x="684938" y="523513"/>
                    <a:pt x="686717" y="520662"/>
                    <a:pt x="689510" y="520002"/>
                  </a:cubicBezTo>
                  <a:lnTo>
                    <a:pt x="765710" y="502069"/>
                  </a:lnTo>
                  <a:cubicBezTo>
                    <a:pt x="768568" y="501409"/>
                    <a:pt x="771425" y="503180"/>
                    <a:pt x="772060" y="506025"/>
                  </a:cubicBezTo>
                  <a:cubicBezTo>
                    <a:pt x="772759" y="508864"/>
                    <a:pt x="770981" y="511715"/>
                    <a:pt x="768123" y="512388"/>
                  </a:cubicBezTo>
                  <a:lnTo>
                    <a:pt x="691923" y="530308"/>
                  </a:lnTo>
                  <a:close/>
                  <a:moveTo>
                    <a:pt x="691860" y="480339"/>
                  </a:moveTo>
                  <a:cubicBezTo>
                    <a:pt x="689003" y="480949"/>
                    <a:pt x="686145" y="479120"/>
                    <a:pt x="685573" y="476269"/>
                  </a:cubicBezTo>
                  <a:cubicBezTo>
                    <a:pt x="684938" y="473405"/>
                    <a:pt x="686780" y="470598"/>
                    <a:pt x="689637" y="469995"/>
                  </a:cubicBezTo>
                  <a:lnTo>
                    <a:pt x="795492" y="447249"/>
                  </a:lnTo>
                  <a:cubicBezTo>
                    <a:pt x="798349" y="446640"/>
                    <a:pt x="801143" y="448469"/>
                    <a:pt x="801779" y="451326"/>
                  </a:cubicBezTo>
                  <a:cubicBezTo>
                    <a:pt x="802350" y="454184"/>
                    <a:pt x="800508" y="456997"/>
                    <a:pt x="797715" y="457600"/>
                  </a:cubicBezTo>
                  <a:lnTo>
                    <a:pt x="691860" y="480339"/>
                  </a:lnTo>
                  <a:close/>
                  <a:moveTo>
                    <a:pt x="93245" y="21196"/>
                  </a:moveTo>
                  <a:lnTo>
                    <a:pt x="26824" y="139649"/>
                  </a:lnTo>
                  <a:lnTo>
                    <a:pt x="88610" y="152794"/>
                  </a:lnTo>
                  <a:cubicBezTo>
                    <a:pt x="89055" y="152864"/>
                    <a:pt x="89499" y="152952"/>
                    <a:pt x="89880" y="153079"/>
                  </a:cubicBezTo>
                  <a:lnTo>
                    <a:pt x="370359" y="212795"/>
                  </a:lnTo>
                  <a:lnTo>
                    <a:pt x="453354" y="21190"/>
                  </a:lnTo>
                  <a:lnTo>
                    <a:pt x="93245" y="21190"/>
                  </a:lnTo>
                  <a:lnTo>
                    <a:pt x="93245" y="21196"/>
                  </a:lnTo>
                  <a:close/>
                  <a:moveTo>
                    <a:pt x="1361" y="141827"/>
                  </a:moveTo>
                  <a:lnTo>
                    <a:pt x="77497" y="5937"/>
                  </a:lnTo>
                  <a:cubicBezTo>
                    <a:pt x="79275" y="2426"/>
                    <a:pt x="82895" y="0"/>
                    <a:pt x="87022" y="0"/>
                  </a:cubicBezTo>
                  <a:lnTo>
                    <a:pt x="469419" y="0"/>
                  </a:lnTo>
                  <a:lnTo>
                    <a:pt x="851817" y="0"/>
                  </a:lnTo>
                  <a:cubicBezTo>
                    <a:pt x="856007" y="0"/>
                    <a:pt x="859627" y="2426"/>
                    <a:pt x="861342" y="5937"/>
                  </a:cubicBezTo>
                  <a:lnTo>
                    <a:pt x="937542" y="141827"/>
                  </a:lnTo>
                  <a:cubicBezTo>
                    <a:pt x="940399" y="146920"/>
                    <a:pt x="938557" y="153372"/>
                    <a:pt x="933478" y="156223"/>
                  </a:cubicBezTo>
                  <a:cubicBezTo>
                    <a:pt x="932398" y="156832"/>
                    <a:pt x="931318" y="157213"/>
                    <a:pt x="930175" y="157416"/>
                  </a:cubicBezTo>
                  <a:lnTo>
                    <a:pt x="862421" y="171844"/>
                  </a:lnTo>
                  <a:lnTo>
                    <a:pt x="862421" y="542182"/>
                  </a:lnTo>
                  <a:lnTo>
                    <a:pt x="862421" y="542182"/>
                  </a:lnTo>
                  <a:cubicBezTo>
                    <a:pt x="862421" y="546894"/>
                    <a:pt x="859246" y="551199"/>
                    <a:pt x="854420" y="552405"/>
                  </a:cubicBezTo>
                  <a:lnTo>
                    <a:pt x="473039" y="650583"/>
                  </a:lnTo>
                  <a:cubicBezTo>
                    <a:pt x="471896" y="650983"/>
                    <a:pt x="470690" y="651211"/>
                    <a:pt x="469419" y="651211"/>
                  </a:cubicBezTo>
                  <a:cubicBezTo>
                    <a:pt x="468213" y="651211"/>
                    <a:pt x="466943" y="650989"/>
                    <a:pt x="465863" y="650583"/>
                  </a:cubicBezTo>
                  <a:lnTo>
                    <a:pt x="84419" y="552405"/>
                  </a:lnTo>
                  <a:cubicBezTo>
                    <a:pt x="79656" y="551199"/>
                    <a:pt x="76481" y="546894"/>
                    <a:pt x="76481" y="542182"/>
                  </a:cubicBezTo>
                  <a:lnTo>
                    <a:pt x="76418" y="542182"/>
                  </a:lnTo>
                  <a:lnTo>
                    <a:pt x="76418" y="171844"/>
                  </a:lnTo>
                  <a:lnTo>
                    <a:pt x="8727" y="157416"/>
                  </a:lnTo>
                  <a:cubicBezTo>
                    <a:pt x="7584" y="157219"/>
                    <a:pt x="6441" y="156832"/>
                    <a:pt x="5425" y="156223"/>
                  </a:cubicBezTo>
                  <a:cubicBezTo>
                    <a:pt x="281" y="153372"/>
                    <a:pt x="-1496" y="146914"/>
                    <a:pt x="1361" y="141827"/>
                  </a:cubicBezTo>
                  <a:lnTo>
                    <a:pt x="1361" y="141827"/>
                  </a:lnTo>
                  <a:close/>
                  <a:moveTo>
                    <a:pt x="458879" y="61601"/>
                  </a:moveTo>
                  <a:lnTo>
                    <a:pt x="386552" y="228416"/>
                  </a:lnTo>
                  <a:cubicBezTo>
                    <a:pt x="384837" y="233381"/>
                    <a:pt x="379631" y="236410"/>
                    <a:pt x="374360" y="235286"/>
                  </a:cubicBezTo>
                  <a:lnTo>
                    <a:pt x="97627" y="176365"/>
                  </a:lnTo>
                  <a:lnTo>
                    <a:pt x="97627" y="534016"/>
                  </a:lnTo>
                  <a:lnTo>
                    <a:pt x="458879" y="626999"/>
                  </a:lnTo>
                  <a:lnTo>
                    <a:pt x="458879" y="61601"/>
                  </a:lnTo>
                  <a:close/>
                  <a:moveTo>
                    <a:pt x="841275" y="176359"/>
                  </a:moveTo>
                  <a:lnTo>
                    <a:pt x="564479" y="235280"/>
                  </a:lnTo>
                  <a:cubicBezTo>
                    <a:pt x="559208" y="236404"/>
                    <a:pt x="554065" y="233375"/>
                    <a:pt x="552350" y="228409"/>
                  </a:cubicBezTo>
                  <a:lnTo>
                    <a:pt x="480024" y="61595"/>
                  </a:lnTo>
                  <a:lnTo>
                    <a:pt x="480024" y="626980"/>
                  </a:lnTo>
                  <a:lnTo>
                    <a:pt x="841275" y="534003"/>
                  </a:lnTo>
                  <a:lnTo>
                    <a:pt x="841275" y="176359"/>
                  </a:lnTo>
                  <a:close/>
                  <a:moveTo>
                    <a:pt x="912078" y="139649"/>
                  </a:moveTo>
                  <a:lnTo>
                    <a:pt x="845657" y="21196"/>
                  </a:lnTo>
                  <a:lnTo>
                    <a:pt x="485548" y="21196"/>
                  </a:lnTo>
                  <a:lnTo>
                    <a:pt x="568543" y="212801"/>
                  </a:lnTo>
                  <a:lnTo>
                    <a:pt x="848959" y="153086"/>
                  </a:lnTo>
                  <a:cubicBezTo>
                    <a:pt x="849404" y="152959"/>
                    <a:pt x="849848" y="152870"/>
                    <a:pt x="850293" y="152800"/>
                  </a:cubicBezTo>
                  <a:lnTo>
                    <a:pt x="912078" y="139649"/>
                  </a:lnTo>
                  <a:lnTo>
                    <a:pt x="912078" y="139649"/>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55" name="Forme libre : forme 1754">
              <a:extLst>
                <a:ext uri="{FF2B5EF4-FFF2-40B4-BE49-F238E27FC236}">
                  <a16:creationId xmlns:a16="http://schemas.microsoft.com/office/drawing/2014/main" id="{BB3B126B-6F92-47D5-A01A-7CD5A484EB87}"/>
                </a:ext>
              </a:extLst>
            </p:cNvPr>
            <p:cNvSpPr/>
            <p:nvPr/>
          </p:nvSpPr>
          <p:spPr>
            <a:xfrm>
              <a:off x="9153416" y="3042013"/>
              <a:ext cx="261778" cy="325964"/>
            </a:xfrm>
            <a:custGeom>
              <a:avLst/>
              <a:gdLst>
                <a:gd name="connsiteX0" fmla="*/ 123253 w 261778"/>
                <a:gd name="connsiteY0" fmla="*/ 7626 h 325964"/>
                <a:gd name="connsiteX1" fmla="*/ 130873 w 261778"/>
                <a:gd name="connsiteY1" fmla="*/ 0 h 325964"/>
                <a:gd name="connsiteX2" fmla="*/ 138494 w 261778"/>
                <a:gd name="connsiteY2" fmla="*/ 7626 h 325964"/>
                <a:gd name="connsiteX3" fmla="*/ 138494 w 261778"/>
                <a:gd name="connsiteY3" fmla="*/ 301098 h 325964"/>
                <a:gd name="connsiteX4" fmla="*/ 249047 w 261778"/>
                <a:gd name="connsiteY4" fmla="*/ 200615 h 325964"/>
                <a:gd name="connsiteX5" fmla="*/ 259778 w 261778"/>
                <a:gd name="connsiteY5" fmla="*/ 201123 h 325964"/>
                <a:gd name="connsiteX6" fmla="*/ 259334 w 261778"/>
                <a:gd name="connsiteY6" fmla="*/ 211880 h 325964"/>
                <a:gd name="connsiteX7" fmla="*/ 136335 w 261778"/>
                <a:gd name="connsiteY7" fmla="*/ 323666 h 325964"/>
                <a:gd name="connsiteX8" fmla="*/ 130873 w 261778"/>
                <a:gd name="connsiteY8" fmla="*/ 325965 h 325964"/>
                <a:gd name="connsiteX9" fmla="*/ 125412 w 261778"/>
                <a:gd name="connsiteY9" fmla="*/ 323666 h 325964"/>
                <a:gd name="connsiteX10" fmla="*/ 2476 w 261778"/>
                <a:gd name="connsiteY10" fmla="*/ 211880 h 325964"/>
                <a:gd name="connsiteX11" fmla="*/ 1969 w 261778"/>
                <a:gd name="connsiteY11" fmla="*/ 201123 h 325964"/>
                <a:gd name="connsiteX12" fmla="*/ 12763 w 261778"/>
                <a:gd name="connsiteY12" fmla="*/ 200615 h 325964"/>
                <a:gd name="connsiteX13" fmla="*/ 123253 w 261778"/>
                <a:gd name="connsiteY13" fmla="*/ 301098 h 325964"/>
                <a:gd name="connsiteX14" fmla="*/ 123253 w 261778"/>
                <a:gd name="connsiteY14" fmla="*/ 7626 h 325964"/>
                <a:gd name="connsiteX15" fmla="*/ 123253 w 261778"/>
                <a:gd name="connsiteY15" fmla="*/ 7626 h 32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1778" h="325964">
                  <a:moveTo>
                    <a:pt x="123253" y="7626"/>
                  </a:moveTo>
                  <a:cubicBezTo>
                    <a:pt x="123253" y="3410"/>
                    <a:pt x="126683" y="0"/>
                    <a:pt x="130873" y="0"/>
                  </a:cubicBezTo>
                  <a:cubicBezTo>
                    <a:pt x="135128" y="0"/>
                    <a:pt x="138494" y="3410"/>
                    <a:pt x="138494" y="7626"/>
                  </a:cubicBezTo>
                  <a:lnTo>
                    <a:pt x="138494" y="301098"/>
                  </a:lnTo>
                  <a:lnTo>
                    <a:pt x="249047" y="200615"/>
                  </a:lnTo>
                  <a:cubicBezTo>
                    <a:pt x="252159" y="197783"/>
                    <a:pt x="256985" y="198012"/>
                    <a:pt x="259778" y="201123"/>
                  </a:cubicBezTo>
                  <a:cubicBezTo>
                    <a:pt x="262636" y="204235"/>
                    <a:pt x="262382" y="209055"/>
                    <a:pt x="259334" y="211880"/>
                  </a:cubicBezTo>
                  <a:lnTo>
                    <a:pt x="136335" y="323666"/>
                  </a:lnTo>
                  <a:cubicBezTo>
                    <a:pt x="134937" y="325082"/>
                    <a:pt x="133033" y="325965"/>
                    <a:pt x="130873" y="325965"/>
                  </a:cubicBezTo>
                  <a:cubicBezTo>
                    <a:pt x="128778" y="325965"/>
                    <a:pt x="126810" y="325082"/>
                    <a:pt x="125412" y="323666"/>
                  </a:cubicBezTo>
                  <a:lnTo>
                    <a:pt x="2476" y="211880"/>
                  </a:lnTo>
                  <a:cubicBezTo>
                    <a:pt x="-635" y="209055"/>
                    <a:pt x="-826" y="204235"/>
                    <a:pt x="1969" y="201123"/>
                  </a:cubicBezTo>
                  <a:cubicBezTo>
                    <a:pt x="4826" y="198018"/>
                    <a:pt x="9652" y="197790"/>
                    <a:pt x="12763" y="200615"/>
                  </a:cubicBezTo>
                  <a:lnTo>
                    <a:pt x="123253" y="301098"/>
                  </a:lnTo>
                  <a:lnTo>
                    <a:pt x="123253" y="7626"/>
                  </a:lnTo>
                  <a:lnTo>
                    <a:pt x="123253" y="7626"/>
                  </a:lnTo>
                  <a:close/>
                </a:path>
              </a:pathLst>
            </a:custGeom>
            <a:solidFill>
              <a:srgbClr val="000000"/>
            </a:solidFill>
            <a:ln w="57697" cap="rnd">
              <a:solidFill>
                <a:srgbClr val="0000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27" name="Title 1">
            <a:extLst>
              <a:ext uri="{FF2B5EF4-FFF2-40B4-BE49-F238E27FC236}">
                <a16:creationId xmlns:a16="http://schemas.microsoft.com/office/drawing/2014/main" id="{C5117331-D550-43CC-891D-DB7FB4410B94}"/>
              </a:ext>
            </a:extLst>
          </p:cNvPr>
          <p:cNvSpPr>
            <a:spLocks noGrp="1"/>
          </p:cNvSpPr>
          <p:nvPr>
            <p:ph type="title"/>
          </p:nvPr>
        </p:nvSpPr>
        <p:spPr>
          <a:xfrm>
            <a:off x="766219" y="-75982"/>
            <a:ext cx="10443648" cy="1232664"/>
          </a:xfrm>
        </p:spPr>
        <p:txBody>
          <a:bodyPr lIns="0" rIns="90000" anchor="b">
            <a:normAutofit/>
          </a:bodyPr>
          <a:lstStyle/>
          <a:p>
            <a:r>
              <a:rPr lang="en-US" sz="2700" b="1">
                <a:solidFill>
                  <a:srgbClr val="00B0F0"/>
                </a:solidFill>
                <a:latin typeface="Roboto" pitchFamily="2" charset="0"/>
                <a:ea typeface="Roboto" pitchFamily="2" charset="0"/>
              </a:rPr>
              <a:t>How will IMEO answer the methane emissions data problem?</a:t>
            </a:r>
            <a:br>
              <a:rPr lang="en-US" sz="2700" b="1">
                <a:solidFill>
                  <a:srgbClr val="00B0F0"/>
                </a:solidFill>
                <a:latin typeface="Roboto" pitchFamily="2" charset="0"/>
                <a:ea typeface="Roboto" pitchFamily="2" charset="0"/>
              </a:rPr>
            </a:br>
            <a:endParaRPr lang="en-US" sz="2700" b="1">
              <a:solidFill>
                <a:srgbClr val="00B0F0"/>
              </a:solidFill>
              <a:latin typeface="Roboto" pitchFamily="2" charset="0"/>
              <a:ea typeface="Roboto" pitchFamily="2" charset="0"/>
            </a:endParaRPr>
          </a:p>
        </p:txBody>
      </p:sp>
      <p:cxnSp>
        <p:nvCxnSpPr>
          <p:cNvPr id="128" name="Straight Connector 13">
            <a:extLst>
              <a:ext uri="{FF2B5EF4-FFF2-40B4-BE49-F238E27FC236}">
                <a16:creationId xmlns:a16="http://schemas.microsoft.com/office/drawing/2014/main" id="{BB3CEF75-A55D-4ABC-9E81-A78712041F70}"/>
              </a:ext>
            </a:extLst>
          </p:cNvPr>
          <p:cNvCxnSpPr>
            <a:cxnSpLocks/>
          </p:cNvCxnSpPr>
          <p:nvPr/>
        </p:nvCxnSpPr>
        <p:spPr>
          <a:xfrm>
            <a:off x="766219" y="867271"/>
            <a:ext cx="939011" cy="0"/>
          </a:xfrm>
          <a:prstGeom prst="line">
            <a:avLst/>
          </a:prstGeom>
          <a:ln w="76200">
            <a:solidFill>
              <a:srgbClr val="00B0F0"/>
            </a:solidFill>
          </a:ln>
          <a:effectLst/>
        </p:spPr>
        <p:style>
          <a:lnRef idx="2">
            <a:schemeClr val="accent1"/>
          </a:lnRef>
          <a:fillRef idx="0">
            <a:schemeClr val="accent1"/>
          </a:fillRef>
          <a:effectRef idx="1">
            <a:schemeClr val="accent1"/>
          </a:effectRef>
          <a:fontRef idx="minor">
            <a:schemeClr val="tx1"/>
          </a:fontRef>
        </p:style>
      </p:cxnSp>
      <p:pic>
        <p:nvPicPr>
          <p:cNvPr id="124" name="Picture 123" descr="Text, logo&#10;&#10;Description automatically generated">
            <a:extLst>
              <a:ext uri="{FF2B5EF4-FFF2-40B4-BE49-F238E27FC236}">
                <a16:creationId xmlns:a16="http://schemas.microsoft.com/office/drawing/2014/main" id="{51878EDB-3057-474D-B964-0EDBE7E0E046}"/>
              </a:ext>
            </a:extLst>
          </p:cNvPr>
          <p:cNvPicPr>
            <a:picLocks noChangeAspect="1"/>
          </p:cNvPicPr>
          <p:nvPr/>
        </p:nvPicPr>
        <p:blipFill>
          <a:blip r:embed="rId15">
            <a:alphaModFix amt="50000"/>
          </a:blip>
          <a:stretch>
            <a:fillRect/>
          </a:stretch>
        </p:blipFill>
        <p:spPr>
          <a:xfrm>
            <a:off x="10453751" y="176644"/>
            <a:ext cx="1639608" cy="796492"/>
          </a:xfrm>
          <a:prstGeom prst="rect">
            <a:avLst/>
          </a:prstGeom>
        </p:spPr>
      </p:pic>
    </p:spTree>
    <p:extLst>
      <p:ext uri="{BB962C8B-B14F-4D97-AF65-F5344CB8AC3E}">
        <p14:creationId xmlns:p14="http://schemas.microsoft.com/office/powerpoint/2010/main" val="1492046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2443F1-85D9-110D-36DD-94174E757F9A}"/>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3E1A82EA-138F-B9A7-E0F4-650977F42788}"/>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12647196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4">
            <a:extLst>
              <a:ext uri="{FF2B5EF4-FFF2-40B4-BE49-F238E27FC236}">
                <a16:creationId xmlns:a16="http://schemas.microsoft.com/office/drawing/2014/main" id="{DE1CFD50-F6B4-3A54-1977-44480253D3D5}"/>
              </a:ext>
            </a:extLst>
          </p:cNvPr>
          <p:cNvSpPr txBox="1">
            <a:spLocks/>
          </p:cNvSpPr>
          <p:nvPr/>
        </p:nvSpPr>
        <p:spPr>
          <a:xfrm>
            <a:off x="7160112" y="4630275"/>
            <a:ext cx="4576106" cy="865188"/>
          </a:xfrm>
          <a:prstGeom prst="rect">
            <a:avLst/>
          </a:prstGeom>
        </p:spPr>
        <p:txBody>
          <a:bodyPr lIns="91440" tIns="45720" rIns="91440" bIns="45720" anchor="b"/>
          <a:lstStyle>
            <a:lvl1pPr marL="228600" indent="-228600" algn="l" defTabSz="914400" rtl="0" eaLnBrk="1" latinLnBrk="0" hangingPunct="1">
              <a:lnSpc>
                <a:spcPct val="90000"/>
              </a:lnSpc>
              <a:spcBef>
                <a:spcPts val="1000"/>
              </a:spcBef>
              <a:buFont typeface="Arial" panose="020B0604020202020204" pitchFamily="34" charset="0"/>
              <a:buChar char="•"/>
              <a:defRPr sz="2800" b="1" i="0" kern="1200">
                <a:solidFill>
                  <a:schemeClr val="accent1"/>
                </a:solidFill>
                <a:latin typeface="Metropolis Semi Bold"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Interstate"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lumMod val="75000"/>
                    <a:lumOff val="25000"/>
                  </a:schemeClr>
                </a:solidFill>
                <a:latin typeface="Interstate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Interstate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Interstate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
                <a:srgbClr val="45CFCC"/>
              </a:buClr>
              <a:buSzPts val="2800"/>
              <a:buFont typeface="Arial"/>
              <a:buNone/>
              <a:tabLst/>
              <a:defRPr/>
            </a:pPr>
            <a:endParaRPr kumimoji="0" lang="en-US" sz="2000" b="1" i="0" u="none" strike="noStrike" kern="1200" cap="none" spc="0" normalizeH="0" baseline="0" noProof="0">
              <a:ln>
                <a:noFill/>
              </a:ln>
              <a:solidFill>
                <a:schemeClr val="bg1"/>
              </a:solidFill>
              <a:effectLst/>
              <a:uLnTx/>
              <a:uFillTx/>
              <a:latin typeface="Roboto" panose="02000000000000000000" pitchFamily="2" charset="0"/>
              <a:ea typeface="Roboto" panose="02000000000000000000" pitchFamily="2" charset="0"/>
              <a:cs typeface="Roboto" panose="02000000000000000000" pitchFamily="2" charset="0"/>
            </a:endParaRPr>
          </a:p>
        </p:txBody>
      </p:sp>
      <p:pic>
        <p:nvPicPr>
          <p:cNvPr id="1034" name="Picture 10" descr="Dubai Travel Guide">
            <a:extLst>
              <a:ext uri="{FF2B5EF4-FFF2-40B4-BE49-F238E27FC236}">
                <a16:creationId xmlns:a16="http://schemas.microsoft.com/office/drawing/2014/main" id="{CCBAD355-1DB2-FC4E-3FE5-F426355A94CB}"/>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6A99A848-9275-EAD1-3C75-96594571256C}"/>
              </a:ext>
            </a:extLst>
          </p:cNvPr>
          <p:cNvSpPr/>
          <p:nvPr/>
        </p:nvSpPr>
        <p:spPr>
          <a:xfrm>
            <a:off x="0" y="4443413"/>
            <a:ext cx="12192000" cy="2414587"/>
          </a:xfrm>
          <a:prstGeom prst="rect">
            <a:avLst/>
          </a:prstGeom>
          <a:solidFill>
            <a:schemeClr val="tx2">
              <a:alpha val="70074"/>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11">
            <a:extLst>
              <a:ext uri="{FF2B5EF4-FFF2-40B4-BE49-F238E27FC236}">
                <a16:creationId xmlns:a16="http://schemas.microsoft.com/office/drawing/2014/main" id="{002DFE91-2B14-2B5A-6BBE-FB89B7473E05}"/>
              </a:ext>
            </a:extLst>
          </p:cNvPr>
          <p:cNvSpPr>
            <a:spLocks noGrp="1"/>
          </p:cNvSpPr>
          <p:nvPr>
            <p:ph type="title"/>
          </p:nvPr>
        </p:nvSpPr>
        <p:spPr>
          <a:xfrm>
            <a:off x="455782" y="2765268"/>
            <a:ext cx="11099270" cy="3445646"/>
          </a:xfrm>
        </p:spPr>
        <p:txBody>
          <a:bodyPr anchor="b">
            <a:noAutofit/>
          </a:bodyPr>
          <a:lstStyle/>
          <a:p>
            <a:r>
              <a:rPr lang="en-US" altLang="zh-CN" sz="4400" dirty="0">
                <a:latin typeface="Roboto"/>
                <a:ea typeface="Roboto"/>
                <a:cs typeface="Roboto"/>
              </a:rPr>
              <a:t>GHG Monitoring and Mitigation at COP28: </a:t>
            </a:r>
            <a:br>
              <a:rPr lang="en-US" altLang="zh-CN" sz="4400" dirty="0">
                <a:latin typeface="Roboto"/>
                <a:ea typeface="Roboto"/>
                <a:cs typeface="Roboto"/>
              </a:rPr>
            </a:br>
            <a:r>
              <a:rPr lang="en-US" altLang="zh-CN" sz="3200" dirty="0">
                <a:latin typeface="Roboto"/>
                <a:ea typeface="Roboto"/>
                <a:cs typeface="Roboto"/>
              </a:rPr>
              <a:t>NASA CMS Science Team Meeting, September 26, 2023</a:t>
            </a:r>
            <a:br>
              <a:rPr lang="en-US" altLang="zh-CN" sz="3200" dirty="0">
                <a:latin typeface="Roboto"/>
                <a:ea typeface="Roboto"/>
                <a:cs typeface="Roboto"/>
              </a:rPr>
            </a:br>
            <a:endParaRPr lang="en-US" sz="3200" dirty="0"/>
          </a:p>
        </p:txBody>
      </p:sp>
      <p:sp>
        <p:nvSpPr>
          <p:cNvPr id="2" name="Text Placeholder 1">
            <a:extLst>
              <a:ext uri="{FF2B5EF4-FFF2-40B4-BE49-F238E27FC236}">
                <a16:creationId xmlns:a16="http://schemas.microsoft.com/office/drawing/2014/main" id="{5A31DE44-88AF-75BF-4C52-16D14D1A5BCA}"/>
              </a:ext>
            </a:extLst>
          </p:cNvPr>
          <p:cNvSpPr>
            <a:spLocks noGrp="1"/>
          </p:cNvSpPr>
          <p:nvPr>
            <p:ph type="body" idx="1"/>
          </p:nvPr>
        </p:nvSpPr>
        <p:spPr>
          <a:xfrm>
            <a:off x="455782" y="6066916"/>
            <a:ext cx="11099270" cy="369478"/>
          </a:xfrm>
        </p:spPr>
        <p:txBody>
          <a:bodyPr vert="horz" lIns="91440" tIns="45720" rIns="91440" bIns="45720" rtlCol="0" anchor="t">
            <a:noAutofit/>
          </a:bodyPr>
          <a:lstStyle/>
          <a:p>
            <a:pPr lvl="0"/>
            <a:r>
              <a:rPr lang="en-US" sz="2800" dirty="0">
                <a:latin typeface="Roboto"/>
                <a:ea typeface="Roboto"/>
                <a:cs typeface="Roboto"/>
                <a:sym typeface="Arial"/>
              </a:rPr>
              <a:t>Deborah Gordon, Senior Principal, RMI 					</a:t>
            </a:r>
            <a:endParaRPr lang="en-US" sz="2800" dirty="0"/>
          </a:p>
        </p:txBody>
      </p:sp>
      <p:pic>
        <p:nvPicPr>
          <p:cNvPr id="11" name="Picture 10" descr="A blue and white logo&#10;&#10;Description automatically generated">
            <a:extLst>
              <a:ext uri="{FF2B5EF4-FFF2-40B4-BE49-F238E27FC236}">
                <a16:creationId xmlns:a16="http://schemas.microsoft.com/office/drawing/2014/main" id="{FEFCF1FD-020F-DB4B-9E7A-86FF77E999F4}"/>
              </a:ext>
            </a:extLst>
          </p:cNvPr>
          <p:cNvPicPr>
            <a:picLocks noChangeAspect="1"/>
          </p:cNvPicPr>
          <p:nvPr/>
        </p:nvPicPr>
        <p:blipFill>
          <a:blip r:embed="rId4"/>
          <a:stretch>
            <a:fillRect/>
          </a:stretch>
        </p:blipFill>
        <p:spPr>
          <a:xfrm>
            <a:off x="355769" y="277608"/>
            <a:ext cx="2308237" cy="751093"/>
          </a:xfrm>
          <a:prstGeom prst="rect">
            <a:avLst/>
          </a:prstGeom>
        </p:spPr>
      </p:pic>
      <p:sp>
        <p:nvSpPr>
          <p:cNvPr id="15" name="TextBox 14">
            <a:extLst>
              <a:ext uri="{FF2B5EF4-FFF2-40B4-BE49-F238E27FC236}">
                <a16:creationId xmlns:a16="http://schemas.microsoft.com/office/drawing/2014/main" id="{461EE167-9177-C48F-FD1F-6B67000E1E92}"/>
              </a:ext>
            </a:extLst>
          </p:cNvPr>
          <p:cNvSpPr txBox="1"/>
          <p:nvPr/>
        </p:nvSpPr>
        <p:spPr>
          <a:xfrm>
            <a:off x="7558088" y="414338"/>
            <a:ext cx="4443412" cy="1877437"/>
          </a:xfrm>
          <a:prstGeom prst="rect">
            <a:avLst/>
          </a:prstGeom>
          <a:noFill/>
        </p:spPr>
        <p:txBody>
          <a:bodyPr wrap="square" rtlCol="0">
            <a:spAutoFit/>
          </a:bodyPr>
          <a:lstStyle/>
          <a:p>
            <a:r>
              <a:rPr lang="en-US" sz="4000" dirty="0"/>
              <a:t>“</a:t>
            </a:r>
            <a:r>
              <a:rPr lang="en-US" sz="2400" dirty="0"/>
              <a:t>The oil and gas industry should phase out its methane emissions by 2030.”</a:t>
            </a:r>
          </a:p>
          <a:p>
            <a:pPr algn="r"/>
            <a:r>
              <a:rPr lang="en-US" sz="1400" dirty="0"/>
              <a:t>-- Sultan al-Jaber,</a:t>
            </a:r>
          </a:p>
          <a:p>
            <a:pPr algn="r"/>
            <a:r>
              <a:rPr lang="en-US" sz="1400" dirty="0"/>
              <a:t>UAE COP28 president</a:t>
            </a:r>
          </a:p>
        </p:txBody>
      </p:sp>
    </p:spTree>
    <p:extLst>
      <p:ext uri="{BB962C8B-B14F-4D97-AF65-F5344CB8AC3E}">
        <p14:creationId xmlns:p14="http://schemas.microsoft.com/office/powerpoint/2010/main" val="10092201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77755-03AA-BF8F-D113-2EB99086E274}"/>
              </a:ext>
            </a:extLst>
          </p:cNvPr>
          <p:cNvSpPr>
            <a:spLocks noGrp="1"/>
          </p:cNvSpPr>
          <p:nvPr>
            <p:ph type="title"/>
          </p:nvPr>
        </p:nvSpPr>
        <p:spPr/>
        <p:txBody>
          <a:bodyPr/>
          <a:lstStyle/>
          <a:p>
            <a:r>
              <a:rPr lang="en-US" dirty="0"/>
              <a:t>Atmospheric methane levels are on the rise.</a:t>
            </a:r>
          </a:p>
        </p:txBody>
      </p:sp>
      <p:sp>
        <p:nvSpPr>
          <p:cNvPr id="3" name="Text Placeholder 2">
            <a:extLst>
              <a:ext uri="{FF2B5EF4-FFF2-40B4-BE49-F238E27FC236}">
                <a16:creationId xmlns:a16="http://schemas.microsoft.com/office/drawing/2014/main" id="{21895A7C-4190-0D27-F04A-AE487FA67589}"/>
              </a:ext>
            </a:extLst>
          </p:cNvPr>
          <p:cNvSpPr>
            <a:spLocks noGrp="1"/>
          </p:cNvSpPr>
          <p:nvPr>
            <p:ph type="body" sz="quarter" idx="13"/>
          </p:nvPr>
        </p:nvSpPr>
        <p:spPr>
          <a:xfrm>
            <a:off x="2471738" y="6438411"/>
            <a:ext cx="9361673" cy="369332"/>
          </a:xfrm>
        </p:spPr>
        <p:txBody>
          <a:bodyPr/>
          <a:lstStyle/>
          <a:p>
            <a:r>
              <a:rPr lang="en-US" dirty="0"/>
              <a:t>Sources: NASA, https://</a:t>
            </a:r>
            <a:r>
              <a:rPr lang="en-US" dirty="0" err="1"/>
              <a:t>svs.gsfc.nasa.gov</a:t>
            </a:r>
            <a:r>
              <a:rPr lang="en-US" dirty="0"/>
              <a:t>/4789; and Etheridge et al., 1998 and NOAA Global Monitoring Laboratory, https://</a:t>
            </a:r>
            <a:r>
              <a:rPr lang="en-US" dirty="0" err="1"/>
              <a:t>climate.nasa.gov</a:t>
            </a:r>
            <a:r>
              <a:rPr lang="en-US" dirty="0"/>
              <a:t>/vital-signs/methane/.</a:t>
            </a:r>
          </a:p>
        </p:txBody>
      </p:sp>
      <p:sp>
        <p:nvSpPr>
          <p:cNvPr id="4" name="Text Placeholder 3">
            <a:extLst>
              <a:ext uri="{FF2B5EF4-FFF2-40B4-BE49-F238E27FC236}">
                <a16:creationId xmlns:a16="http://schemas.microsoft.com/office/drawing/2014/main" id="{886B5D53-0BDF-5BEC-C332-E5A562F514CF}"/>
              </a:ext>
            </a:extLst>
          </p:cNvPr>
          <p:cNvSpPr>
            <a:spLocks noGrp="1"/>
          </p:cNvSpPr>
          <p:nvPr>
            <p:ph type="body" idx="14"/>
          </p:nvPr>
        </p:nvSpPr>
        <p:spPr/>
        <p:txBody>
          <a:bodyPr/>
          <a:lstStyle/>
          <a:p>
            <a:r>
              <a:rPr lang="en-US" dirty="0"/>
              <a:t>Rates of increase have risen dramatically over the past couple of years.</a:t>
            </a:r>
          </a:p>
        </p:txBody>
      </p:sp>
      <p:pic>
        <p:nvPicPr>
          <p:cNvPr id="6" name="Picture 5" descr="A view of the earth from space&#10;&#10;Description automatically generated">
            <a:extLst>
              <a:ext uri="{FF2B5EF4-FFF2-40B4-BE49-F238E27FC236}">
                <a16:creationId xmlns:a16="http://schemas.microsoft.com/office/drawing/2014/main" id="{BFA797D6-88C4-C0A6-A614-1224A23997E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76517" y="2228850"/>
            <a:ext cx="5657817" cy="2127250"/>
          </a:xfrm>
          <a:prstGeom prst="rect">
            <a:avLst/>
          </a:prstGeom>
        </p:spPr>
      </p:pic>
      <p:pic>
        <p:nvPicPr>
          <p:cNvPr id="8" name="Picture 7" descr="A graph showing the number of air sampling&#10;&#10;Description automatically generated">
            <a:extLst>
              <a:ext uri="{FF2B5EF4-FFF2-40B4-BE49-F238E27FC236}">
                <a16:creationId xmlns:a16="http://schemas.microsoft.com/office/drawing/2014/main" id="{1DC96F86-D56F-A8DB-A817-861D091392F0}"/>
              </a:ext>
            </a:extLst>
          </p:cNvPr>
          <p:cNvPicPr>
            <a:picLocks noChangeAspect="1"/>
          </p:cNvPicPr>
          <p:nvPr/>
        </p:nvPicPr>
        <p:blipFill>
          <a:blip r:embed="rId3"/>
          <a:stretch>
            <a:fillRect/>
          </a:stretch>
        </p:blipFill>
        <p:spPr>
          <a:xfrm>
            <a:off x="6157668" y="2794277"/>
            <a:ext cx="5912742" cy="3475033"/>
          </a:xfrm>
          <a:prstGeom prst="rect">
            <a:avLst/>
          </a:prstGeom>
        </p:spPr>
      </p:pic>
      <p:sp>
        <p:nvSpPr>
          <p:cNvPr id="9" name="TextBox 8">
            <a:extLst>
              <a:ext uri="{FF2B5EF4-FFF2-40B4-BE49-F238E27FC236}">
                <a16:creationId xmlns:a16="http://schemas.microsoft.com/office/drawing/2014/main" id="{D2C7B874-5181-287F-FF9C-DD363B2F9817}"/>
              </a:ext>
            </a:extLst>
          </p:cNvPr>
          <p:cNvSpPr txBox="1"/>
          <p:nvPr/>
        </p:nvSpPr>
        <p:spPr>
          <a:xfrm>
            <a:off x="6157668" y="2063395"/>
            <a:ext cx="5789392" cy="646331"/>
          </a:xfrm>
          <a:prstGeom prst="rect">
            <a:avLst/>
          </a:prstGeom>
          <a:noFill/>
        </p:spPr>
        <p:txBody>
          <a:bodyPr wrap="square" rtlCol="0">
            <a:spAutoFit/>
          </a:bodyPr>
          <a:lstStyle/>
          <a:p>
            <a:pPr algn="ctr"/>
            <a:r>
              <a:rPr lang="en-US" dirty="0">
                <a:solidFill>
                  <a:schemeClr val="bg1"/>
                </a:solidFill>
              </a:rPr>
              <a:t>ATMOSPHERIC METHANE CONCENTRATIONS</a:t>
            </a:r>
          </a:p>
          <a:p>
            <a:pPr algn="ctr"/>
            <a:r>
              <a:rPr lang="en-US" dirty="0">
                <a:solidFill>
                  <a:schemeClr val="bg1"/>
                </a:solidFill>
              </a:rPr>
              <a:t>SINCE THE YEAR 1010</a:t>
            </a:r>
          </a:p>
        </p:txBody>
      </p:sp>
      <p:sp>
        <p:nvSpPr>
          <p:cNvPr id="10" name="TextBox 9">
            <a:extLst>
              <a:ext uri="{FF2B5EF4-FFF2-40B4-BE49-F238E27FC236}">
                <a16:creationId xmlns:a16="http://schemas.microsoft.com/office/drawing/2014/main" id="{A0F736E8-F524-794B-AD3D-46C57D68D9E5}"/>
              </a:ext>
            </a:extLst>
          </p:cNvPr>
          <p:cNvSpPr txBox="1"/>
          <p:nvPr/>
        </p:nvSpPr>
        <p:spPr>
          <a:xfrm>
            <a:off x="205439" y="4566883"/>
            <a:ext cx="5789392" cy="646331"/>
          </a:xfrm>
          <a:prstGeom prst="rect">
            <a:avLst/>
          </a:prstGeom>
          <a:noFill/>
        </p:spPr>
        <p:txBody>
          <a:bodyPr wrap="square" rtlCol="0">
            <a:spAutoFit/>
          </a:bodyPr>
          <a:lstStyle/>
          <a:p>
            <a:pPr algn="ctr"/>
            <a:r>
              <a:rPr lang="en-US" dirty="0">
                <a:solidFill>
                  <a:schemeClr val="bg1"/>
                </a:solidFill>
              </a:rPr>
              <a:t>VISUALIZATION OF METHANE EMISSIONS AROUND THE NORTHERN HEMISPHERE AND OVER </a:t>
            </a:r>
          </a:p>
        </p:txBody>
      </p:sp>
    </p:spTree>
    <p:extLst>
      <p:ext uri="{BB962C8B-B14F-4D97-AF65-F5344CB8AC3E}">
        <p14:creationId xmlns:p14="http://schemas.microsoft.com/office/powerpoint/2010/main" val="30710129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9DF525-84FA-2C5D-DE21-514F48CA6AB2}"/>
              </a:ext>
            </a:extLst>
          </p:cNvPr>
          <p:cNvSpPr>
            <a:spLocks noGrp="1"/>
          </p:cNvSpPr>
          <p:nvPr>
            <p:ph type="title"/>
          </p:nvPr>
        </p:nvSpPr>
        <p:spPr/>
        <p:txBody>
          <a:bodyPr>
            <a:noAutofit/>
          </a:bodyPr>
          <a:lstStyle/>
          <a:p>
            <a:r>
              <a:rPr lang="en-US" dirty="0"/>
              <a:t>Methane drives variable oil &amp; gas emissions.</a:t>
            </a:r>
          </a:p>
        </p:txBody>
      </p:sp>
      <p:grpSp>
        <p:nvGrpSpPr>
          <p:cNvPr id="14" name="Group 13">
            <a:extLst>
              <a:ext uri="{FF2B5EF4-FFF2-40B4-BE49-F238E27FC236}">
                <a16:creationId xmlns:a16="http://schemas.microsoft.com/office/drawing/2014/main" id="{BC34C43C-0717-DB04-5EC6-ADBBB82C1E7E}"/>
              </a:ext>
            </a:extLst>
          </p:cNvPr>
          <p:cNvGrpSpPr/>
          <p:nvPr/>
        </p:nvGrpSpPr>
        <p:grpSpPr>
          <a:xfrm>
            <a:off x="3704488" y="1424830"/>
            <a:ext cx="7926210" cy="5332140"/>
            <a:chOff x="3078970" y="1158037"/>
            <a:chExt cx="7926210" cy="5332140"/>
          </a:xfrm>
          <a:effectLst>
            <a:outerShdw blurRad="50800" dist="38100" dir="2700000" algn="tl" rotWithShape="0">
              <a:prstClr val="black">
                <a:alpha val="40000"/>
              </a:prstClr>
            </a:outerShdw>
          </a:effectLst>
        </p:grpSpPr>
        <p:pic>
          <p:nvPicPr>
            <p:cNvPr id="5" name="Picture 4">
              <a:extLst>
                <a:ext uri="{FF2B5EF4-FFF2-40B4-BE49-F238E27FC236}">
                  <a16:creationId xmlns:a16="http://schemas.microsoft.com/office/drawing/2014/main" id="{AB2FD970-1889-D1BF-3BD8-898C457549E2}"/>
                </a:ext>
              </a:extLst>
            </p:cNvPr>
            <p:cNvPicPr>
              <a:picLocks noChangeAspect="1"/>
            </p:cNvPicPr>
            <p:nvPr/>
          </p:nvPicPr>
          <p:blipFill>
            <a:blip r:embed="rId2"/>
            <a:stretch>
              <a:fillRect/>
            </a:stretch>
          </p:blipFill>
          <p:spPr>
            <a:xfrm>
              <a:off x="3078970" y="3849029"/>
              <a:ext cx="4850364" cy="2641148"/>
            </a:xfrm>
            <a:prstGeom prst="rect">
              <a:avLst/>
            </a:prstGeom>
          </p:spPr>
        </p:pic>
        <p:pic>
          <p:nvPicPr>
            <p:cNvPr id="7" name="Picture 6">
              <a:extLst>
                <a:ext uri="{FF2B5EF4-FFF2-40B4-BE49-F238E27FC236}">
                  <a16:creationId xmlns:a16="http://schemas.microsoft.com/office/drawing/2014/main" id="{4B1151E9-F715-A5DD-FF7B-15A8751CD09A}"/>
                </a:ext>
              </a:extLst>
            </p:cNvPr>
            <p:cNvPicPr>
              <a:picLocks noChangeAspect="1"/>
            </p:cNvPicPr>
            <p:nvPr/>
          </p:nvPicPr>
          <p:blipFill>
            <a:blip r:embed="rId3"/>
            <a:stretch>
              <a:fillRect/>
            </a:stretch>
          </p:blipFill>
          <p:spPr>
            <a:xfrm>
              <a:off x="3078970" y="1158037"/>
              <a:ext cx="4850364" cy="2596878"/>
            </a:xfrm>
            <a:prstGeom prst="rect">
              <a:avLst/>
            </a:prstGeom>
          </p:spPr>
        </p:pic>
        <p:pic>
          <p:nvPicPr>
            <p:cNvPr id="9" name="Picture 8">
              <a:extLst>
                <a:ext uri="{FF2B5EF4-FFF2-40B4-BE49-F238E27FC236}">
                  <a16:creationId xmlns:a16="http://schemas.microsoft.com/office/drawing/2014/main" id="{7D6068EA-76C7-5927-EAF5-C43C70CF1D9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719450" y="1270596"/>
              <a:ext cx="2285730" cy="2044910"/>
            </a:xfrm>
            <a:prstGeom prst="rect">
              <a:avLst/>
            </a:prstGeom>
          </p:spPr>
        </p:pic>
      </p:grpSp>
      <p:sp>
        <p:nvSpPr>
          <p:cNvPr id="25" name="Content Placeholder 16">
            <a:extLst>
              <a:ext uri="{FF2B5EF4-FFF2-40B4-BE49-F238E27FC236}">
                <a16:creationId xmlns:a16="http://schemas.microsoft.com/office/drawing/2014/main" id="{0BE0DCD1-58A7-E7C5-4040-5E2712D93C7D}"/>
              </a:ext>
            </a:extLst>
          </p:cNvPr>
          <p:cNvSpPr txBox="1">
            <a:spLocks/>
          </p:cNvSpPr>
          <p:nvPr/>
        </p:nvSpPr>
        <p:spPr>
          <a:xfrm>
            <a:off x="9178531" y="3671776"/>
            <a:ext cx="2863391" cy="371679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b="1" i="0" kern="1200">
                <a:solidFill>
                  <a:schemeClr val="accent1"/>
                </a:solidFill>
                <a:latin typeface="Roboto" panose="02000000000000000000" pitchFamily="2" charset="0"/>
                <a:ea typeface="Roboto" panose="02000000000000000000" pitchFamily="2" charset="0"/>
                <a:cs typeface="Roboto"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Roboto" panose="02000000000000000000" pitchFamily="2" charset="0"/>
                <a:ea typeface="Roboto" panose="02000000000000000000" pitchFamily="2" charset="0"/>
                <a:cs typeface="Roboto" panose="02000000000000000000"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oboto" panose="02000000000000000000" pitchFamily="2" charset="0"/>
                <a:ea typeface="Roboto" panose="02000000000000000000" pitchFamily="2" charset="0"/>
                <a:cs typeface="Roboto" panose="020000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oboto" panose="02000000000000000000" pitchFamily="2" charset="0"/>
                <a:ea typeface="Roboto" panose="02000000000000000000" pitchFamily="2" charset="0"/>
                <a:cs typeface="Roboto"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400" dirty="0">
                <a:solidFill>
                  <a:schemeClr val="bg1"/>
                </a:solidFill>
              </a:rPr>
              <a:t>Invaluable input to the [oil and gas industry] analysis was provided by [RMI's] Oil Climate Index plus Gas (OCI+).</a:t>
            </a:r>
          </a:p>
          <a:p>
            <a:pPr marL="0" indent="0" algn="r">
              <a:buFont typeface="Arial" panose="020B0604020202020204" pitchFamily="34" charset="0"/>
              <a:buNone/>
            </a:pPr>
            <a:r>
              <a:rPr lang="en-US" sz="1400" dirty="0"/>
              <a:t>– INTERNATIONAL ENERGY AGENCY, MAY 2023</a:t>
            </a:r>
          </a:p>
        </p:txBody>
      </p:sp>
      <p:sp>
        <p:nvSpPr>
          <p:cNvPr id="27" name="TextBox 26">
            <a:extLst>
              <a:ext uri="{FF2B5EF4-FFF2-40B4-BE49-F238E27FC236}">
                <a16:creationId xmlns:a16="http://schemas.microsoft.com/office/drawing/2014/main" id="{2B33B3F8-F6A7-7661-9A30-1002DA44B6B6}"/>
              </a:ext>
            </a:extLst>
          </p:cNvPr>
          <p:cNvSpPr txBox="1"/>
          <p:nvPr/>
        </p:nvSpPr>
        <p:spPr>
          <a:xfrm>
            <a:off x="8712875" y="3429000"/>
            <a:ext cx="632093" cy="1200329"/>
          </a:xfrm>
          <a:prstGeom prst="rect">
            <a:avLst/>
          </a:prstGeom>
          <a:noFill/>
        </p:spPr>
        <p:txBody>
          <a:bodyPr wrap="square">
            <a:spAutoFit/>
          </a:bodyPr>
          <a:lstStyle/>
          <a:p>
            <a:pPr marL="0" indent="0">
              <a:buFont typeface="Arial" panose="020B0604020202020204" pitchFamily="34" charset="0"/>
              <a:buNone/>
            </a:pPr>
            <a:r>
              <a:rPr lang="en-US" sz="7200" dirty="0">
                <a:solidFill>
                  <a:schemeClr val="accent1"/>
                </a:solidFill>
                <a:latin typeface="Source Sans Pro" panose="020B0503030403020204" pitchFamily="34" charset="0"/>
              </a:rPr>
              <a:t>“</a:t>
            </a:r>
          </a:p>
        </p:txBody>
      </p:sp>
      <p:pic>
        <p:nvPicPr>
          <p:cNvPr id="4" name="Picture 3" descr="A collage of images of gas pipelines&#10;&#10;Description automatically generated">
            <a:extLst>
              <a:ext uri="{FF2B5EF4-FFF2-40B4-BE49-F238E27FC236}">
                <a16:creationId xmlns:a16="http://schemas.microsoft.com/office/drawing/2014/main" id="{A8D392B9-5C0E-F68A-0EF0-36262168103E}"/>
              </a:ext>
            </a:extLst>
          </p:cNvPr>
          <p:cNvPicPr>
            <a:picLocks noChangeAspect="1"/>
          </p:cNvPicPr>
          <p:nvPr/>
        </p:nvPicPr>
        <p:blipFill rotWithShape="1">
          <a:blip r:embed="rId5"/>
          <a:srcRect t="-2" r="34444" b="-188"/>
          <a:stretch/>
        </p:blipFill>
        <p:spPr>
          <a:xfrm>
            <a:off x="561302" y="1690688"/>
            <a:ext cx="2691416" cy="3716792"/>
          </a:xfrm>
          <a:prstGeom prst="rect">
            <a:avLst/>
          </a:prstGeom>
        </p:spPr>
      </p:pic>
      <p:sp>
        <p:nvSpPr>
          <p:cNvPr id="6" name="TextBox 5">
            <a:extLst>
              <a:ext uri="{FF2B5EF4-FFF2-40B4-BE49-F238E27FC236}">
                <a16:creationId xmlns:a16="http://schemas.microsoft.com/office/drawing/2014/main" id="{3BE4A9D0-889A-B467-FED8-31C15109A6DF}"/>
              </a:ext>
            </a:extLst>
          </p:cNvPr>
          <p:cNvSpPr txBox="1"/>
          <p:nvPr/>
        </p:nvSpPr>
        <p:spPr>
          <a:xfrm>
            <a:off x="561302" y="5436396"/>
            <a:ext cx="2557923" cy="276999"/>
          </a:xfrm>
          <a:prstGeom prst="rect">
            <a:avLst/>
          </a:prstGeom>
          <a:noFill/>
        </p:spPr>
        <p:txBody>
          <a:bodyPr wrap="square" rtlCol="0">
            <a:spAutoFit/>
          </a:bodyPr>
          <a:lstStyle/>
          <a:p>
            <a:r>
              <a:rPr lang="en-US" sz="1200" dirty="0">
                <a:solidFill>
                  <a:schemeClr val="bg1"/>
                </a:solidFill>
              </a:rPr>
              <a:t>Source: Carbon Mapper, 2021-22</a:t>
            </a:r>
          </a:p>
        </p:txBody>
      </p:sp>
    </p:spTree>
    <p:extLst>
      <p:ext uri="{BB962C8B-B14F-4D97-AF65-F5344CB8AC3E}">
        <p14:creationId xmlns:p14="http://schemas.microsoft.com/office/powerpoint/2010/main" val="16320683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9DF525-84FA-2C5D-DE21-514F48CA6AB2}"/>
              </a:ext>
            </a:extLst>
          </p:cNvPr>
          <p:cNvSpPr>
            <a:spLocks noGrp="1"/>
          </p:cNvSpPr>
          <p:nvPr>
            <p:ph type="title"/>
          </p:nvPr>
        </p:nvSpPr>
        <p:spPr/>
        <p:txBody>
          <a:bodyPr>
            <a:noAutofit/>
          </a:bodyPr>
          <a:lstStyle/>
          <a:p>
            <a:r>
              <a:rPr lang="en-US" dirty="0"/>
              <a:t>Landfills are another major methane source.</a:t>
            </a:r>
          </a:p>
        </p:txBody>
      </p:sp>
      <p:sp>
        <p:nvSpPr>
          <p:cNvPr id="25" name="Content Placeholder 16">
            <a:extLst>
              <a:ext uri="{FF2B5EF4-FFF2-40B4-BE49-F238E27FC236}">
                <a16:creationId xmlns:a16="http://schemas.microsoft.com/office/drawing/2014/main" id="{0BE0DCD1-58A7-E7C5-4040-5E2712D93C7D}"/>
              </a:ext>
            </a:extLst>
          </p:cNvPr>
          <p:cNvSpPr txBox="1">
            <a:spLocks/>
          </p:cNvSpPr>
          <p:nvPr/>
        </p:nvSpPr>
        <p:spPr>
          <a:xfrm>
            <a:off x="7358064" y="5559426"/>
            <a:ext cx="4710712" cy="7842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b="1" i="0" kern="1200">
                <a:solidFill>
                  <a:schemeClr val="accent1"/>
                </a:solidFill>
                <a:latin typeface="Roboto" panose="02000000000000000000" pitchFamily="2" charset="0"/>
                <a:ea typeface="Roboto" panose="02000000000000000000" pitchFamily="2" charset="0"/>
                <a:cs typeface="Roboto"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Roboto" panose="02000000000000000000" pitchFamily="2" charset="0"/>
                <a:ea typeface="Roboto" panose="02000000000000000000" pitchFamily="2" charset="0"/>
                <a:cs typeface="Roboto" panose="02000000000000000000"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lumMod val="75000"/>
                    <a:lumOff val="25000"/>
                  </a:schemeClr>
                </a:solidFill>
                <a:latin typeface="Roboto" panose="02000000000000000000" pitchFamily="2" charset="0"/>
                <a:ea typeface="Roboto" panose="02000000000000000000" pitchFamily="2" charset="0"/>
                <a:cs typeface="Roboto" panose="02000000000000000000"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oboto" panose="02000000000000000000" pitchFamily="2" charset="0"/>
                <a:ea typeface="Roboto" panose="02000000000000000000" pitchFamily="2" charset="0"/>
                <a:cs typeface="Roboto" panose="020000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oboto" panose="02000000000000000000" pitchFamily="2" charset="0"/>
                <a:ea typeface="Roboto" panose="02000000000000000000" pitchFamily="2" charset="0"/>
                <a:cs typeface="Roboto"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400" dirty="0">
                <a:solidFill>
                  <a:schemeClr val="bg1"/>
                </a:solidFill>
              </a:rPr>
              <a:t>Mapping methane from waste worldwide and developing models to mitigate emissions.</a:t>
            </a:r>
          </a:p>
        </p:txBody>
      </p:sp>
      <p:pic>
        <p:nvPicPr>
          <p:cNvPr id="4" name="Picture 3" descr="A screenshot of a satellite image of a city&#10;&#10;Description automatically generated">
            <a:extLst>
              <a:ext uri="{FF2B5EF4-FFF2-40B4-BE49-F238E27FC236}">
                <a16:creationId xmlns:a16="http://schemas.microsoft.com/office/drawing/2014/main" id="{3AEAD800-5EC4-8362-543F-91A7AC131C83}"/>
              </a:ext>
            </a:extLst>
          </p:cNvPr>
          <p:cNvPicPr>
            <a:picLocks noChangeAspect="1"/>
          </p:cNvPicPr>
          <p:nvPr/>
        </p:nvPicPr>
        <p:blipFill>
          <a:blip r:embed="rId3"/>
          <a:stretch>
            <a:fillRect/>
          </a:stretch>
        </p:blipFill>
        <p:spPr>
          <a:xfrm>
            <a:off x="403969" y="2735658"/>
            <a:ext cx="5622494" cy="2835275"/>
          </a:xfrm>
          <a:prstGeom prst="rect">
            <a:avLst/>
          </a:prstGeom>
        </p:spPr>
      </p:pic>
      <p:sp>
        <p:nvSpPr>
          <p:cNvPr id="6" name="TextBox 5">
            <a:extLst>
              <a:ext uri="{FF2B5EF4-FFF2-40B4-BE49-F238E27FC236}">
                <a16:creationId xmlns:a16="http://schemas.microsoft.com/office/drawing/2014/main" id="{4D9BB29F-290F-9B9B-4ACC-11D5576A43EB}"/>
              </a:ext>
            </a:extLst>
          </p:cNvPr>
          <p:cNvSpPr txBox="1"/>
          <p:nvPr/>
        </p:nvSpPr>
        <p:spPr>
          <a:xfrm>
            <a:off x="376518" y="2098670"/>
            <a:ext cx="6195732" cy="615553"/>
          </a:xfrm>
          <a:prstGeom prst="rect">
            <a:avLst/>
          </a:prstGeom>
          <a:noFill/>
        </p:spPr>
        <p:txBody>
          <a:bodyPr wrap="square" rtlCol="0">
            <a:spAutoFit/>
          </a:bodyPr>
          <a:lstStyle/>
          <a:p>
            <a:r>
              <a:rPr lang="en-US" sz="1700" b="1" dirty="0">
                <a:solidFill>
                  <a:schemeClr val="bg1"/>
                </a:solidFill>
              </a:rPr>
              <a:t>Methane Emissions from Landfills in Nigeria and Senegal</a:t>
            </a:r>
          </a:p>
          <a:p>
            <a:r>
              <a:rPr lang="en-US" sz="1700" b="1" dirty="0">
                <a:solidFill>
                  <a:schemeClr val="bg1"/>
                </a:solidFill>
              </a:rPr>
              <a:t>Observed by the PRISMA Satellite</a:t>
            </a:r>
          </a:p>
        </p:txBody>
      </p:sp>
      <p:pic>
        <p:nvPicPr>
          <p:cNvPr id="10" name="Picture 9" descr="A map of the world with orange dots&#10;&#10;Description automatically generated">
            <a:extLst>
              <a:ext uri="{FF2B5EF4-FFF2-40B4-BE49-F238E27FC236}">
                <a16:creationId xmlns:a16="http://schemas.microsoft.com/office/drawing/2014/main" id="{8ADDB28C-70E8-4584-08D2-16881FAAF45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305158" y="1733557"/>
            <a:ext cx="5253430" cy="3595681"/>
          </a:xfrm>
          <a:prstGeom prst="rect">
            <a:avLst/>
          </a:prstGeom>
        </p:spPr>
      </p:pic>
    </p:spTree>
    <p:extLst>
      <p:ext uri="{BB962C8B-B14F-4D97-AF65-F5344CB8AC3E}">
        <p14:creationId xmlns:p14="http://schemas.microsoft.com/office/powerpoint/2010/main" val="31745847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6FD917-78F7-5E03-1F0C-FE85E37513B4}"/>
              </a:ext>
            </a:extLst>
          </p:cNvPr>
          <p:cNvSpPr>
            <a:spLocks noGrp="1"/>
          </p:cNvSpPr>
          <p:nvPr>
            <p:ph type="title"/>
          </p:nvPr>
        </p:nvSpPr>
        <p:spPr/>
        <p:txBody>
          <a:bodyPr>
            <a:noAutofit/>
          </a:bodyPr>
          <a:lstStyle/>
          <a:p>
            <a:r>
              <a:rPr lang="en-US" sz="4000" dirty="0"/>
              <a:t>Delivering on RMI’s Theory of Change</a:t>
            </a:r>
            <a:br>
              <a:rPr lang="en-US" sz="4000" dirty="0"/>
            </a:br>
            <a:r>
              <a:rPr lang="en-US" sz="3200" b="0" i="1" dirty="0">
                <a:solidFill>
                  <a:schemeClr val="bg1"/>
                </a:solidFill>
              </a:rPr>
              <a:t>Emissions visibility drives market activation &amp; durable action.</a:t>
            </a:r>
          </a:p>
        </p:txBody>
      </p:sp>
      <p:grpSp>
        <p:nvGrpSpPr>
          <p:cNvPr id="6" name="Group 5">
            <a:extLst>
              <a:ext uri="{FF2B5EF4-FFF2-40B4-BE49-F238E27FC236}">
                <a16:creationId xmlns:a16="http://schemas.microsoft.com/office/drawing/2014/main" id="{8B944B47-4681-1600-3D42-3BD0B247BFE1}"/>
              </a:ext>
            </a:extLst>
          </p:cNvPr>
          <p:cNvGrpSpPr>
            <a:grpSpLocks noChangeAspect="1"/>
          </p:cNvGrpSpPr>
          <p:nvPr/>
        </p:nvGrpSpPr>
        <p:grpSpPr>
          <a:xfrm>
            <a:off x="932364" y="1825625"/>
            <a:ext cx="10327272" cy="4352544"/>
            <a:chOff x="1637942" y="2118618"/>
            <a:chExt cx="8934046" cy="3765353"/>
          </a:xfrm>
        </p:grpSpPr>
        <p:grpSp>
          <p:nvGrpSpPr>
            <p:cNvPr id="18" name="Group 17">
              <a:extLst>
                <a:ext uri="{FF2B5EF4-FFF2-40B4-BE49-F238E27FC236}">
                  <a16:creationId xmlns:a16="http://schemas.microsoft.com/office/drawing/2014/main" id="{4E92C9A4-9573-BADA-5FD8-0C97F63CA139}"/>
                </a:ext>
              </a:extLst>
            </p:cNvPr>
            <p:cNvGrpSpPr/>
            <p:nvPr/>
          </p:nvGrpSpPr>
          <p:grpSpPr>
            <a:xfrm>
              <a:off x="1825856" y="2680286"/>
              <a:ext cx="3219447" cy="3203685"/>
              <a:chOff x="977539" y="2719602"/>
              <a:chExt cx="3219447" cy="3203685"/>
            </a:xfrm>
          </p:grpSpPr>
          <p:sp>
            <p:nvSpPr>
              <p:cNvPr id="19" name="Freeform: Shape 18">
                <a:extLst>
                  <a:ext uri="{FF2B5EF4-FFF2-40B4-BE49-F238E27FC236}">
                    <a16:creationId xmlns:a16="http://schemas.microsoft.com/office/drawing/2014/main" id="{67B7FC2D-5539-48AA-CFA5-57914E6973B9}"/>
                  </a:ext>
                </a:extLst>
              </p:cNvPr>
              <p:cNvSpPr/>
              <p:nvPr/>
            </p:nvSpPr>
            <p:spPr>
              <a:xfrm>
                <a:off x="1262628" y="2890650"/>
                <a:ext cx="2763082" cy="2763082"/>
              </a:xfrm>
              <a:custGeom>
                <a:avLst/>
                <a:gdLst>
                  <a:gd name="connsiteX0" fmla="*/ 1381541 w 2763082"/>
                  <a:gd name="connsiteY0" fmla="*/ 0 h 2763082"/>
                  <a:gd name="connsiteX1" fmla="*/ 2577991 w 2763082"/>
                  <a:gd name="connsiteY1" fmla="*/ 690770 h 2763082"/>
                  <a:gd name="connsiteX2" fmla="*/ 2577991 w 2763082"/>
                  <a:gd name="connsiteY2" fmla="*/ 2072311 h 2763082"/>
                  <a:gd name="connsiteX3" fmla="*/ 1381541 w 2763082"/>
                  <a:gd name="connsiteY3" fmla="*/ 1381541 h 2763082"/>
                  <a:gd name="connsiteX4" fmla="*/ 1381541 w 2763082"/>
                  <a:gd name="connsiteY4" fmla="*/ 0 h 2763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3082" h="2763082">
                    <a:moveTo>
                      <a:pt x="1381541" y="0"/>
                    </a:moveTo>
                    <a:cubicBezTo>
                      <a:pt x="1875118" y="0"/>
                      <a:pt x="2331202" y="263320"/>
                      <a:pt x="2577991" y="690770"/>
                    </a:cubicBezTo>
                    <a:cubicBezTo>
                      <a:pt x="2824780" y="1118220"/>
                      <a:pt x="2824780" y="1644861"/>
                      <a:pt x="2577991" y="2072311"/>
                    </a:cubicBezTo>
                    <a:lnTo>
                      <a:pt x="1381541" y="1381541"/>
                    </a:lnTo>
                    <a:lnTo>
                      <a:pt x="1381541" y="0"/>
                    </a:lnTo>
                    <a:close/>
                  </a:path>
                </a:pathLst>
              </a:custGeom>
              <a:solidFill>
                <a:schemeClr val="bg1">
                  <a:lumMod val="9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737360" tIns="603291" rIns="274320" bIns="1373005"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003A62"/>
                    </a:solidFill>
                    <a:effectLst/>
                    <a:uLnTx/>
                    <a:uFillTx/>
                    <a:latin typeface="Tw Cen MT" panose="020B0602020104020603"/>
                    <a:ea typeface="+mn-ea"/>
                    <a:cs typeface="+mn-cs"/>
                  </a:rPr>
                  <a:t>Account, Digitize &amp; Track</a:t>
                </a:r>
              </a:p>
            </p:txBody>
          </p:sp>
          <p:sp>
            <p:nvSpPr>
              <p:cNvPr id="20" name="Freeform: Shape 19">
                <a:extLst>
                  <a:ext uri="{FF2B5EF4-FFF2-40B4-BE49-F238E27FC236}">
                    <a16:creationId xmlns:a16="http://schemas.microsoft.com/office/drawing/2014/main" id="{00A98F96-6E0F-EA6B-C562-E637E97EB0DA}"/>
                  </a:ext>
                </a:extLst>
              </p:cNvPr>
              <p:cNvSpPr/>
              <p:nvPr/>
            </p:nvSpPr>
            <p:spPr>
              <a:xfrm>
                <a:off x="1205722" y="2989332"/>
                <a:ext cx="2763082" cy="2763082"/>
              </a:xfrm>
              <a:custGeom>
                <a:avLst/>
                <a:gdLst>
                  <a:gd name="connsiteX0" fmla="*/ 2577991 w 2763082"/>
                  <a:gd name="connsiteY0" fmla="*/ 2072312 h 2763082"/>
                  <a:gd name="connsiteX1" fmla="*/ 1381541 w 2763082"/>
                  <a:gd name="connsiteY1" fmla="*/ 2763083 h 2763082"/>
                  <a:gd name="connsiteX2" fmla="*/ 185091 w 2763082"/>
                  <a:gd name="connsiteY2" fmla="*/ 2072313 h 2763082"/>
                  <a:gd name="connsiteX3" fmla="*/ 1381541 w 2763082"/>
                  <a:gd name="connsiteY3" fmla="*/ 1381541 h 2763082"/>
                  <a:gd name="connsiteX4" fmla="*/ 2577991 w 2763082"/>
                  <a:gd name="connsiteY4" fmla="*/ 2072312 h 2763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3082" h="2763082">
                    <a:moveTo>
                      <a:pt x="2577991" y="2072312"/>
                    </a:moveTo>
                    <a:cubicBezTo>
                      <a:pt x="2331202" y="2499762"/>
                      <a:pt x="1875118" y="2763083"/>
                      <a:pt x="1381541" y="2763083"/>
                    </a:cubicBezTo>
                    <a:cubicBezTo>
                      <a:pt x="887964" y="2763083"/>
                      <a:pt x="431880" y="2499763"/>
                      <a:pt x="185091" y="2072313"/>
                    </a:cubicBezTo>
                    <a:lnTo>
                      <a:pt x="1381541" y="1381541"/>
                    </a:lnTo>
                    <a:lnTo>
                      <a:pt x="2577991" y="2072312"/>
                    </a:lnTo>
                    <a:close/>
                  </a:path>
                </a:pathLst>
              </a:custGeom>
              <a:solidFill>
                <a:schemeClr val="bg1">
                  <a:lumMod val="9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31520" tIns="1810494" rIns="731520" bIns="264484"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003A62"/>
                    </a:solidFill>
                    <a:effectLst/>
                    <a:uLnTx/>
                    <a:uFillTx/>
                    <a:latin typeface="Tw Cen MT" panose="020B0602020104020603"/>
                    <a:ea typeface="+mn-ea"/>
                    <a:cs typeface="+mn-cs"/>
                  </a:rPr>
                  <a:t>Standardize &amp; Certify</a:t>
                </a:r>
              </a:p>
            </p:txBody>
          </p:sp>
          <p:sp>
            <p:nvSpPr>
              <p:cNvPr id="27" name="Freeform: Shape 26">
                <a:extLst>
                  <a:ext uri="{FF2B5EF4-FFF2-40B4-BE49-F238E27FC236}">
                    <a16:creationId xmlns:a16="http://schemas.microsoft.com/office/drawing/2014/main" id="{54D2F27D-AB49-D123-CAB3-620E2E9316B1}"/>
                  </a:ext>
                </a:extLst>
              </p:cNvPr>
              <p:cNvSpPr/>
              <p:nvPr/>
            </p:nvSpPr>
            <p:spPr>
              <a:xfrm>
                <a:off x="1148815" y="2890650"/>
                <a:ext cx="2763082" cy="2763082"/>
              </a:xfrm>
              <a:custGeom>
                <a:avLst/>
                <a:gdLst>
                  <a:gd name="connsiteX0" fmla="*/ 185091 w 2763082"/>
                  <a:gd name="connsiteY0" fmla="*/ 2072312 h 2763082"/>
                  <a:gd name="connsiteX1" fmla="*/ 185091 w 2763082"/>
                  <a:gd name="connsiteY1" fmla="*/ 690771 h 2763082"/>
                  <a:gd name="connsiteX2" fmla="*/ 1381541 w 2763082"/>
                  <a:gd name="connsiteY2" fmla="*/ 0 h 2763082"/>
                  <a:gd name="connsiteX3" fmla="*/ 1381541 w 2763082"/>
                  <a:gd name="connsiteY3" fmla="*/ 1381541 h 2763082"/>
                  <a:gd name="connsiteX4" fmla="*/ 185091 w 2763082"/>
                  <a:gd name="connsiteY4" fmla="*/ 2072312 h 2763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3082" h="2763082">
                    <a:moveTo>
                      <a:pt x="185091" y="2072312"/>
                    </a:moveTo>
                    <a:cubicBezTo>
                      <a:pt x="-61698" y="1644862"/>
                      <a:pt x="-61698" y="1118221"/>
                      <a:pt x="185091" y="690771"/>
                    </a:cubicBezTo>
                    <a:cubicBezTo>
                      <a:pt x="431880" y="263321"/>
                      <a:pt x="887964" y="0"/>
                      <a:pt x="1381541" y="0"/>
                    </a:cubicBezTo>
                    <a:lnTo>
                      <a:pt x="1381541" y="1381541"/>
                    </a:lnTo>
                    <a:lnTo>
                      <a:pt x="185091" y="2072312"/>
                    </a:lnTo>
                    <a:close/>
                  </a:path>
                </a:pathLst>
              </a:custGeom>
              <a:solidFill>
                <a:schemeClr val="bg1">
                  <a:lumMod val="9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37837" tIns="603291" rIns="1554480" bIns="1373005"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003A62"/>
                    </a:solidFill>
                    <a:effectLst/>
                    <a:uLnTx/>
                    <a:uFillTx/>
                    <a:latin typeface="Tw Cen MT" panose="020B0602020104020603"/>
                    <a:ea typeface="+mn-ea"/>
                    <a:cs typeface="+mn-cs"/>
                  </a:rPr>
                  <a:t>Measure, Model &amp; Quantify</a:t>
                </a:r>
              </a:p>
            </p:txBody>
          </p:sp>
          <p:sp>
            <p:nvSpPr>
              <p:cNvPr id="28" name="Arrow: Circular 27">
                <a:extLst>
                  <a:ext uri="{FF2B5EF4-FFF2-40B4-BE49-F238E27FC236}">
                    <a16:creationId xmlns:a16="http://schemas.microsoft.com/office/drawing/2014/main" id="{57C12F64-1B9B-6B90-E7E6-2D3FF775EE5A}"/>
                  </a:ext>
                </a:extLst>
              </p:cNvPr>
              <p:cNvSpPr/>
              <p:nvPr/>
            </p:nvSpPr>
            <p:spPr>
              <a:xfrm>
                <a:off x="1091808" y="2719602"/>
                <a:ext cx="3105178" cy="3105178"/>
              </a:xfrm>
              <a:prstGeom prst="circularArrow">
                <a:avLst>
                  <a:gd name="adj1" fmla="val 5085"/>
                  <a:gd name="adj2" fmla="val 327528"/>
                  <a:gd name="adj3" fmla="val 1472472"/>
                  <a:gd name="adj4" fmla="val 16199432"/>
                  <a:gd name="adj5" fmla="val 5932"/>
                </a:avLst>
              </a:prstGeom>
              <a:solidFill>
                <a:schemeClr val="accent1">
                  <a:lumMod val="40000"/>
                  <a:lumOff val="60000"/>
                </a:schemeClr>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a:p>
            </p:txBody>
          </p:sp>
          <p:sp>
            <p:nvSpPr>
              <p:cNvPr id="29" name="Arrow: Circular 28">
                <a:extLst>
                  <a:ext uri="{FF2B5EF4-FFF2-40B4-BE49-F238E27FC236}">
                    <a16:creationId xmlns:a16="http://schemas.microsoft.com/office/drawing/2014/main" id="{7733A200-FD3B-4C05-B5B2-742AC0EF7DD0}"/>
                  </a:ext>
                </a:extLst>
              </p:cNvPr>
              <p:cNvSpPr/>
              <p:nvPr/>
            </p:nvSpPr>
            <p:spPr>
              <a:xfrm>
                <a:off x="1034674" y="2818109"/>
                <a:ext cx="3105178" cy="3105178"/>
              </a:xfrm>
              <a:prstGeom prst="circularArrow">
                <a:avLst>
                  <a:gd name="adj1" fmla="val 5085"/>
                  <a:gd name="adj2" fmla="val 327528"/>
                  <a:gd name="adj3" fmla="val 8671970"/>
                  <a:gd name="adj4" fmla="val 1800502"/>
                  <a:gd name="adj5" fmla="val 5932"/>
                </a:avLst>
              </a:prstGeom>
              <a:solidFill>
                <a:schemeClr val="accent1">
                  <a:lumMod val="40000"/>
                  <a:lumOff val="60000"/>
                </a:schemeClr>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a:p>
            </p:txBody>
          </p:sp>
          <p:sp>
            <p:nvSpPr>
              <p:cNvPr id="30" name="Arrow: Circular 29">
                <a:extLst>
                  <a:ext uri="{FF2B5EF4-FFF2-40B4-BE49-F238E27FC236}">
                    <a16:creationId xmlns:a16="http://schemas.microsoft.com/office/drawing/2014/main" id="{B2D7AA2B-55D6-AE81-DD13-588F5AC22E69}"/>
                  </a:ext>
                </a:extLst>
              </p:cNvPr>
              <p:cNvSpPr/>
              <p:nvPr/>
            </p:nvSpPr>
            <p:spPr>
              <a:xfrm>
                <a:off x="977539" y="2719602"/>
                <a:ext cx="3105178" cy="3105178"/>
              </a:xfrm>
              <a:prstGeom prst="circularArrow">
                <a:avLst>
                  <a:gd name="adj1" fmla="val 5085"/>
                  <a:gd name="adj2" fmla="val 327528"/>
                  <a:gd name="adj3" fmla="val 15873039"/>
                  <a:gd name="adj4" fmla="val 9000000"/>
                  <a:gd name="adj5" fmla="val 5932"/>
                </a:avLst>
              </a:prstGeom>
              <a:solidFill>
                <a:schemeClr val="accent1">
                  <a:lumMod val="40000"/>
                  <a:lumOff val="60000"/>
                </a:schemeClr>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a:p>
            </p:txBody>
          </p:sp>
        </p:grpSp>
        <p:sp>
          <p:nvSpPr>
            <p:cNvPr id="31" name="Arrow: Pentagon 30">
              <a:extLst>
                <a:ext uri="{FF2B5EF4-FFF2-40B4-BE49-F238E27FC236}">
                  <a16:creationId xmlns:a16="http://schemas.microsoft.com/office/drawing/2014/main" id="{9B3AB890-5172-9473-8F99-8345FEE1C7D1}"/>
                </a:ext>
              </a:extLst>
            </p:cNvPr>
            <p:cNvSpPr/>
            <p:nvPr/>
          </p:nvSpPr>
          <p:spPr>
            <a:xfrm>
              <a:off x="1637942" y="2118618"/>
              <a:ext cx="3692554" cy="45720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2000" b="1" dirty="0">
                  <a:solidFill>
                    <a:srgbClr val="FFFFFF"/>
                  </a:solidFill>
                  <a:latin typeface="Tw Cen MT" panose="020B0602020104020603"/>
                </a:rPr>
                <a:t>E</a:t>
              </a:r>
              <a:r>
                <a:rPr kumimoji="0" lang="en-US" sz="2000" b="1" i="0" u="none" strike="noStrike" kern="1200" cap="none" spc="0" normalizeH="0" baseline="0" noProof="0" dirty="0">
                  <a:ln>
                    <a:noFill/>
                  </a:ln>
                  <a:solidFill>
                    <a:srgbClr val="FFFFFF"/>
                  </a:solidFill>
                  <a:effectLst/>
                  <a:uLnTx/>
                  <a:uFillTx/>
                  <a:latin typeface="Tw Cen MT" panose="020B0602020104020603"/>
                  <a:ea typeface="+mn-ea"/>
                  <a:cs typeface="+mn-cs"/>
                </a:rPr>
                <a:t>missions visibility</a:t>
              </a:r>
              <a:endParaRPr kumimoji="0" lang="en-US" sz="2000" b="0" i="0" u="none" strike="noStrike" kern="1200" cap="none" spc="0" normalizeH="0" baseline="0" noProof="0" dirty="0">
                <a:ln>
                  <a:noFill/>
                </a:ln>
                <a:solidFill>
                  <a:srgbClr val="FFFFFF"/>
                </a:solidFill>
                <a:effectLst/>
                <a:uLnTx/>
                <a:uFillTx/>
                <a:latin typeface="Tw Cen MT" panose="020B0602020104020603"/>
                <a:ea typeface="+mn-ea"/>
                <a:cs typeface="+mn-cs"/>
              </a:endParaRPr>
            </a:p>
          </p:txBody>
        </p:sp>
        <p:sp>
          <p:nvSpPr>
            <p:cNvPr id="32" name="Arrow: Chevron 31">
              <a:extLst>
                <a:ext uri="{FF2B5EF4-FFF2-40B4-BE49-F238E27FC236}">
                  <a16:creationId xmlns:a16="http://schemas.microsoft.com/office/drawing/2014/main" id="{85A979E1-23D7-AD90-C17A-3E0BA049A46F}"/>
                </a:ext>
              </a:extLst>
            </p:cNvPr>
            <p:cNvSpPr/>
            <p:nvPr/>
          </p:nvSpPr>
          <p:spPr>
            <a:xfrm>
              <a:off x="5268468" y="2118618"/>
              <a:ext cx="5303520" cy="457200"/>
            </a:xfrm>
            <a:prstGeom prst="chevron">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Tw Cen MT" panose="020B0602020104020603"/>
                  <a:ea typeface="+mn-ea"/>
                  <a:cs typeface="+mn-cs"/>
                </a:rPr>
                <a:t>Will drive decarbonization on several fronts</a:t>
              </a:r>
              <a:endParaRPr kumimoji="0" lang="en-US" sz="2000" b="0" i="0" u="none" strike="noStrike" kern="1200" cap="none" spc="0" normalizeH="0" baseline="0" noProof="0">
                <a:ln>
                  <a:noFill/>
                </a:ln>
                <a:solidFill>
                  <a:srgbClr val="FFFFFF"/>
                </a:solidFill>
                <a:effectLst/>
                <a:uLnTx/>
                <a:uFillTx/>
                <a:latin typeface="Tw Cen MT" panose="020B0602020104020603"/>
                <a:ea typeface="+mn-ea"/>
                <a:cs typeface="+mn-cs"/>
              </a:endParaRPr>
            </a:p>
          </p:txBody>
        </p:sp>
        <p:grpSp>
          <p:nvGrpSpPr>
            <p:cNvPr id="33" name="Group 32">
              <a:extLst>
                <a:ext uri="{FF2B5EF4-FFF2-40B4-BE49-F238E27FC236}">
                  <a16:creationId xmlns:a16="http://schemas.microsoft.com/office/drawing/2014/main" id="{431263B6-43BB-BBED-F6D8-204EA79624C1}"/>
                </a:ext>
              </a:extLst>
            </p:cNvPr>
            <p:cNvGrpSpPr/>
            <p:nvPr/>
          </p:nvGrpSpPr>
          <p:grpSpPr>
            <a:xfrm>
              <a:off x="5359908" y="2898495"/>
              <a:ext cx="5120640" cy="2767266"/>
              <a:chOff x="4459172" y="2988073"/>
              <a:chExt cx="5120640" cy="2767266"/>
            </a:xfrm>
            <a:solidFill>
              <a:schemeClr val="accent2">
                <a:lumMod val="10000"/>
                <a:lumOff val="90000"/>
              </a:schemeClr>
            </a:solidFill>
          </p:grpSpPr>
          <p:sp>
            <p:nvSpPr>
              <p:cNvPr id="34" name="Arrow: Pentagon 33">
                <a:extLst>
                  <a:ext uri="{FF2B5EF4-FFF2-40B4-BE49-F238E27FC236}">
                    <a16:creationId xmlns:a16="http://schemas.microsoft.com/office/drawing/2014/main" id="{5B879A1D-4DCF-5D5F-1310-2829F47FC2A0}"/>
                  </a:ext>
                </a:extLst>
              </p:cNvPr>
              <p:cNvSpPr/>
              <p:nvPr/>
            </p:nvSpPr>
            <p:spPr>
              <a:xfrm>
                <a:off x="4459172" y="2988073"/>
                <a:ext cx="5120640" cy="548640"/>
              </a:xfrm>
              <a:prstGeom prst="homePlate">
                <a:avLst/>
              </a:prstGeom>
              <a:solidFill>
                <a:schemeClr val="bg1">
                  <a:lumMod val="95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algn="l" defTabSz="457200" rtl="0" eaLnBrk="1" fontAlgn="auto" latinLnBrk="0" hangingPunct="1">
                  <a:lnSpc>
                    <a:spcPct val="100000"/>
                  </a:lnSpc>
                  <a:spcBef>
                    <a:spcPts val="0"/>
                  </a:spcBef>
                  <a:spcAft>
                    <a:spcPts val="0"/>
                  </a:spcAft>
                  <a:buClrTx/>
                  <a:buSzTx/>
                  <a:buFont typeface="Wingdings 3" panose="05040102010807070707" pitchFamily="18" charset="2"/>
                  <a:buChar char="Æ"/>
                  <a:tabLst/>
                  <a:defRPr/>
                </a:pPr>
                <a:r>
                  <a:rPr kumimoji="0" lang="en-US" sz="2000" b="0" i="0" u="none" strike="noStrike" kern="1200" cap="none" spc="0" normalizeH="0" baseline="0" noProof="0">
                    <a:ln>
                      <a:noFill/>
                    </a:ln>
                    <a:solidFill>
                      <a:srgbClr val="003A62"/>
                    </a:solidFill>
                    <a:effectLst/>
                    <a:uLnTx/>
                    <a:uFillTx/>
                    <a:latin typeface="Tw Cen MT" panose="020B0602020104020603"/>
                    <a:ea typeface="+mn-ea"/>
                    <a:cs typeface="+mn-cs"/>
                  </a:rPr>
                  <a:t>Emissions-differentiated</a:t>
                </a:r>
                <a:r>
                  <a:rPr kumimoji="0" lang="en-US" sz="2000" b="1" i="0" u="none" strike="noStrike" kern="1200" cap="none" spc="0" normalizeH="0" baseline="0" noProof="0">
                    <a:ln>
                      <a:noFill/>
                    </a:ln>
                    <a:solidFill>
                      <a:srgbClr val="003A62"/>
                    </a:solidFill>
                    <a:effectLst/>
                    <a:uLnTx/>
                    <a:uFillTx/>
                    <a:latin typeface="Tw Cen MT" panose="020B0602020104020603"/>
                    <a:ea typeface="+mn-ea"/>
                    <a:cs typeface="+mn-cs"/>
                  </a:rPr>
                  <a:t> market </a:t>
                </a:r>
                <a:r>
                  <a:rPr kumimoji="0" lang="en-US" sz="2000" b="0" i="0" u="none" strike="noStrike" kern="1200" cap="none" spc="0" normalizeH="0" baseline="0" noProof="0">
                    <a:ln>
                      <a:noFill/>
                    </a:ln>
                    <a:solidFill>
                      <a:srgbClr val="003A62"/>
                    </a:solidFill>
                    <a:effectLst/>
                    <a:uLnTx/>
                    <a:uFillTx/>
                    <a:latin typeface="Tw Cen MT" panose="020B0602020104020603"/>
                    <a:ea typeface="+mn-ea"/>
                    <a:cs typeface="+mn-cs"/>
                  </a:rPr>
                  <a:t>activation</a:t>
                </a:r>
              </a:p>
            </p:txBody>
          </p:sp>
          <p:sp>
            <p:nvSpPr>
              <p:cNvPr id="35" name="Arrow: Pentagon 34">
                <a:extLst>
                  <a:ext uri="{FF2B5EF4-FFF2-40B4-BE49-F238E27FC236}">
                    <a16:creationId xmlns:a16="http://schemas.microsoft.com/office/drawing/2014/main" id="{0CF18DD9-B9F9-9D9C-8366-37B2719B1C38}"/>
                  </a:ext>
                </a:extLst>
              </p:cNvPr>
              <p:cNvSpPr/>
              <p:nvPr/>
            </p:nvSpPr>
            <p:spPr>
              <a:xfrm>
                <a:off x="4459172" y="3727615"/>
                <a:ext cx="5120640" cy="548640"/>
              </a:xfrm>
              <a:prstGeom prst="homePlate">
                <a:avLst/>
              </a:prstGeom>
              <a:solidFill>
                <a:schemeClr val="bg1">
                  <a:lumMod val="95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algn="l" defTabSz="457200" rtl="0" eaLnBrk="1" fontAlgn="auto" latinLnBrk="0" hangingPunct="1">
                  <a:lnSpc>
                    <a:spcPct val="100000"/>
                  </a:lnSpc>
                  <a:spcBef>
                    <a:spcPts val="0"/>
                  </a:spcBef>
                  <a:spcAft>
                    <a:spcPts val="0"/>
                  </a:spcAft>
                  <a:buClrTx/>
                  <a:buSzTx/>
                  <a:buFont typeface="Wingdings 3" panose="05040102010807070707" pitchFamily="18" charset="2"/>
                  <a:buChar char="Æ"/>
                  <a:tabLst/>
                  <a:defRPr/>
                </a:pPr>
                <a:r>
                  <a:rPr kumimoji="0" lang="en-US" sz="2000" b="0" i="0" u="none" strike="noStrike" kern="1200" cap="none" spc="0" normalizeH="0" baseline="0" noProof="0">
                    <a:ln>
                      <a:noFill/>
                    </a:ln>
                    <a:solidFill>
                      <a:srgbClr val="003A62"/>
                    </a:solidFill>
                    <a:effectLst/>
                    <a:uLnTx/>
                    <a:uFillTx/>
                    <a:latin typeface="Tw Cen MT" panose="020B0602020104020603"/>
                    <a:ea typeface="+mn-ea"/>
                    <a:cs typeface="+mn-cs"/>
                  </a:rPr>
                  <a:t>Climate-aligned</a:t>
                </a:r>
                <a:r>
                  <a:rPr kumimoji="0" lang="en-US" sz="2000" b="1" i="0" u="none" strike="noStrike" kern="1200" cap="none" spc="0" normalizeH="0" baseline="0" noProof="0">
                    <a:ln>
                      <a:noFill/>
                    </a:ln>
                    <a:solidFill>
                      <a:srgbClr val="003A62"/>
                    </a:solidFill>
                    <a:effectLst/>
                    <a:uLnTx/>
                    <a:uFillTx/>
                    <a:latin typeface="Tw Cen MT" panose="020B0602020104020603"/>
                    <a:ea typeface="+mn-ea"/>
                    <a:cs typeface="+mn-cs"/>
                  </a:rPr>
                  <a:t> corporate </a:t>
                </a:r>
                <a:r>
                  <a:rPr kumimoji="0" lang="en-US" sz="2000" b="0" i="0" u="none" strike="noStrike" kern="1200" cap="none" spc="0" normalizeH="0" baseline="0" noProof="0">
                    <a:ln>
                      <a:noFill/>
                    </a:ln>
                    <a:solidFill>
                      <a:srgbClr val="003A62"/>
                    </a:solidFill>
                    <a:effectLst/>
                    <a:uLnTx/>
                    <a:uFillTx/>
                    <a:latin typeface="Tw Cen MT" panose="020B0602020104020603"/>
                    <a:ea typeface="+mn-ea"/>
                    <a:cs typeface="+mn-cs"/>
                  </a:rPr>
                  <a:t>business models</a:t>
                </a:r>
              </a:p>
            </p:txBody>
          </p:sp>
          <p:sp>
            <p:nvSpPr>
              <p:cNvPr id="36" name="Arrow: Pentagon 35">
                <a:extLst>
                  <a:ext uri="{FF2B5EF4-FFF2-40B4-BE49-F238E27FC236}">
                    <a16:creationId xmlns:a16="http://schemas.microsoft.com/office/drawing/2014/main" id="{7F5CDDB0-B630-DF7E-F36A-732BEF9FC7B9}"/>
                  </a:ext>
                </a:extLst>
              </p:cNvPr>
              <p:cNvSpPr/>
              <p:nvPr/>
            </p:nvSpPr>
            <p:spPr>
              <a:xfrm>
                <a:off x="4459172" y="4467157"/>
                <a:ext cx="5120640" cy="548640"/>
              </a:xfrm>
              <a:prstGeom prst="homePlate">
                <a:avLst/>
              </a:prstGeom>
              <a:solidFill>
                <a:schemeClr val="bg1">
                  <a:lumMod val="95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algn="l" defTabSz="457200" rtl="0" eaLnBrk="1" fontAlgn="auto" latinLnBrk="0" hangingPunct="1">
                  <a:lnSpc>
                    <a:spcPct val="100000"/>
                  </a:lnSpc>
                  <a:spcBef>
                    <a:spcPts val="0"/>
                  </a:spcBef>
                  <a:spcAft>
                    <a:spcPts val="0"/>
                  </a:spcAft>
                  <a:buClrTx/>
                  <a:buSzTx/>
                  <a:buFont typeface="Wingdings 3" panose="05040102010807070707" pitchFamily="18" charset="2"/>
                  <a:buChar char="Æ"/>
                  <a:tabLst/>
                  <a:defRPr/>
                </a:pPr>
                <a:r>
                  <a:rPr kumimoji="0" lang="en-US" sz="2000" b="0" i="0" u="none" strike="noStrike" kern="1200" cap="none" spc="0" normalizeH="0" baseline="0" noProof="0">
                    <a:ln>
                      <a:noFill/>
                    </a:ln>
                    <a:solidFill>
                      <a:srgbClr val="003A62"/>
                    </a:solidFill>
                    <a:effectLst/>
                    <a:uLnTx/>
                    <a:uFillTx/>
                    <a:latin typeface="Tw Cen MT" panose="020B0602020104020603"/>
                    <a:ea typeface="+mn-ea"/>
                    <a:cs typeface="+mn-cs"/>
                  </a:rPr>
                  <a:t>Better</a:t>
                </a:r>
                <a:r>
                  <a:rPr kumimoji="0" lang="en-US" sz="2000" b="1" i="0" u="none" strike="noStrike" kern="1200" cap="none" spc="0" normalizeH="0" baseline="0" noProof="0">
                    <a:ln>
                      <a:noFill/>
                    </a:ln>
                    <a:solidFill>
                      <a:srgbClr val="003A62"/>
                    </a:solidFill>
                    <a:effectLst/>
                    <a:uLnTx/>
                    <a:uFillTx/>
                    <a:latin typeface="Tw Cen MT" panose="020B0602020104020603"/>
                    <a:ea typeface="+mn-ea"/>
                    <a:cs typeface="+mn-cs"/>
                  </a:rPr>
                  <a:t> investor </a:t>
                </a:r>
                <a:r>
                  <a:rPr kumimoji="0" lang="en-US" sz="2000" b="0" i="0" u="none" strike="noStrike" kern="1200" cap="none" spc="0" normalizeH="0" baseline="0" noProof="0">
                    <a:ln>
                      <a:noFill/>
                    </a:ln>
                    <a:solidFill>
                      <a:srgbClr val="003A62"/>
                    </a:solidFill>
                    <a:effectLst/>
                    <a:uLnTx/>
                    <a:uFillTx/>
                    <a:latin typeface="Tw Cen MT" panose="020B0602020104020603"/>
                    <a:ea typeface="+mn-ea"/>
                    <a:cs typeface="+mn-cs"/>
                  </a:rPr>
                  <a:t>portfolio allocations</a:t>
                </a:r>
              </a:p>
            </p:txBody>
          </p:sp>
          <p:sp>
            <p:nvSpPr>
              <p:cNvPr id="37" name="Arrow: Pentagon 36">
                <a:extLst>
                  <a:ext uri="{FF2B5EF4-FFF2-40B4-BE49-F238E27FC236}">
                    <a16:creationId xmlns:a16="http://schemas.microsoft.com/office/drawing/2014/main" id="{8069AAD8-1783-57DF-A5A6-D87044753773}"/>
                  </a:ext>
                </a:extLst>
              </p:cNvPr>
              <p:cNvSpPr/>
              <p:nvPr/>
            </p:nvSpPr>
            <p:spPr>
              <a:xfrm>
                <a:off x="4459172" y="5206699"/>
                <a:ext cx="5120640" cy="548640"/>
              </a:xfrm>
              <a:prstGeom prst="homePlate">
                <a:avLst/>
              </a:prstGeom>
              <a:solidFill>
                <a:schemeClr val="bg1">
                  <a:lumMod val="95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algn="l" defTabSz="457200" rtl="0" eaLnBrk="1" fontAlgn="auto" latinLnBrk="0" hangingPunct="1">
                  <a:lnSpc>
                    <a:spcPct val="100000"/>
                  </a:lnSpc>
                  <a:spcBef>
                    <a:spcPts val="0"/>
                  </a:spcBef>
                  <a:spcAft>
                    <a:spcPts val="0"/>
                  </a:spcAft>
                  <a:buClrTx/>
                  <a:buSzTx/>
                  <a:buFont typeface="Wingdings 3" panose="05040102010807070707" pitchFamily="18" charset="2"/>
                  <a:buChar char="Æ"/>
                  <a:tabLst/>
                  <a:defRPr/>
                </a:pPr>
                <a:r>
                  <a:rPr kumimoji="0" lang="en-US" sz="2000" b="0" i="0" u="none" strike="noStrike" kern="1200" cap="none" spc="0" normalizeH="0" baseline="0" noProof="0">
                    <a:ln>
                      <a:noFill/>
                    </a:ln>
                    <a:solidFill>
                      <a:srgbClr val="003A62"/>
                    </a:solidFill>
                    <a:effectLst/>
                    <a:uLnTx/>
                    <a:uFillTx/>
                    <a:latin typeface="Tw Cen MT" panose="020B0602020104020603"/>
                    <a:ea typeface="+mn-ea"/>
                    <a:cs typeface="+mn-cs"/>
                  </a:rPr>
                  <a:t>Informed </a:t>
                </a:r>
                <a:r>
                  <a:rPr kumimoji="0" lang="en-US" sz="2000" b="1" i="0" u="none" strike="noStrike" kern="1200" cap="none" spc="0" normalizeH="0" baseline="0" noProof="0">
                    <a:ln>
                      <a:noFill/>
                    </a:ln>
                    <a:solidFill>
                      <a:srgbClr val="003A62"/>
                    </a:solidFill>
                    <a:effectLst/>
                    <a:uLnTx/>
                    <a:uFillTx/>
                    <a:latin typeface="Tw Cen MT" panose="020B0602020104020603"/>
                    <a:ea typeface="+mn-ea"/>
                    <a:cs typeface="+mn-cs"/>
                  </a:rPr>
                  <a:t>government</a:t>
                </a:r>
                <a:r>
                  <a:rPr kumimoji="0" lang="en-US" sz="2000" b="0" i="0" u="none" strike="noStrike" kern="1200" cap="none" spc="0" normalizeH="0" baseline="0" noProof="0">
                    <a:ln>
                      <a:noFill/>
                    </a:ln>
                    <a:solidFill>
                      <a:srgbClr val="003A62"/>
                    </a:solidFill>
                    <a:effectLst/>
                    <a:uLnTx/>
                    <a:uFillTx/>
                    <a:latin typeface="Tw Cen MT" panose="020B0602020104020603"/>
                    <a:ea typeface="+mn-ea"/>
                    <a:cs typeface="+mn-cs"/>
                  </a:rPr>
                  <a:t> policy and regulation</a:t>
                </a:r>
              </a:p>
            </p:txBody>
          </p:sp>
        </p:grpSp>
      </p:grpSp>
    </p:spTree>
    <p:extLst>
      <p:ext uri="{BB962C8B-B14F-4D97-AF65-F5344CB8AC3E}">
        <p14:creationId xmlns:p14="http://schemas.microsoft.com/office/powerpoint/2010/main" val="9031506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40</TotalTime>
  <Words>1934</Words>
  <Application>Microsoft Macintosh PowerPoint</Application>
  <PresentationFormat>Widescreen</PresentationFormat>
  <Paragraphs>245</Paragraphs>
  <Slides>33</Slides>
  <Notes>12</Notes>
  <HiddenSlides>0</HiddenSlides>
  <MMClips>0</MMClips>
  <ScaleCrop>false</ScaleCrop>
  <HeadingPairs>
    <vt:vector size="8" baseType="variant">
      <vt:variant>
        <vt:lpstr>Fonts Used</vt:lpstr>
      </vt:variant>
      <vt:variant>
        <vt:i4>17</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52" baseType="lpstr">
      <vt:lpstr>Arial</vt:lpstr>
      <vt:lpstr>Calibri</vt:lpstr>
      <vt:lpstr>Calibri Light</vt:lpstr>
      <vt:lpstr>Courier New</vt:lpstr>
      <vt:lpstr>Google Sans</vt:lpstr>
      <vt:lpstr>Helvetica</vt:lpstr>
      <vt:lpstr>Lucida Grande</vt:lpstr>
      <vt:lpstr>Metropolis Semi Bold</vt:lpstr>
      <vt:lpstr>Noto Sans Symbols</vt:lpstr>
      <vt:lpstr>Roboto</vt:lpstr>
      <vt:lpstr>Roboto Light</vt:lpstr>
      <vt:lpstr>Roboto Medium</vt:lpstr>
      <vt:lpstr>Source Sans Pro</vt:lpstr>
      <vt:lpstr>Source Sans Pro Light</vt:lpstr>
      <vt:lpstr>Tw Cen MT</vt:lpstr>
      <vt:lpstr>Verdana</vt:lpstr>
      <vt:lpstr>Wingdings 3</vt:lpstr>
      <vt:lpstr>Office Theme</vt:lpstr>
      <vt:lpstr>think-cell Slide</vt:lpstr>
      <vt:lpstr>PowerPoint Presentation</vt:lpstr>
      <vt:lpstr>PowerPoint Presentation</vt:lpstr>
      <vt:lpstr>PowerPoint Presentation</vt:lpstr>
      <vt:lpstr>PowerPoint Presentation</vt:lpstr>
      <vt:lpstr>GHG Monitoring and Mitigation at COP28:  NASA CMS Science Team Meeting, September 26, 2023 </vt:lpstr>
      <vt:lpstr>Atmospheric methane levels are on the rise.</vt:lpstr>
      <vt:lpstr>Methane drives variable oil &amp; gas emissions.</vt:lpstr>
      <vt:lpstr>Landfills are another major methane source.</vt:lpstr>
      <vt:lpstr>Delivering on RMI’s Theory of Change Emissions visibility drives market activation &amp; durable action.</vt:lpstr>
      <vt:lpstr>PowerPoint Presentation</vt:lpstr>
      <vt:lpstr>PowerPoint Presentation</vt:lpstr>
      <vt:lpstr>Anthropogenic Greenhouse Gas Monitoring with the Copernicus CO2 Monitoring (CO2M) Mission </vt:lpstr>
      <vt:lpstr>Monitoring &amp; Verification Support Capacity System requirements</vt:lpstr>
      <vt:lpstr>Monitoring &amp; Verification Support Capacity System requirements &amp; impact on satellite requirements</vt:lpstr>
      <vt:lpstr>An Operational  Anthropogenic CO2 Emissions  Monitoring &amp; Verification Support Capacity</vt:lpstr>
      <vt:lpstr>Copernicus CO2M Mission – Status</vt:lpstr>
      <vt:lpstr>Committee on Earth Observation Satellites</vt:lpstr>
      <vt:lpstr>CEOS Virtual Constellations</vt:lpstr>
      <vt:lpstr>AC-VC of GHG observations</vt:lpstr>
      <vt:lpstr>Other space-based observations</vt:lpstr>
      <vt:lpstr>PowerPoint Presentation</vt:lpstr>
      <vt:lpstr>THANK     YOU</vt:lpstr>
      <vt:lpstr>PowerPoint Presentation</vt:lpstr>
      <vt:lpstr>   International Methane Emissions Observatory   Providing the data to  drive mitigation  </vt:lpstr>
      <vt:lpstr>PowerPoint Presentation</vt:lpstr>
      <vt:lpstr>We need empirical GHG emissions data to drive effective methane mitigation</vt:lpstr>
      <vt:lpstr>Methane emissions Surat Basin, New South Wales, Australia</vt:lpstr>
      <vt:lpstr>PowerPoint Presentation</vt:lpstr>
      <vt:lpstr>PowerPoint Presentation</vt:lpstr>
      <vt:lpstr>PowerPoint Presentation</vt:lpstr>
      <vt:lpstr>IMEO supported Science: Ongoing studies</vt:lpstr>
      <vt:lpstr>Recent projects</vt:lpstr>
      <vt:lpstr>How will IMEO answer the methane emissions data problem?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oulter, Benjamin (GSFC-6180)</dc:creator>
  <cp:lastModifiedBy>Poulter, Benjamin (GSFC-6180)</cp:lastModifiedBy>
  <cp:revision>3</cp:revision>
  <dcterms:created xsi:type="dcterms:W3CDTF">2023-09-25T18:03:59Z</dcterms:created>
  <dcterms:modified xsi:type="dcterms:W3CDTF">2023-09-26T13:04:37Z</dcterms:modified>
</cp:coreProperties>
</file>